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notesSlides/notesSlide1.xml" ContentType="application/vnd.openxmlformats-officedocument.presentationml.notesSlide+xml"/>
  <Override PartName="/ppt/tags/tag105.xml" ContentType="application/vnd.openxmlformats-officedocument.presentationml.tags+xml"/>
  <Override PartName="/ppt/notesSlides/notesSlide2.xml" ContentType="application/vnd.openxmlformats-officedocument.presentationml.notesSlide+xml"/>
  <Override PartName="/ppt/tags/tag106.xml" ContentType="application/vnd.openxmlformats-officedocument.presentationml.tags+xml"/>
  <Override PartName="/ppt/notesSlides/notesSlide3.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0.xml" ContentType="application/vnd.openxmlformats-officedocument.presentationml.tags+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1.xml" ContentType="application/vnd.openxmlformats-officedocument.presentationml.tags+xml"/>
  <Override PartName="/ppt/notesSlides/notesSlide6.xml" ContentType="application/vnd.openxmlformats-officedocument.presentationml.notesSlide+xml"/>
  <Override PartName="/ppt/tags/tag112.xml" ContentType="application/vnd.openxmlformats-officedocument.presentationml.tags+xml"/>
  <Override PartName="/ppt/notesSlides/notesSlide7.xml" ContentType="application/vnd.openxmlformats-officedocument.presentationml.notesSlide+xml"/>
  <Override PartName="/ppt/tags/tag113.xml" ContentType="application/vnd.openxmlformats-officedocument.presentationml.tags+xml"/>
  <Override PartName="/ppt/notesSlides/notesSlide8.xml" ContentType="application/vnd.openxmlformats-officedocument.presentationml.notesSlide+xml"/>
  <Override PartName="/ppt/tags/tag114.xml" ContentType="application/vnd.openxmlformats-officedocument.presentationml.tags+xml"/>
  <Override PartName="/ppt/notesSlides/notesSlide9.xml" ContentType="application/vnd.openxmlformats-officedocument.presentationml.notesSlide+xml"/>
  <Override PartName="/ppt/tags/tag115.xml" ContentType="application/vnd.openxmlformats-officedocument.presentationml.tags+xml"/>
  <Override PartName="/ppt/notesSlides/notesSlide10.xml" ContentType="application/vnd.openxmlformats-officedocument.presentationml.notesSlide+xml"/>
  <Override PartName="/ppt/tags/tag116.xml" ContentType="application/vnd.openxmlformats-officedocument.presentationml.tags+xml"/>
  <Override PartName="/ppt/notesSlides/notesSlide11.xml" ContentType="application/vnd.openxmlformats-officedocument.presentationml.notesSlide+xml"/>
  <Override PartName="/ppt/tags/tag117.xml" ContentType="application/vnd.openxmlformats-officedocument.presentationml.tags+xml"/>
  <Override PartName="/ppt/notesSlides/notesSlide12.xml" ContentType="application/vnd.openxmlformats-officedocument.presentationml.notesSlide+xml"/>
  <Override PartName="/ppt/tags/tag118.xml" ContentType="application/vnd.openxmlformats-officedocument.presentationml.tags+xml"/>
  <Override PartName="/ppt/notesSlides/notesSlide13.xml" ContentType="application/vnd.openxmlformats-officedocument.presentationml.notesSlide+xml"/>
  <Override PartName="/ppt/tags/tag119.xml" ContentType="application/vnd.openxmlformats-officedocument.presentationml.tags+xml"/>
  <Override PartName="/ppt/notesSlides/notesSlide14.xml" ContentType="application/vnd.openxmlformats-officedocument.presentationml.notesSlide+xml"/>
  <Override PartName="/ppt/tags/tag120.xml" ContentType="application/vnd.openxmlformats-officedocument.presentationml.tags+xml"/>
  <Override PartName="/ppt/notesSlides/notesSlide15.xml" ContentType="application/vnd.openxmlformats-officedocument.presentationml.notesSlide+xml"/>
  <Override PartName="/ppt/tags/tag121.xml" ContentType="application/vnd.openxmlformats-officedocument.presentationml.tags+xml"/>
  <Override PartName="/ppt/notesSlides/notesSlide16.xml" ContentType="application/vnd.openxmlformats-officedocument.presentationml.notesSlide+xml"/>
  <Override PartName="/ppt/tags/tag122.xml" ContentType="application/vnd.openxmlformats-officedocument.presentationml.tags+xml"/>
  <Override PartName="/ppt/notesSlides/notesSlide17.xml" ContentType="application/vnd.openxmlformats-officedocument.presentationml.notesSlide+xml"/>
  <Override PartName="/ppt/tags/tag123.xml" ContentType="application/vnd.openxmlformats-officedocument.presentationml.tags+xml"/>
  <Override PartName="/ppt/notesSlides/notesSlide18.xml" ContentType="application/vnd.openxmlformats-officedocument.presentationml.notesSlide+xml"/>
  <Override PartName="/ppt/tags/tag124.xml" ContentType="application/vnd.openxmlformats-officedocument.presentationml.tags+xml"/>
  <Override PartName="/ppt/notesSlides/notesSlide19.xml" ContentType="application/vnd.openxmlformats-officedocument.presentationml.notesSlide+xml"/>
  <Override PartName="/ppt/tags/tag125.xml" ContentType="application/vnd.openxmlformats-officedocument.presentationml.tags+xml"/>
  <Override PartName="/ppt/notesSlides/notesSlide20.xml" ContentType="application/vnd.openxmlformats-officedocument.presentationml.notesSlide+xml"/>
  <Override PartName="/ppt/tags/tag126.xml" ContentType="application/vnd.openxmlformats-officedocument.presentationml.tags+xml"/>
  <Override PartName="/ppt/notesSlides/notesSlide21.xml" ContentType="application/vnd.openxmlformats-officedocument.presentationml.notesSlide+xml"/>
  <Override PartName="/ppt/tags/tag127.xml" ContentType="application/vnd.openxmlformats-officedocument.presentationml.tags+xml"/>
  <Override PartName="/ppt/notesSlides/notesSlide22.xml" ContentType="application/vnd.openxmlformats-officedocument.presentationml.notesSlide+xml"/>
  <Override PartName="/ppt/tags/tag128.xml" ContentType="application/vnd.openxmlformats-officedocument.presentationml.tags+xml"/>
  <Override PartName="/ppt/notesSlides/notesSlide23.xml" ContentType="application/vnd.openxmlformats-officedocument.presentationml.notesSlide+xml"/>
  <Override PartName="/ppt/tags/tag129.xml" ContentType="application/vnd.openxmlformats-officedocument.presentationml.tags+xml"/>
  <Override PartName="/ppt/notesSlides/notesSlide24.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25.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26.xml" ContentType="application/vnd.openxmlformats-officedocument.presentationml.notesSlide+xml"/>
  <Override PartName="/ppt/tags/tag134.xml" ContentType="application/vnd.openxmlformats-officedocument.presentationml.tags+xml"/>
  <Override PartName="/ppt/notesSlides/notesSlide27.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Lst>
  <p:notesMasterIdLst>
    <p:notesMasterId r:id="rId43"/>
  </p:notesMasterIdLst>
  <p:handoutMasterIdLst>
    <p:handoutMasterId r:id="rId44"/>
  </p:handoutMasterIdLst>
  <p:sldIdLst>
    <p:sldId id="256" r:id="rId13"/>
    <p:sldId id="2193" r:id="rId14"/>
    <p:sldId id="2194" r:id="rId15"/>
    <p:sldId id="1922" r:id="rId16"/>
    <p:sldId id="2195" r:id="rId17"/>
    <p:sldId id="2196" r:id="rId18"/>
    <p:sldId id="2160" r:id="rId19"/>
    <p:sldId id="2197" r:id="rId20"/>
    <p:sldId id="2198" r:id="rId21"/>
    <p:sldId id="2164" r:id="rId22"/>
    <p:sldId id="2167" r:id="rId23"/>
    <p:sldId id="2185" r:id="rId24"/>
    <p:sldId id="1927" r:id="rId25"/>
    <p:sldId id="1929" r:id="rId26"/>
    <p:sldId id="1931" r:id="rId27"/>
    <p:sldId id="2178" r:id="rId28"/>
    <p:sldId id="2169" r:id="rId29"/>
    <p:sldId id="2188" r:id="rId30"/>
    <p:sldId id="1979" r:id="rId31"/>
    <p:sldId id="1980" r:id="rId32"/>
    <p:sldId id="2190" r:id="rId33"/>
    <p:sldId id="2189" r:id="rId34"/>
    <p:sldId id="1986" r:id="rId35"/>
    <p:sldId id="2199" r:id="rId36"/>
    <p:sldId id="2201" r:id="rId37"/>
    <p:sldId id="1598" r:id="rId38"/>
    <p:sldId id="2034" r:id="rId39"/>
    <p:sldId id="2147" r:id="rId40"/>
    <p:sldId id="1711" r:id="rId41"/>
    <p:sldId id="2200" r:id="rId42"/>
  </p:sldIdLst>
  <p:sldSz cx="12192000" cy="6858000"/>
  <p:notesSz cx="6858000" cy="9144000"/>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D26A"/>
    <a:srgbClr val="FFEAA5"/>
    <a:srgbClr val="FFE9A0"/>
    <a:srgbClr val="D3EFCE"/>
    <a:srgbClr val="FFABAB"/>
    <a:srgbClr val="FF8B8B"/>
    <a:srgbClr val="FF0000"/>
    <a:srgbClr val="EBF6DE"/>
    <a:srgbClr val="D9D9D9"/>
    <a:srgbClr val="F7F7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49C0E2C-AAC6-401A-B449-B354DF3FBE4A}" v="84" dt="2021-07-20T00:30:24.61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639" autoAdjust="0"/>
    <p:restoredTop sz="94987" autoAdjust="0"/>
  </p:normalViewPr>
  <p:slideViewPr>
    <p:cSldViewPr snapToGrid="0">
      <p:cViewPr varScale="1">
        <p:scale>
          <a:sx n="104" d="100"/>
          <a:sy n="104" d="100"/>
        </p:scale>
        <p:origin x="1212" y="11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3366"/>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handoutMaster" Target="handoutMasters/handoutMaster1.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Master" Target="slideMasters/slideMaster5.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commentAuthors" Target="commentAuthors.xml"/><Relationship Id="rId20" Type="http://schemas.openxmlformats.org/officeDocument/2006/relationships/slide" Target="slides/slide8.xml"/><Relationship Id="rId41" Type="http://schemas.openxmlformats.org/officeDocument/2006/relationships/slide" Target="slides/slide29.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9DB28F03-1A25-4A4E-9946-97135BA1FDC9}"/>
    <pc:docChg chg="undo custSel addSld delSld modSld">
      <pc:chgData name="Aurelien Domont" userId="6da7715ce44349b3" providerId="LiveId" clId="{9DB28F03-1A25-4A4E-9946-97135BA1FDC9}" dt="2021-05-12T07:03:12.756" v="23" actId="20577"/>
      <pc:docMkLst>
        <pc:docMk/>
      </pc:docMkLst>
      <pc:sldChg chg="addSp delSp modSp add del mod">
        <pc:chgData name="Aurelien Domont" userId="6da7715ce44349b3" providerId="LiveId" clId="{9DB28F03-1A25-4A4E-9946-97135BA1FDC9}" dt="2021-05-12T07:03:12.756" v="23" actId="20577"/>
        <pc:sldMkLst>
          <pc:docMk/>
          <pc:sldMk cId="1659127470" sldId="1924"/>
        </pc:sldMkLst>
        <pc:spChg chg="del">
          <ac:chgData name="Aurelien Domont" userId="6da7715ce44349b3" providerId="LiveId" clId="{9DB28F03-1A25-4A4E-9946-97135BA1FDC9}" dt="2021-05-12T07:02:36.244" v="14" actId="478"/>
          <ac:spMkLst>
            <pc:docMk/>
            <pc:sldMk cId="1659127470" sldId="1924"/>
            <ac:spMk id="14" creationId="{493F826D-CCF6-440C-BFA4-C3799A3ED755}"/>
          </ac:spMkLst>
        </pc:spChg>
        <pc:spChg chg="add del mod">
          <ac:chgData name="Aurelien Domont" userId="6da7715ce44349b3" providerId="LiveId" clId="{9DB28F03-1A25-4A4E-9946-97135BA1FDC9}" dt="2021-05-12T07:02:43.931" v="16" actId="478"/>
          <ac:spMkLst>
            <pc:docMk/>
            <pc:sldMk cId="1659127470" sldId="1924"/>
            <ac:spMk id="15" creationId="{8492F43E-A244-4187-9CD1-2A383862A364}"/>
          </ac:spMkLst>
        </pc:spChg>
        <pc:spChg chg="add mod">
          <ac:chgData name="Aurelien Domont" userId="6da7715ce44349b3" providerId="LiveId" clId="{9DB28F03-1A25-4A4E-9946-97135BA1FDC9}" dt="2021-05-12T07:02:40.961" v="15"/>
          <ac:spMkLst>
            <pc:docMk/>
            <pc:sldMk cId="1659127470" sldId="1924"/>
            <ac:spMk id="17" creationId="{469F466A-B940-41E3-B12F-110D72502BCE}"/>
          </ac:spMkLst>
        </pc:spChg>
        <pc:spChg chg="del">
          <ac:chgData name="Aurelien Domont" userId="6da7715ce44349b3" providerId="LiveId" clId="{9DB28F03-1A25-4A4E-9946-97135BA1FDC9}" dt="2021-05-12T07:02:36.244" v="14" actId="478"/>
          <ac:spMkLst>
            <pc:docMk/>
            <pc:sldMk cId="1659127470" sldId="1924"/>
            <ac:spMk id="18" creationId="{0BCD4164-FFCE-447D-8269-E5891A7FEF0D}"/>
          </ac:spMkLst>
        </pc:spChg>
        <pc:spChg chg="del">
          <ac:chgData name="Aurelien Domont" userId="6da7715ce44349b3" providerId="LiveId" clId="{9DB28F03-1A25-4A4E-9946-97135BA1FDC9}" dt="2021-05-12T07:02:36.244" v="14" actId="478"/>
          <ac:spMkLst>
            <pc:docMk/>
            <pc:sldMk cId="1659127470" sldId="1924"/>
            <ac:spMk id="19" creationId="{554EE1B4-E11D-4B37-9F78-B5B5FA8738AA}"/>
          </ac:spMkLst>
        </pc:spChg>
        <pc:spChg chg="add mod">
          <ac:chgData name="Aurelien Domont" userId="6da7715ce44349b3" providerId="LiveId" clId="{9DB28F03-1A25-4A4E-9946-97135BA1FDC9}" dt="2021-05-12T07:02:40.961" v="15"/>
          <ac:spMkLst>
            <pc:docMk/>
            <pc:sldMk cId="1659127470" sldId="1924"/>
            <ac:spMk id="20" creationId="{3A4E6A8C-908C-49FF-9BF8-90A9FC12224D}"/>
          </ac:spMkLst>
        </pc:spChg>
        <pc:spChg chg="add mod">
          <ac:chgData name="Aurelien Domont" userId="6da7715ce44349b3" providerId="LiveId" clId="{9DB28F03-1A25-4A4E-9946-97135BA1FDC9}" dt="2021-05-12T07:02:40.961" v="15"/>
          <ac:spMkLst>
            <pc:docMk/>
            <pc:sldMk cId="1659127470" sldId="1924"/>
            <ac:spMk id="21" creationId="{16FAC062-BB56-4A49-9044-4444E78429DF}"/>
          </ac:spMkLst>
        </pc:spChg>
        <pc:spChg chg="add mod">
          <ac:chgData name="Aurelien Domont" userId="6da7715ce44349b3" providerId="LiveId" clId="{9DB28F03-1A25-4A4E-9946-97135BA1FDC9}" dt="2021-05-12T07:02:40.961" v="15"/>
          <ac:spMkLst>
            <pc:docMk/>
            <pc:sldMk cId="1659127470" sldId="1924"/>
            <ac:spMk id="24" creationId="{95714746-22CF-48C5-AD51-9D9AE6E5F2C8}"/>
          </ac:spMkLst>
        </pc:spChg>
        <pc:spChg chg="add mod">
          <ac:chgData name="Aurelien Domont" userId="6da7715ce44349b3" providerId="LiveId" clId="{9DB28F03-1A25-4A4E-9946-97135BA1FDC9}" dt="2021-05-12T07:03:12.756" v="23" actId="20577"/>
          <ac:spMkLst>
            <pc:docMk/>
            <pc:sldMk cId="1659127470" sldId="1924"/>
            <ac:spMk id="25" creationId="{0B462317-12E0-4745-AFEC-1DF156C5EB17}"/>
          </ac:spMkLst>
        </pc:spChg>
        <pc:spChg chg="add del mod">
          <ac:chgData name="Aurelien Domont" userId="6da7715ce44349b3" providerId="LiveId" clId="{9DB28F03-1A25-4A4E-9946-97135BA1FDC9}" dt="2021-05-12T07:02:51.744" v="19" actId="478"/>
          <ac:spMkLst>
            <pc:docMk/>
            <pc:sldMk cId="1659127470" sldId="1924"/>
            <ac:spMk id="26" creationId="{8207AE42-440E-461F-9002-F8171C2B0FB7}"/>
          </ac:spMkLst>
        </pc:spChg>
        <pc:spChg chg="add del mod">
          <ac:chgData name="Aurelien Domont" userId="6da7715ce44349b3" providerId="LiveId" clId="{9DB28F03-1A25-4A4E-9946-97135BA1FDC9}" dt="2021-05-12T07:02:52.643" v="20" actId="478"/>
          <ac:spMkLst>
            <pc:docMk/>
            <pc:sldMk cId="1659127470" sldId="1924"/>
            <ac:spMk id="27" creationId="{7874958D-3681-4FEB-AF57-767FF2BE43F8}"/>
          </ac:spMkLst>
        </pc:spChg>
        <pc:spChg chg="add del mod">
          <ac:chgData name="Aurelien Domont" userId="6da7715ce44349b3" providerId="LiveId" clId="{9DB28F03-1A25-4A4E-9946-97135BA1FDC9}" dt="2021-05-12T07:02:46.824" v="18" actId="478"/>
          <ac:spMkLst>
            <pc:docMk/>
            <pc:sldMk cId="1659127470" sldId="1924"/>
            <ac:spMk id="28" creationId="{46F541B2-19A4-48FE-BC36-F95AB3359448}"/>
          </ac:spMkLst>
        </pc:spChg>
        <pc:spChg chg="del">
          <ac:chgData name="Aurelien Domont" userId="6da7715ce44349b3" providerId="LiveId" clId="{9DB28F03-1A25-4A4E-9946-97135BA1FDC9}" dt="2021-05-12T07:02:36.244" v="14" actId="478"/>
          <ac:spMkLst>
            <pc:docMk/>
            <pc:sldMk cId="1659127470" sldId="1924"/>
            <ac:spMk id="34" creationId="{E2BDE0B8-90AF-4DE7-A71B-FE78ADE30B55}"/>
          </ac:spMkLst>
        </pc:spChg>
        <pc:spChg chg="del">
          <ac:chgData name="Aurelien Domont" userId="6da7715ce44349b3" providerId="LiveId" clId="{9DB28F03-1A25-4A4E-9946-97135BA1FDC9}" dt="2021-05-12T07:02:36.244" v="14" actId="478"/>
          <ac:spMkLst>
            <pc:docMk/>
            <pc:sldMk cId="1659127470" sldId="1924"/>
            <ac:spMk id="35" creationId="{1BC3B263-81C3-42AD-96C7-45AB7FFD0557}"/>
          </ac:spMkLst>
        </pc:spChg>
        <pc:spChg chg="del">
          <ac:chgData name="Aurelien Domont" userId="6da7715ce44349b3" providerId="LiveId" clId="{9DB28F03-1A25-4A4E-9946-97135BA1FDC9}" dt="2021-05-12T07:02:36.244" v="14" actId="478"/>
          <ac:spMkLst>
            <pc:docMk/>
            <pc:sldMk cId="1659127470" sldId="1924"/>
            <ac:spMk id="36" creationId="{DEACEA99-9E9A-408A-9277-86EFC1C60A69}"/>
          </ac:spMkLst>
        </pc:spChg>
        <pc:cxnChg chg="del">
          <ac:chgData name="Aurelien Domont" userId="6da7715ce44349b3" providerId="LiveId" clId="{9DB28F03-1A25-4A4E-9946-97135BA1FDC9}" dt="2021-05-12T07:02:36.244" v="14" actId="478"/>
          <ac:cxnSpMkLst>
            <pc:docMk/>
            <pc:sldMk cId="1659127470" sldId="1924"/>
            <ac:cxnSpMk id="6" creationId="{91E4FFAB-FF4F-40BB-B034-751A14BFD071}"/>
          </ac:cxnSpMkLst>
        </pc:cxnChg>
        <pc:cxnChg chg="add mod">
          <ac:chgData name="Aurelien Domont" userId="6da7715ce44349b3" providerId="LiveId" clId="{9DB28F03-1A25-4A4E-9946-97135BA1FDC9}" dt="2021-05-12T07:02:40.961" v="15"/>
          <ac:cxnSpMkLst>
            <pc:docMk/>
            <pc:sldMk cId="1659127470" sldId="1924"/>
            <ac:cxnSpMk id="22" creationId="{8F214CF9-01D2-40DC-9D6F-DAC675E238D0}"/>
          </ac:cxnSpMkLst>
        </pc:cxnChg>
        <pc:cxnChg chg="add mod">
          <ac:chgData name="Aurelien Domont" userId="6da7715ce44349b3" providerId="LiveId" clId="{9DB28F03-1A25-4A4E-9946-97135BA1FDC9}" dt="2021-05-12T07:02:40.961" v="15"/>
          <ac:cxnSpMkLst>
            <pc:docMk/>
            <pc:sldMk cId="1659127470" sldId="1924"/>
            <ac:cxnSpMk id="23" creationId="{919B0EFB-7619-4E1E-BC50-B4C9AA07AF7A}"/>
          </ac:cxnSpMkLst>
        </pc:cxnChg>
        <pc:cxnChg chg="del">
          <ac:chgData name="Aurelien Domont" userId="6da7715ce44349b3" providerId="LiveId" clId="{9DB28F03-1A25-4A4E-9946-97135BA1FDC9}" dt="2021-05-12T07:02:36.244" v="14" actId="478"/>
          <ac:cxnSpMkLst>
            <pc:docMk/>
            <pc:sldMk cId="1659127470" sldId="1924"/>
            <ac:cxnSpMk id="33" creationId="{3B31C624-A379-4A7C-8695-3B2B901C5E36}"/>
          </ac:cxnSpMkLst>
        </pc:cxnChg>
      </pc:sldChg>
      <pc:sldChg chg="addSp delSp modSp add del mod">
        <pc:chgData name="Aurelien Domont" userId="6da7715ce44349b3" providerId="LiveId" clId="{9DB28F03-1A25-4A4E-9946-97135BA1FDC9}" dt="2021-05-12T07:02:31.884" v="13"/>
        <pc:sldMkLst>
          <pc:docMk/>
          <pc:sldMk cId="2780470134" sldId="2169"/>
        </pc:sldMkLst>
        <pc:spChg chg="add del">
          <ac:chgData name="Aurelien Domont" userId="6da7715ce44349b3" providerId="LiveId" clId="{9DB28F03-1A25-4A4E-9946-97135BA1FDC9}" dt="2021-05-12T07:02:27.560" v="11" actId="478"/>
          <ac:spMkLst>
            <pc:docMk/>
            <pc:sldMk cId="2780470134" sldId="2169"/>
            <ac:spMk id="4" creationId="{D1930ED8-C851-405B-901E-2CC967E63EEB}"/>
          </ac:spMkLst>
        </pc:spChg>
        <pc:spChg chg="add del">
          <ac:chgData name="Aurelien Domont" userId="6da7715ce44349b3" providerId="LiveId" clId="{9DB28F03-1A25-4A4E-9946-97135BA1FDC9}" dt="2021-05-12T07:02:27.560" v="11" actId="478"/>
          <ac:spMkLst>
            <pc:docMk/>
            <pc:sldMk cId="2780470134" sldId="2169"/>
            <ac:spMk id="15" creationId="{A49EC62A-DF00-4CF2-94E8-C5D0BE35FC0B}"/>
          </ac:spMkLst>
        </pc:spChg>
        <pc:spChg chg="add del mod">
          <ac:chgData name="Aurelien Domont" userId="6da7715ce44349b3" providerId="LiveId" clId="{9DB28F03-1A25-4A4E-9946-97135BA1FDC9}" dt="2021-05-12T07:02:27.277" v="10" actId="1076"/>
          <ac:spMkLst>
            <pc:docMk/>
            <pc:sldMk cId="2780470134" sldId="2169"/>
            <ac:spMk id="17" creationId="{3B83C0B2-844F-4168-BE85-BA50DF2BED24}"/>
          </ac:spMkLst>
        </pc:spChg>
        <pc:spChg chg="add del">
          <ac:chgData name="Aurelien Domont" userId="6da7715ce44349b3" providerId="LiveId" clId="{9DB28F03-1A25-4A4E-9946-97135BA1FDC9}" dt="2021-05-12T07:02:15.133" v="6" actId="478"/>
          <ac:spMkLst>
            <pc:docMk/>
            <pc:sldMk cId="2780470134" sldId="2169"/>
            <ac:spMk id="35" creationId="{1BC3B263-81C3-42AD-96C7-45AB7FFD0557}"/>
          </ac:spMkLst>
        </pc:spChg>
      </pc:sldChg>
    </pc:docChg>
  </pc:docChgLst>
  <pc:docChgLst>
    <pc:chgData name="Aurelien Domont" userId="6da7715ce44349b3" providerId="LiveId" clId="{AFF9B0D5-CA7D-40FB-964A-23276295459E}"/>
    <pc:docChg chg="undo redo custSel addSld delSld modSld sldOrd">
      <pc:chgData name="Aurelien Domont" userId="6da7715ce44349b3" providerId="LiveId" clId="{AFF9B0D5-CA7D-40FB-964A-23276295459E}" dt="2021-07-06T05:45:33.756" v="7160" actId="47"/>
      <pc:docMkLst>
        <pc:docMk/>
      </pc:docMkLst>
      <pc:sldChg chg="modSp mod">
        <pc:chgData name="Aurelien Domont" userId="6da7715ce44349b3" providerId="LiveId" clId="{AFF9B0D5-CA7D-40FB-964A-23276295459E}" dt="2021-06-30T06:11:44.300" v="156" actId="1036"/>
        <pc:sldMkLst>
          <pc:docMk/>
          <pc:sldMk cId="3131901387" sldId="256"/>
        </pc:sldMkLst>
        <pc:spChg chg="mod">
          <ac:chgData name="Aurelien Domont" userId="6da7715ce44349b3" providerId="LiveId" clId="{AFF9B0D5-CA7D-40FB-964A-23276295459E}" dt="2021-06-30T05:56:33.821" v="7" actId="20577"/>
          <ac:spMkLst>
            <pc:docMk/>
            <pc:sldMk cId="3131901387" sldId="256"/>
            <ac:spMk id="2" creationId="{5261080C-C60C-4746-B6B1-A9A4FFA86785}"/>
          </ac:spMkLst>
        </pc:spChg>
        <pc:spChg chg="mod">
          <ac:chgData name="Aurelien Domont" userId="6da7715ce44349b3" providerId="LiveId" clId="{AFF9B0D5-CA7D-40FB-964A-23276295459E}" dt="2021-06-30T06:11:44.300" v="156" actId="1036"/>
          <ac:spMkLst>
            <pc:docMk/>
            <pc:sldMk cId="3131901387" sldId="256"/>
            <ac:spMk id="16" creationId="{2436D48A-FAB5-4E4C-AB97-233E7A3795E6}"/>
          </ac:spMkLst>
        </pc:spChg>
      </pc:sldChg>
      <pc:sldChg chg="add">
        <pc:chgData name="Aurelien Domont" userId="6da7715ce44349b3" providerId="LiveId" clId="{AFF9B0D5-CA7D-40FB-964A-23276295459E}" dt="2021-07-06T03:29:06.794" v="6239"/>
        <pc:sldMkLst>
          <pc:docMk/>
          <pc:sldMk cId="3072119178" sldId="1488"/>
        </pc:sldMkLst>
      </pc:sldChg>
      <pc:sldChg chg="add">
        <pc:chgData name="Aurelien Domont" userId="6da7715ce44349b3" providerId="LiveId" clId="{AFF9B0D5-CA7D-40FB-964A-23276295459E}" dt="2021-07-06T03:29:06.794" v="6239"/>
        <pc:sldMkLst>
          <pc:docMk/>
          <pc:sldMk cId="926313830" sldId="1489"/>
        </pc:sldMkLst>
      </pc:sldChg>
      <pc:sldChg chg="add">
        <pc:chgData name="Aurelien Domont" userId="6da7715ce44349b3" providerId="LiveId" clId="{AFF9B0D5-CA7D-40FB-964A-23276295459E}" dt="2021-07-06T03:29:06.794" v="6239"/>
        <pc:sldMkLst>
          <pc:docMk/>
          <pc:sldMk cId="3370215172" sldId="1490"/>
        </pc:sldMkLst>
      </pc:sldChg>
      <pc:sldChg chg="delSp add mod">
        <pc:chgData name="Aurelien Domont" userId="6da7715ce44349b3" providerId="LiveId" clId="{AFF9B0D5-CA7D-40FB-964A-23276295459E}" dt="2021-07-06T03:40:44.994" v="6305" actId="478"/>
        <pc:sldMkLst>
          <pc:docMk/>
          <pc:sldMk cId="388158782" sldId="1514"/>
        </pc:sldMkLst>
        <pc:spChg chg="del">
          <ac:chgData name="Aurelien Domont" userId="6da7715ce44349b3" providerId="LiveId" clId="{AFF9B0D5-CA7D-40FB-964A-23276295459E}" dt="2021-07-06T03:40:44.994" v="6305" actId="478"/>
          <ac:spMkLst>
            <pc:docMk/>
            <pc:sldMk cId="388158782" sldId="1514"/>
            <ac:spMk id="2" creationId="{212698CA-525D-4C2D-9189-5F72AC48FE69}"/>
          </ac:spMkLst>
        </pc:spChg>
      </pc:sldChg>
      <pc:sldChg chg="delSp add mod">
        <pc:chgData name="Aurelien Domont" userId="6da7715ce44349b3" providerId="LiveId" clId="{AFF9B0D5-CA7D-40FB-964A-23276295459E}" dt="2021-07-06T03:40:55.616" v="6309" actId="478"/>
        <pc:sldMkLst>
          <pc:docMk/>
          <pc:sldMk cId="2270541995" sldId="1519"/>
        </pc:sldMkLst>
        <pc:spChg chg="del">
          <ac:chgData name="Aurelien Domont" userId="6da7715ce44349b3" providerId="LiveId" clId="{AFF9B0D5-CA7D-40FB-964A-23276295459E}" dt="2021-07-06T03:40:55.616" v="6309" actId="478"/>
          <ac:spMkLst>
            <pc:docMk/>
            <pc:sldMk cId="2270541995" sldId="1519"/>
            <ac:spMk id="20" creationId="{2180E81B-773A-41E2-B5E9-ED6F14F6562A}"/>
          </ac:spMkLst>
        </pc:spChg>
      </pc:sldChg>
      <pc:sldChg chg="delSp add mod">
        <pc:chgData name="Aurelien Domont" userId="6da7715ce44349b3" providerId="LiveId" clId="{AFF9B0D5-CA7D-40FB-964A-23276295459E}" dt="2021-07-06T03:40:41.352" v="6304" actId="478"/>
        <pc:sldMkLst>
          <pc:docMk/>
          <pc:sldMk cId="112122695" sldId="1521"/>
        </pc:sldMkLst>
        <pc:spChg chg="del">
          <ac:chgData name="Aurelien Domont" userId="6da7715ce44349b3" providerId="LiveId" clId="{AFF9B0D5-CA7D-40FB-964A-23276295459E}" dt="2021-07-06T03:40:41.352" v="6304" actId="478"/>
          <ac:spMkLst>
            <pc:docMk/>
            <pc:sldMk cId="112122695" sldId="1521"/>
            <ac:spMk id="9" creationId="{2617BC3D-6D60-4D40-8CB3-9F2918741106}"/>
          </ac:spMkLst>
        </pc:spChg>
      </pc:sldChg>
      <pc:sldChg chg="delSp add mod">
        <pc:chgData name="Aurelien Domont" userId="6da7715ce44349b3" providerId="LiveId" clId="{AFF9B0D5-CA7D-40FB-964A-23276295459E}" dt="2021-07-06T03:40:47.380" v="6306" actId="478"/>
        <pc:sldMkLst>
          <pc:docMk/>
          <pc:sldMk cId="3014473461" sldId="1527"/>
        </pc:sldMkLst>
        <pc:spChg chg="del">
          <ac:chgData name="Aurelien Domont" userId="6da7715ce44349b3" providerId="LiveId" clId="{AFF9B0D5-CA7D-40FB-964A-23276295459E}" dt="2021-07-06T03:40:47.380" v="6306" actId="478"/>
          <ac:spMkLst>
            <pc:docMk/>
            <pc:sldMk cId="3014473461" sldId="1527"/>
            <ac:spMk id="14" creationId="{44AD6DED-2211-4435-A310-86FB6FD47D05}"/>
          </ac:spMkLst>
        </pc:spChg>
      </pc:sldChg>
      <pc:sldChg chg="delSp add mod">
        <pc:chgData name="Aurelien Domont" userId="6da7715ce44349b3" providerId="LiveId" clId="{AFF9B0D5-CA7D-40FB-964A-23276295459E}" dt="2021-07-06T03:40:49.742" v="6307" actId="478"/>
        <pc:sldMkLst>
          <pc:docMk/>
          <pc:sldMk cId="4130717619" sldId="1530"/>
        </pc:sldMkLst>
        <pc:spChg chg="del">
          <ac:chgData name="Aurelien Domont" userId="6da7715ce44349b3" providerId="LiveId" clId="{AFF9B0D5-CA7D-40FB-964A-23276295459E}" dt="2021-07-06T03:40:49.742" v="6307" actId="478"/>
          <ac:spMkLst>
            <pc:docMk/>
            <pc:sldMk cId="4130717619" sldId="1530"/>
            <ac:spMk id="34" creationId="{194B2D88-1AE6-4ACA-83A8-96444B90AE3C}"/>
          </ac:spMkLst>
        </pc:spChg>
      </pc:sldChg>
      <pc:sldChg chg="add">
        <pc:chgData name="Aurelien Domont" userId="6da7715ce44349b3" providerId="LiveId" clId="{AFF9B0D5-CA7D-40FB-964A-23276295459E}" dt="2021-07-06T03:47:03.351" v="6356"/>
        <pc:sldMkLst>
          <pc:docMk/>
          <pc:sldMk cId="1754585881" sldId="1598"/>
        </pc:sldMkLst>
      </pc:sldChg>
      <pc:sldChg chg="add del">
        <pc:chgData name="Aurelien Domont" userId="6da7715ce44349b3" providerId="LiveId" clId="{AFF9B0D5-CA7D-40FB-964A-23276295459E}" dt="2021-07-06T03:59:24.275" v="6368" actId="47"/>
        <pc:sldMkLst>
          <pc:docMk/>
          <pc:sldMk cId="748962572" sldId="1599"/>
        </pc:sldMkLst>
      </pc:sldChg>
      <pc:sldChg chg="add">
        <pc:chgData name="Aurelien Domont" userId="6da7715ce44349b3" providerId="LiveId" clId="{AFF9B0D5-CA7D-40FB-964A-23276295459E}" dt="2021-07-06T03:47:03.351" v="6356"/>
        <pc:sldMkLst>
          <pc:docMk/>
          <pc:sldMk cId="2853806433" sldId="1600"/>
        </pc:sldMkLst>
      </pc:sldChg>
      <pc:sldChg chg="delSp add mod">
        <pc:chgData name="Aurelien Domont" userId="6da7715ce44349b3" providerId="LiveId" clId="{AFF9B0D5-CA7D-40FB-964A-23276295459E}" dt="2021-07-06T03:40:51.818" v="6308" actId="478"/>
        <pc:sldMkLst>
          <pc:docMk/>
          <pc:sldMk cId="2815671749" sldId="1601"/>
        </pc:sldMkLst>
        <pc:spChg chg="del">
          <ac:chgData name="Aurelien Domont" userId="6da7715ce44349b3" providerId="LiveId" clId="{AFF9B0D5-CA7D-40FB-964A-23276295459E}" dt="2021-07-06T03:40:51.818" v="6308" actId="478"/>
          <ac:spMkLst>
            <pc:docMk/>
            <pc:sldMk cId="2815671749" sldId="1601"/>
            <ac:spMk id="24" creationId="{4BCA7FD1-DB5E-4F8E-B0CC-4AE245CCA562}"/>
          </ac:spMkLst>
        </pc:spChg>
      </pc:sldChg>
      <pc:sldChg chg="addSp delSp modSp add mod">
        <pc:chgData name="Aurelien Domont" userId="6da7715ce44349b3" providerId="LiveId" clId="{AFF9B0D5-CA7D-40FB-964A-23276295459E}" dt="2021-07-06T05:44:42.038" v="7159"/>
        <pc:sldMkLst>
          <pc:docMk/>
          <pc:sldMk cId="1252826214" sldId="1711"/>
        </pc:sldMkLst>
        <pc:spChg chg="add del mod">
          <ac:chgData name="Aurelien Domont" userId="6da7715ce44349b3" providerId="LiveId" clId="{AFF9B0D5-CA7D-40FB-964A-23276295459E}" dt="2021-07-06T05:44:33.360" v="7158" actId="478"/>
          <ac:spMkLst>
            <pc:docMk/>
            <pc:sldMk cId="1252826214" sldId="1711"/>
            <ac:spMk id="4" creationId="{A0F996F7-F20A-47BA-B1AF-1C8B779CA79D}"/>
          </ac:spMkLst>
        </pc:spChg>
        <pc:spChg chg="add del mod">
          <ac:chgData name="Aurelien Domont" userId="6da7715ce44349b3" providerId="LiveId" clId="{AFF9B0D5-CA7D-40FB-964A-23276295459E}" dt="2021-07-06T05:15:06.168" v="6682" actId="478"/>
          <ac:spMkLst>
            <pc:docMk/>
            <pc:sldMk cId="1252826214" sldId="1711"/>
            <ac:spMk id="6" creationId="{067DEC11-2878-4496-BCB1-34143B3D39F6}"/>
          </ac:spMkLst>
        </pc:spChg>
        <pc:spChg chg="del mod">
          <ac:chgData name="Aurelien Domont" userId="6da7715ce44349b3" providerId="LiveId" clId="{AFF9B0D5-CA7D-40FB-964A-23276295459E}" dt="2021-07-06T05:16:43.228" v="6710" actId="478"/>
          <ac:spMkLst>
            <pc:docMk/>
            <pc:sldMk cId="1252826214" sldId="1711"/>
            <ac:spMk id="9" creationId="{71937F58-B9F0-481F-8FE4-CB6A95D57416}"/>
          </ac:spMkLst>
        </pc:spChg>
        <pc:spChg chg="add mod">
          <ac:chgData name="Aurelien Domont" userId="6da7715ce44349b3" providerId="LiveId" clId="{AFF9B0D5-CA7D-40FB-964A-23276295459E}" dt="2021-07-06T05:31:57.238" v="6993" actId="1036"/>
          <ac:spMkLst>
            <pc:docMk/>
            <pc:sldMk cId="1252826214" sldId="1711"/>
            <ac:spMk id="11" creationId="{1C1B8EC1-2923-4978-A61D-27E28146FFD1}"/>
          </ac:spMkLst>
        </pc:spChg>
        <pc:spChg chg="add del">
          <ac:chgData name="Aurelien Domont" userId="6da7715ce44349b3" providerId="LiveId" clId="{AFF9B0D5-CA7D-40FB-964A-23276295459E}" dt="2021-07-06T05:20:08.222" v="6825"/>
          <ac:spMkLst>
            <pc:docMk/>
            <pc:sldMk cId="1252826214" sldId="1711"/>
            <ac:spMk id="12" creationId="{6C7760B7-5B47-4B2B-B236-C6B87C8BA92C}"/>
          </ac:spMkLst>
        </pc:spChg>
        <pc:spChg chg="del">
          <ac:chgData name="Aurelien Domont" userId="6da7715ce44349b3" providerId="LiveId" clId="{AFF9B0D5-CA7D-40FB-964A-23276295459E}" dt="2021-07-06T05:44:31.280" v="7157" actId="478"/>
          <ac:spMkLst>
            <pc:docMk/>
            <pc:sldMk cId="1252826214" sldId="1711"/>
            <ac:spMk id="16" creationId="{6C2BB713-9637-4B9B-938F-E9768876782A}"/>
          </ac:spMkLst>
        </pc:spChg>
        <pc:spChg chg="mod">
          <ac:chgData name="Aurelien Domont" userId="6da7715ce44349b3" providerId="LiveId" clId="{AFF9B0D5-CA7D-40FB-964A-23276295459E}" dt="2021-07-06T05:23:47.431" v="6878" actId="14100"/>
          <ac:spMkLst>
            <pc:docMk/>
            <pc:sldMk cId="1252826214" sldId="1711"/>
            <ac:spMk id="25" creationId="{86A71970-E46B-4358-8BCC-1715EFB36D64}"/>
          </ac:spMkLst>
        </pc:spChg>
        <pc:spChg chg="del">
          <ac:chgData name="Aurelien Domont" userId="6da7715ce44349b3" providerId="LiveId" clId="{AFF9B0D5-CA7D-40FB-964A-23276295459E}" dt="2021-07-06T05:04:51.063" v="6543" actId="478"/>
          <ac:spMkLst>
            <pc:docMk/>
            <pc:sldMk cId="1252826214" sldId="1711"/>
            <ac:spMk id="26" creationId="{2D6AF8B1-5CD0-4EF5-8A94-99CDB8159F2E}"/>
          </ac:spMkLst>
        </pc:spChg>
        <pc:spChg chg="mod">
          <ac:chgData name="Aurelien Domont" userId="6da7715ce44349b3" providerId="LiveId" clId="{AFF9B0D5-CA7D-40FB-964A-23276295459E}" dt="2021-07-06T05:23:28.443" v="6876" actId="14100"/>
          <ac:spMkLst>
            <pc:docMk/>
            <pc:sldMk cId="1252826214" sldId="1711"/>
            <ac:spMk id="27" creationId="{2221734C-F2C9-4C4F-AF07-9C7EB749C560}"/>
          </ac:spMkLst>
        </pc:spChg>
        <pc:spChg chg="mod">
          <ac:chgData name="Aurelien Domont" userId="6da7715ce44349b3" providerId="LiveId" clId="{AFF9B0D5-CA7D-40FB-964A-23276295459E}" dt="2021-07-06T05:27:43.126" v="6976" actId="20577"/>
          <ac:spMkLst>
            <pc:docMk/>
            <pc:sldMk cId="1252826214" sldId="1711"/>
            <ac:spMk id="28" creationId="{9890D867-710A-4021-80A0-9EDD68F8268E}"/>
          </ac:spMkLst>
        </pc:spChg>
        <pc:spChg chg="del">
          <ac:chgData name="Aurelien Domont" userId="6da7715ce44349b3" providerId="LiveId" clId="{AFF9B0D5-CA7D-40FB-964A-23276295459E}" dt="2021-07-06T05:09:58.690" v="6602" actId="478"/>
          <ac:spMkLst>
            <pc:docMk/>
            <pc:sldMk cId="1252826214" sldId="1711"/>
            <ac:spMk id="29" creationId="{E4DF25B1-5908-47C1-9DE1-8B071152AB86}"/>
          </ac:spMkLst>
        </pc:spChg>
        <pc:spChg chg="del">
          <ac:chgData name="Aurelien Domont" userId="6da7715ce44349b3" providerId="LiveId" clId="{AFF9B0D5-CA7D-40FB-964A-23276295459E}" dt="2021-07-06T05:09:58.690" v="6602" actId="478"/>
          <ac:spMkLst>
            <pc:docMk/>
            <pc:sldMk cId="1252826214" sldId="1711"/>
            <ac:spMk id="30" creationId="{3E4A0BFB-23C7-4F96-9BBB-BDB5A22654B7}"/>
          </ac:spMkLst>
        </pc:spChg>
        <pc:spChg chg="del">
          <ac:chgData name="Aurelien Domont" userId="6da7715ce44349b3" providerId="LiveId" clId="{AFF9B0D5-CA7D-40FB-964A-23276295459E}" dt="2021-07-06T05:04:51.063" v="6543" actId="478"/>
          <ac:spMkLst>
            <pc:docMk/>
            <pc:sldMk cId="1252826214" sldId="1711"/>
            <ac:spMk id="31" creationId="{0E591EF6-7966-4517-B0EF-26C41FB1666B}"/>
          </ac:spMkLst>
        </pc:spChg>
        <pc:spChg chg="del">
          <ac:chgData name="Aurelien Domont" userId="6da7715ce44349b3" providerId="LiveId" clId="{AFF9B0D5-CA7D-40FB-964A-23276295459E}" dt="2021-07-06T05:04:51.063" v="6543" actId="478"/>
          <ac:spMkLst>
            <pc:docMk/>
            <pc:sldMk cId="1252826214" sldId="1711"/>
            <ac:spMk id="32" creationId="{FB523FCB-D7D5-4D2D-BF16-04E8085A46E6}"/>
          </ac:spMkLst>
        </pc:spChg>
        <pc:spChg chg="del">
          <ac:chgData name="Aurelien Domont" userId="6da7715ce44349b3" providerId="LiveId" clId="{AFF9B0D5-CA7D-40FB-964A-23276295459E}" dt="2021-07-06T05:04:51.063" v="6543" actId="478"/>
          <ac:spMkLst>
            <pc:docMk/>
            <pc:sldMk cId="1252826214" sldId="1711"/>
            <ac:spMk id="33" creationId="{42D0DD8F-30AB-4FAB-8025-D308C2977F2E}"/>
          </ac:spMkLst>
        </pc:spChg>
        <pc:spChg chg="mod">
          <ac:chgData name="Aurelien Domont" userId="6da7715ce44349b3" providerId="LiveId" clId="{AFF9B0D5-CA7D-40FB-964A-23276295459E}" dt="2021-07-06T05:23:54.440" v="6888" actId="1038"/>
          <ac:spMkLst>
            <pc:docMk/>
            <pc:sldMk cId="1252826214" sldId="1711"/>
            <ac:spMk id="34" creationId="{D73AA7D2-25BB-4811-9D38-82BD21C8478B}"/>
          </ac:spMkLst>
        </pc:spChg>
        <pc:spChg chg="del">
          <ac:chgData name="Aurelien Domont" userId="6da7715ce44349b3" providerId="LiveId" clId="{AFF9B0D5-CA7D-40FB-964A-23276295459E}" dt="2021-07-06T05:12:46.120" v="6667" actId="478"/>
          <ac:spMkLst>
            <pc:docMk/>
            <pc:sldMk cId="1252826214" sldId="1711"/>
            <ac:spMk id="35" creationId="{A0E19B17-F701-4258-8590-B311C8DDA595}"/>
          </ac:spMkLst>
        </pc:spChg>
        <pc:spChg chg="del mod">
          <ac:chgData name="Aurelien Domont" userId="6da7715ce44349b3" providerId="LiveId" clId="{AFF9B0D5-CA7D-40FB-964A-23276295459E}" dt="2021-07-06T05:12:45.357" v="6666" actId="478"/>
          <ac:spMkLst>
            <pc:docMk/>
            <pc:sldMk cId="1252826214" sldId="1711"/>
            <ac:spMk id="36" creationId="{2D29A82D-BC16-4480-BBD6-9098406BF29E}"/>
          </ac:spMkLst>
        </pc:spChg>
        <pc:spChg chg="mod">
          <ac:chgData name="Aurelien Domont" userId="6da7715ce44349b3" providerId="LiveId" clId="{AFF9B0D5-CA7D-40FB-964A-23276295459E}" dt="2021-07-06T05:23:47.431" v="6878" actId="14100"/>
          <ac:spMkLst>
            <pc:docMk/>
            <pc:sldMk cId="1252826214" sldId="1711"/>
            <ac:spMk id="37" creationId="{EF41B183-983A-424C-A811-31D7B9F3E067}"/>
          </ac:spMkLst>
        </pc:spChg>
        <pc:spChg chg="mod">
          <ac:chgData name="Aurelien Domont" userId="6da7715ce44349b3" providerId="LiveId" clId="{AFF9B0D5-CA7D-40FB-964A-23276295459E}" dt="2021-07-06T05:35:23.276" v="7039"/>
          <ac:spMkLst>
            <pc:docMk/>
            <pc:sldMk cId="1252826214" sldId="1711"/>
            <ac:spMk id="38" creationId="{A222A58B-1B90-4496-A948-F185A3E65D28}"/>
          </ac:spMkLst>
        </pc:spChg>
        <pc:spChg chg="mod">
          <ac:chgData name="Aurelien Domont" userId="6da7715ce44349b3" providerId="LiveId" clId="{AFF9B0D5-CA7D-40FB-964A-23276295459E}" dt="2021-07-06T05:32:21.329" v="6995" actId="14100"/>
          <ac:spMkLst>
            <pc:docMk/>
            <pc:sldMk cId="1252826214" sldId="1711"/>
            <ac:spMk id="39" creationId="{BDA9DBF3-656C-4C64-8120-5BCE657C516A}"/>
          </ac:spMkLst>
        </pc:spChg>
        <pc:spChg chg="mod">
          <ac:chgData name="Aurelien Domont" userId="6da7715ce44349b3" providerId="LiveId" clId="{AFF9B0D5-CA7D-40FB-964A-23276295459E}" dt="2021-07-06T05:27:19.743" v="6972" actId="108"/>
          <ac:spMkLst>
            <pc:docMk/>
            <pc:sldMk cId="1252826214" sldId="1711"/>
            <ac:spMk id="40" creationId="{573A5304-C348-4211-8C8D-05DBFC25C98C}"/>
          </ac:spMkLst>
        </pc:spChg>
        <pc:spChg chg="del">
          <ac:chgData name="Aurelien Domont" userId="6da7715ce44349b3" providerId="LiveId" clId="{AFF9B0D5-CA7D-40FB-964A-23276295459E}" dt="2021-07-06T05:17:45.622" v="6723" actId="478"/>
          <ac:spMkLst>
            <pc:docMk/>
            <pc:sldMk cId="1252826214" sldId="1711"/>
            <ac:spMk id="41" creationId="{93A28468-1D3A-41AA-A2BE-DB66EFC3CD98}"/>
          </ac:spMkLst>
        </pc:spChg>
        <pc:spChg chg="del">
          <ac:chgData name="Aurelien Domont" userId="6da7715ce44349b3" providerId="LiveId" clId="{AFF9B0D5-CA7D-40FB-964A-23276295459E}" dt="2021-07-06T05:17:40.607" v="6721" actId="478"/>
          <ac:spMkLst>
            <pc:docMk/>
            <pc:sldMk cId="1252826214" sldId="1711"/>
            <ac:spMk id="42" creationId="{C8F1F745-3329-4D1C-8C1D-2697F60182DB}"/>
          </ac:spMkLst>
        </pc:spChg>
        <pc:spChg chg="del">
          <ac:chgData name="Aurelien Domont" userId="6da7715ce44349b3" providerId="LiveId" clId="{AFF9B0D5-CA7D-40FB-964A-23276295459E}" dt="2021-07-06T05:17:40.607" v="6721" actId="478"/>
          <ac:spMkLst>
            <pc:docMk/>
            <pc:sldMk cId="1252826214" sldId="1711"/>
            <ac:spMk id="43" creationId="{CD6F8BD1-6E73-4D05-BCCD-9EB6F16B6E67}"/>
          </ac:spMkLst>
        </pc:spChg>
        <pc:spChg chg="del">
          <ac:chgData name="Aurelien Domont" userId="6da7715ce44349b3" providerId="LiveId" clId="{AFF9B0D5-CA7D-40FB-964A-23276295459E}" dt="2021-07-06T05:17:40.607" v="6721" actId="478"/>
          <ac:spMkLst>
            <pc:docMk/>
            <pc:sldMk cId="1252826214" sldId="1711"/>
            <ac:spMk id="44" creationId="{C2847E84-7377-4C55-9551-93BFBF6FEAA8}"/>
          </ac:spMkLst>
        </pc:spChg>
        <pc:spChg chg="del">
          <ac:chgData name="Aurelien Domont" userId="6da7715ce44349b3" providerId="LiveId" clId="{AFF9B0D5-CA7D-40FB-964A-23276295459E}" dt="2021-07-06T05:17:40.607" v="6721" actId="478"/>
          <ac:spMkLst>
            <pc:docMk/>
            <pc:sldMk cId="1252826214" sldId="1711"/>
            <ac:spMk id="45" creationId="{A5500D33-EA9D-48E4-9733-714824AB5451}"/>
          </ac:spMkLst>
        </pc:spChg>
        <pc:spChg chg="mod topLvl">
          <ac:chgData name="Aurelien Domont" userId="6da7715ce44349b3" providerId="LiveId" clId="{AFF9B0D5-CA7D-40FB-964A-23276295459E}" dt="2021-07-06T05:11:34.229" v="6642" actId="1036"/>
          <ac:spMkLst>
            <pc:docMk/>
            <pc:sldMk cId="1252826214" sldId="1711"/>
            <ac:spMk id="49" creationId="{98BBAC1A-48C3-457C-83C0-ADBB10236A62}"/>
          </ac:spMkLst>
        </pc:spChg>
        <pc:spChg chg="mod topLvl">
          <ac:chgData name="Aurelien Domont" userId="6da7715ce44349b3" providerId="LiveId" clId="{AFF9B0D5-CA7D-40FB-964A-23276295459E}" dt="2021-07-06T05:11:34.229" v="6642" actId="1036"/>
          <ac:spMkLst>
            <pc:docMk/>
            <pc:sldMk cId="1252826214" sldId="1711"/>
            <ac:spMk id="51" creationId="{9A288DA3-6576-4034-9768-3D54DD56A2F8}"/>
          </ac:spMkLst>
        </pc:spChg>
        <pc:spChg chg="mod topLvl">
          <ac:chgData name="Aurelien Domont" userId="6da7715ce44349b3" providerId="LiveId" clId="{AFF9B0D5-CA7D-40FB-964A-23276295459E}" dt="2021-07-06T05:11:34.229" v="6642" actId="1036"/>
          <ac:spMkLst>
            <pc:docMk/>
            <pc:sldMk cId="1252826214" sldId="1711"/>
            <ac:spMk id="52" creationId="{2C0ABCF5-75CC-4F90-A550-A281E4369D32}"/>
          </ac:spMkLst>
        </pc:spChg>
        <pc:spChg chg="mod topLvl">
          <ac:chgData name="Aurelien Domont" userId="6da7715ce44349b3" providerId="LiveId" clId="{AFF9B0D5-CA7D-40FB-964A-23276295459E}" dt="2021-07-06T05:11:34.229" v="6642" actId="1036"/>
          <ac:spMkLst>
            <pc:docMk/>
            <pc:sldMk cId="1252826214" sldId="1711"/>
            <ac:spMk id="53" creationId="{A35E12DA-6263-428E-ACD5-29E12DA389BF}"/>
          </ac:spMkLst>
        </pc:spChg>
        <pc:spChg chg="mod topLvl">
          <ac:chgData name="Aurelien Domont" userId="6da7715ce44349b3" providerId="LiveId" clId="{AFF9B0D5-CA7D-40FB-964A-23276295459E}" dt="2021-07-06T05:11:34.229" v="6642" actId="1036"/>
          <ac:spMkLst>
            <pc:docMk/>
            <pc:sldMk cId="1252826214" sldId="1711"/>
            <ac:spMk id="54" creationId="{CAAD048A-B585-48D8-9EFF-61437A944C8C}"/>
          </ac:spMkLst>
        </pc:spChg>
        <pc:spChg chg="mod topLvl">
          <ac:chgData name="Aurelien Domont" userId="6da7715ce44349b3" providerId="LiveId" clId="{AFF9B0D5-CA7D-40FB-964A-23276295459E}" dt="2021-07-06T05:11:34.229" v="6642" actId="1036"/>
          <ac:spMkLst>
            <pc:docMk/>
            <pc:sldMk cId="1252826214" sldId="1711"/>
            <ac:spMk id="55" creationId="{1C35F4BA-69DA-4CED-8ABA-DCEFCBF67578}"/>
          </ac:spMkLst>
        </pc:spChg>
        <pc:spChg chg="mod topLvl">
          <ac:chgData name="Aurelien Domont" userId="6da7715ce44349b3" providerId="LiveId" clId="{AFF9B0D5-CA7D-40FB-964A-23276295459E}" dt="2021-07-06T05:11:34.229" v="6642" actId="1036"/>
          <ac:spMkLst>
            <pc:docMk/>
            <pc:sldMk cId="1252826214" sldId="1711"/>
            <ac:spMk id="56" creationId="{32D9D994-5044-4621-9BA8-ADC26A400533}"/>
          </ac:spMkLst>
        </pc:spChg>
        <pc:spChg chg="mod topLvl">
          <ac:chgData name="Aurelien Domont" userId="6da7715ce44349b3" providerId="LiveId" clId="{AFF9B0D5-CA7D-40FB-964A-23276295459E}" dt="2021-07-06T05:11:34.229" v="6642" actId="1036"/>
          <ac:spMkLst>
            <pc:docMk/>
            <pc:sldMk cId="1252826214" sldId="1711"/>
            <ac:spMk id="58" creationId="{F68A2200-BED7-4D8E-9475-717F0757443E}"/>
          </ac:spMkLst>
        </pc:spChg>
        <pc:spChg chg="mod topLvl">
          <ac:chgData name="Aurelien Domont" userId="6da7715ce44349b3" providerId="LiveId" clId="{AFF9B0D5-CA7D-40FB-964A-23276295459E}" dt="2021-07-06T05:11:34.229" v="6642" actId="1036"/>
          <ac:spMkLst>
            <pc:docMk/>
            <pc:sldMk cId="1252826214" sldId="1711"/>
            <ac:spMk id="59" creationId="{B3613336-86C9-401F-B78E-9D46A34B7C80}"/>
          </ac:spMkLst>
        </pc:spChg>
        <pc:spChg chg="mod topLvl">
          <ac:chgData name="Aurelien Domont" userId="6da7715ce44349b3" providerId="LiveId" clId="{AFF9B0D5-CA7D-40FB-964A-23276295459E}" dt="2021-07-06T05:11:34.229" v="6642" actId="1036"/>
          <ac:spMkLst>
            <pc:docMk/>
            <pc:sldMk cId="1252826214" sldId="1711"/>
            <ac:spMk id="60" creationId="{B85D8F1C-56D7-4360-927B-5B7067E9BFF5}"/>
          </ac:spMkLst>
        </pc:spChg>
        <pc:spChg chg="mod topLvl">
          <ac:chgData name="Aurelien Domont" userId="6da7715ce44349b3" providerId="LiveId" clId="{AFF9B0D5-CA7D-40FB-964A-23276295459E}" dt="2021-07-06T05:11:34.229" v="6642" actId="1036"/>
          <ac:spMkLst>
            <pc:docMk/>
            <pc:sldMk cId="1252826214" sldId="1711"/>
            <ac:spMk id="62" creationId="{72EBD9EE-39F0-4737-B62A-C4E42C1C0F95}"/>
          </ac:spMkLst>
        </pc:spChg>
        <pc:spChg chg="mod topLvl">
          <ac:chgData name="Aurelien Domont" userId="6da7715ce44349b3" providerId="LiveId" clId="{AFF9B0D5-CA7D-40FB-964A-23276295459E}" dt="2021-07-06T05:11:34.229" v="6642" actId="1036"/>
          <ac:spMkLst>
            <pc:docMk/>
            <pc:sldMk cId="1252826214" sldId="1711"/>
            <ac:spMk id="63" creationId="{6A1D4621-CB0F-4600-999E-383FB5B7772B}"/>
          </ac:spMkLst>
        </pc:spChg>
        <pc:spChg chg="mod topLvl">
          <ac:chgData name="Aurelien Domont" userId="6da7715ce44349b3" providerId="LiveId" clId="{AFF9B0D5-CA7D-40FB-964A-23276295459E}" dt="2021-07-06T05:11:34.229" v="6642" actId="1036"/>
          <ac:spMkLst>
            <pc:docMk/>
            <pc:sldMk cId="1252826214" sldId="1711"/>
            <ac:spMk id="64" creationId="{45496A84-1710-4A3D-B2FE-F670417245AD}"/>
          </ac:spMkLst>
        </pc:spChg>
        <pc:spChg chg="mod topLvl">
          <ac:chgData name="Aurelien Domont" userId="6da7715ce44349b3" providerId="LiveId" clId="{AFF9B0D5-CA7D-40FB-964A-23276295459E}" dt="2021-07-06T05:11:34.229" v="6642" actId="1036"/>
          <ac:spMkLst>
            <pc:docMk/>
            <pc:sldMk cId="1252826214" sldId="1711"/>
            <ac:spMk id="66" creationId="{90B134E2-230D-4E83-9B2B-2B5C0A7635AE}"/>
          </ac:spMkLst>
        </pc:spChg>
        <pc:spChg chg="mod topLvl">
          <ac:chgData name="Aurelien Domont" userId="6da7715ce44349b3" providerId="LiveId" clId="{AFF9B0D5-CA7D-40FB-964A-23276295459E}" dt="2021-07-06T05:11:34.229" v="6642" actId="1036"/>
          <ac:spMkLst>
            <pc:docMk/>
            <pc:sldMk cId="1252826214" sldId="1711"/>
            <ac:spMk id="67" creationId="{42F516B0-83CB-401D-9D4F-5EFC00BB80FF}"/>
          </ac:spMkLst>
        </pc:spChg>
        <pc:spChg chg="mod topLvl">
          <ac:chgData name="Aurelien Domont" userId="6da7715ce44349b3" providerId="LiveId" clId="{AFF9B0D5-CA7D-40FB-964A-23276295459E}" dt="2021-07-06T05:11:34.229" v="6642" actId="1036"/>
          <ac:spMkLst>
            <pc:docMk/>
            <pc:sldMk cId="1252826214" sldId="1711"/>
            <ac:spMk id="68" creationId="{AEDBB3BA-B9B5-4529-80D6-07A47E3580D4}"/>
          </ac:spMkLst>
        </pc:spChg>
        <pc:spChg chg="mod topLvl">
          <ac:chgData name="Aurelien Domont" userId="6da7715ce44349b3" providerId="LiveId" clId="{AFF9B0D5-CA7D-40FB-964A-23276295459E}" dt="2021-07-06T05:11:34.229" v="6642" actId="1036"/>
          <ac:spMkLst>
            <pc:docMk/>
            <pc:sldMk cId="1252826214" sldId="1711"/>
            <ac:spMk id="69" creationId="{103CE0F2-1959-4FB4-9DEB-710314E74D8F}"/>
          </ac:spMkLst>
        </pc:spChg>
        <pc:spChg chg="mod topLvl">
          <ac:chgData name="Aurelien Domont" userId="6da7715ce44349b3" providerId="LiveId" clId="{AFF9B0D5-CA7D-40FB-964A-23276295459E}" dt="2021-07-06T05:11:34.229" v="6642" actId="1036"/>
          <ac:spMkLst>
            <pc:docMk/>
            <pc:sldMk cId="1252826214" sldId="1711"/>
            <ac:spMk id="70" creationId="{4F08ECD2-B0A3-418F-849F-235D1C7B0112}"/>
          </ac:spMkLst>
        </pc:spChg>
        <pc:spChg chg="mod topLvl">
          <ac:chgData name="Aurelien Domont" userId="6da7715ce44349b3" providerId="LiveId" clId="{AFF9B0D5-CA7D-40FB-964A-23276295459E}" dt="2021-07-06T05:11:34.229" v="6642" actId="1036"/>
          <ac:spMkLst>
            <pc:docMk/>
            <pc:sldMk cId="1252826214" sldId="1711"/>
            <ac:spMk id="71" creationId="{5E649382-9C23-4795-BBF9-46D64A38F33F}"/>
          </ac:spMkLst>
        </pc:spChg>
        <pc:spChg chg="mod topLvl">
          <ac:chgData name="Aurelien Domont" userId="6da7715ce44349b3" providerId="LiveId" clId="{AFF9B0D5-CA7D-40FB-964A-23276295459E}" dt="2021-07-06T05:11:34.229" v="6642" actId="1036"/>
          <ac:spMkLst>
            <pc:docMk/>
            <pc:sldMk cId="1252826214" sldId="1711"/>
            <ac:spMk id="73" creationId="{98ADAE93-D5E4-4A59-9C44-F3321359FCDF}"/>
          </ac:spMkLst>
        </pc:spChg>
        <pc:spChg chg="mod topLvl">
          <ac:chgData name="Aurelien Domont" userId="6da7715ce44349b3" providerId="LiveId" clId="{AFF9B0D5-CA7D-40FB-964A-23276295459E}" dt="2021-07-06T05:11:34.229" v="6642" actId="1036"/>
          <ac:spMkLst>
            <pc:docMk/>
            <pc:sldMk cId="1252826214" sldId="1711"/>
            <ac:spMk id="76" creationId="{EF511045-E73B-4CFF-885B-23ECD1E8C178}"/>
          </ac:spMkLst>
        </pc:spChg>
        <pc:spChg chg="mod topLvl">
          <ac:chgData name="Aurelien Domont" userId="6da7715ce44349b3" providerId="LiveId" clId="{AFF9B0D5-CA7D-40FB-964A-23276295459E}" dt="2021-07-06T05:11:34.229" v="6642" actId="1036"/>
          <ac:spMkLst>
            <pc:docMk/>
            <pc:sldMk cId="1252826214" sldId="1711"/>
            <ac:spMk id="77" creationId="{BF50E8F5-4960-4CF4-8383-AF42F855C8F0}"/>
          </ac:spMkLst>
        </pc:spChg>
        <pc:spChg chg="mod topLvl">
          <ac:chgData name="Aurelien Domont" userId="6da7715ce44349b3" providerId="LiveId" clId="{AFF9B0D5-CA7D-40FB-964A-23276295459E}" dt="2021-07-06T05:11:34.229" v="6642" actId="1036"/>
          <ac:spMkLst>
            <pc:docMk/>
            <pc:sldMk cId="1252826214" sldId="1711"/>
            <ac:spMk id="78" creationId="{EA39EB43-A228-4F10-9D52-7DCE445E0176}"/>
          </ac:spMkLst>
        </pc:spChg>
        <pc:spChg chg="mod topLvl">
          <ac:chgData name="Aurelien Domont" userId="6da7715ce44349b3" providerId="LiveId" clId="{AFF9B0D5-CA7D-40FB-964A-23276295459E}" dt="2021-07-06T05:11:34.229" v="6642" actId="1036"/>
          <ac:spMkLst>
            <pc:docMk/>
            <pc:sldMk cId="1252826214" sldId="1711"/>
            <ac:spMk id="79" creationId="{95BF0EB2-490C-4E4C-983D-DB8C80733A18}"/>
          </ac:spMkLst>
        </pc:spChg>
        <pc:spChg chg="mod topLvl">
          <ac:chgData name="Aurelien Domont" userId="6da7715ce44349b3" providerId="LiveId" clId="{AFF9B0D5-CA7D-40FB-964A-23276295459E}" dt="2021-07-06T05:11:34.229" v="6642" actId="1036"/>
          <ac:spMkLst>
            <pc:docMk/>
            <pc:sldMk cId="1252826214" sldId="1711"/>
            <ac:spMk id="80" creationId="{407A864B-2946-4460-8D74-618B9CA860C4}"/>
          </ac:spMkLst>
        </pc:spChg>
        <pc:spChg chg="mod topLvl">
          <ac:chgData name="Aurelien Domont" userId="6da7715ce44349b3" providerId="LiveId" clId="{AFF9B0D5-CA7D-40FB-964A-23276295459E}" dt="2021-07-06T05:11:34.229" v="6642" actId="1036"/>
          <ac:spMkLst>
            <pc:docMk/>
            <pc:sldMk cId="1252826214" sldId="1711"/>
            <ac:spMk id="81" creationId="{ADA77C41-C517-4C6A-92B8-8C800F9BABEE}"/>
          </ac:spMkLst>
        </pc:spChg>
        <pc:spChg chg="mod topLvl">
          <ac:chgData name="Aurelien Domont" userId="6da7715ce44349b3" providerId="LiveId" clId="{AFF9B0D5-CA7D-40FB-964A-23276295459E}" dt="2021-07-06T05:11:34.229" v="6642" actId="1036"/>
          <ac:spMkLst>
            <pc:docMk/>
            <pc:sldMk cId="1252826214" sldId="1711"/>
            <ac:spMk id="82" creationId="{FD1F4F0E-11F9-489B-AEEE-DCA1015253E2}"/>
          </ac:spMkLst>
        </pc:spChg>
        <pc:spChg chg="mod topLvl">
          <ac:chgData name="Aurelien Domont" userId="6da7715ce44349b3" providerId="LiveId" clId="{AFF9B0D5-CA7D-40FB-964A-23276295459E}" dt="2021-07-06T05:11:34.229" v="6642" actId="1036"/>
          <ac:spMkLst>
            <pc:docMk/>
            <pc:sldMk cId="1252826214" sldId="1711"/>
            <ac:spMk id="83" creationId="{691F974D-6BEA-413E-AFE8-2F8F695C9D1F}"/>
          </ac:spMkLst>
        </pc:spChg>
        <pc:spChg chg="mod topLvl">
          <ac:chgData name="Aurelien Domont" userId="6da7715ce44349b3" providerId="LiveId" clId="{AFF9B0D5-CA7D-40FB-964A-23276295459E}" dt="2021-07-06T05:11:34.229" v="6642" actId="1036"/>
          <ac:spMkLst>
            <pc:docMk/>
            <pc:sldMk cId="1252826214" sldId="1711"/>
            <ac:spMk id="84" creationId="{9A782A32-53DB-445E-8E52-7A8689503316}"/>
          </ac:spMkLst>
        </pc:spChg>
        <pc:spChg chg="mod topLvl">
          <ac:chgData name="Aurelien Domont" userId="6da7715ce44349b3" providerId="LiveId" clId="{AFF9B0D5-CA7D-40FB-964A-23276295459E}" dt="2021-07-06T05:11:34.229" v="6642" actId="1036"/>
          <ac:spMkLst>
            <pc:docMk/>
            <pc:sldMk cId="1252826214" sldId="1711"/>
            <ac:spMk id="85" creationId="{89889F1F-F5A9-4CDA-9661-2DABF92F0C98}"/>
          </ac:spMkLst>
        </pc:spChg>
        <pc:spChg chg="mod topLvl">
          <ac:chgData name="Aurelien Domont" userId="6da7715ce44349b3" providerId="LiveId" clId="{AFF9B0D5-CA7D-40FB-964A-23276295459E}" dt="2021-07-06T05:11:34.229" v="6642" actId="1036"/>
          <ac:spMkLst>
            <pc:docMk/>
            <pc:sldMk cId="1252826214" sldId="1711"/>
            <ac:spMk id="86" creationId="{4AB652D7-26CE-4535-9304-FA5D0E7D6FEE}"/>
          </ac:spMkLst>
        </pc:spChg>
        <pc:spChg chg="mod topLvl">
          <ac:chgData name="Aurelien Domont" userId="6da7715ce44349b3" providerId="LiveId" clId="{AFF9B0D5-CA7D-40FB-964A-23276295459E}" dt="2021-07-06T05:11:34.229" v="6642" actId="1036"/>
          <ac:spMkLst>
            <pc:docMk/>
            <pc:sldMk cId="1252826214" sldId="1711"/>
            <ac:spMk id="87" creationId="{5394BAFA-E989-4A31-B6CE-E7B95647C880}"/>
          </ac:spMkLst>
        </pc:spChg>
        <pc:spChg chg="mod topLvl">
          <ac:chgData name="Aurelien Domont" userId="6da7715ce44349b3" providerId="LiveId" clId="{AFF9B0D5-CA7D-40FB-964A-23276295459E}" dt="2021-07-06T05:11:34.229" v="6642" actId="1036"/>
          <ac:spMkLst>
            <pc:docMk/>
            <pc:sldMk cId="1252826214" sldId="1711"/>
            <ac:spMk id="88" creationId="{CC2CD2E4-CCD1-47BB-A4BE-E08B6EE05F8A}"/>
          </ac:spMkLst>
        </pc:spChg>
        <pc:spChg chg="mod topLvl">
          <ac:chgData name="Aurelien Domont" userId="6da7715ce44349b3" providerId="LiveId" clId="{AFF9B0D5-CA7D-40FB-964A-23276295459E}" dt="2021-07-06T05:11:34.229" v="6642" actId="1036"/>
          <ac:spMkLst>
            <pc:docMk/>
            <pc:sldMk cId="1252826214" sldId="1711"/>
            <ac:spMk id="89" creationId="{FA39D6F1-3E4E-4C18-8AA5-C6DEADB50CF5}"/>
          </ac:spMkLst>
        </pc:spChg>
        <pc:spChg chg="mod topLvl">
          <ac:chgData name="Aurelien Domont" userId="6da7715ce44349b3" providerId="LiveId" clId="{AFF9B0D5-CA7D-40FB-964A-23276295459E}" dt="2021-07-06T05:11:34.229" v="6642" actId="1036"/>
          <ac:spMkLst>
            <pc:docMk/>
            <pc:sldMk cId="1252826214" sldId="1711"/>
            <ac:spMk id="91" creationId="{D28CFB18-6653-431F-B2ED-C546617D22A4}"/>
          </ac:spMkLst>
        </pc:spChg>
        <pc:spChg chg="mod topLvl">
          <ac:chgData name="Aurelien Domont" userId="6da7715ce44349b3" providerId="LiveId" clId="{AFF9B0D5-CA7D-40FB-964A-23276295459E}" dt="2021-07-06T05:11:34.229" v="6642" actId="1036"/>
          <ac:spMkLst>
            <pc:docMk/>
            <pc:sldMk cId="1252826214" sldId="1711"/>
            <ac:spMk id="92" creationId="{9FCD6F56-B8C1-4FC0-863D-8E71A8CB23AB}"/>
          </ac:spMkLst>
        </pc:spChg>
        <pc:spChg chg="mod topLvl">
          <ac:chgData name="Aurelien Domont" userId="6da7715ce44349b3" providerId="LiveId" clId="{AFF9B0D5-CA7D-40FB-964A-23276295459E}" dt="2021-07-06T05:11:34.229" v="6642" actId="1036"/>
          <ac:spMkLst>
            <pc:docMk/>
            <pc:sldMk cId="1252826214" sldId="1711"/>
            <ac:spMk id="93" creationId="{29F54C2A-36D0-421A-9230-E5196D9A16CB}"/>
          </ac:spMkLst>
        </pc:spChg>
        <pc:spChg chg="mod topLvl">
          <ac:chgData name="Aurelien Domont" userId="6da7715ce44349b3" providerId="LiveId" clId="{AFF9B0D5-CA7D-40FB-964A-23276295459E}" dt="2021-07-06T05:11:34.229" v="6642" actId="1036"/>
          <ac:spMkLst>
            <pc:docMk/>
            <pc:sldMk cId="1252826214" sldId="1711"/>
            <ac:spMk id="94" creationId="{C0445C87-6890-4F17-8D40-1619FBDB78C2}"/>
          </ac:spMkLst>
        </pc:spChg>
        <pc:spChg chg="mod topLvl">
          <ac:chgData name="Aurelien Domont" userId="6da7715ce44349b3" providerId="LiveId" clId="{AFF9B0D5-CA7D-40FB-964A-23276295459E}" dt="2021-07-06T05:11:34.229" v="6642" actId="1036"/>
          <ac:spMkLst>
            <pc:docMk/>
            <pc:sldMk cId="1252826214" sldId="1711"/>
            <ac:spMk id="95" creationId="{1F6DB845-3BA5-4D76-BC5C-6C9E21073F43}"/>
          </ac:spMkLst>
        </pc:spChg>
        <pc:spChg chg="mod topLvl">
          <ac:chgData name="Aurelien Domont" userId="6da7715ce44349b3" providerId="LiveId" clId="{AFF9B0D5-CA7D-40FB-964A-23276295459E}" dt="2021-07-06T05:11:34.229" v="6642" actId="1036"/>
          <ac:spMkLst>
            <pc:docMk/>
            <pc:sldMk cId="1252826214" sldId="1711"/>
            <ac:spMk id="96" creationId="{C5C31C86-8CBA-4C46-B3DE-65A8CCD3267C}"/>
          </ac:spMkLst>
        </pc:spChg>
        <pc:spChg chg="mod topLvl">
          <ac:chgData name="Aurelien Domont" userId="6da7715ce44349b3" providerId="LiveId" clId="{AFF9B0D5-CA7D-40FB-964A-23276295459E}" dt="2021-07-06T05:11:34.229" v="6642" actId="1036"/>
          <ac:spMkLst>
            <pc:docMk/>
            <pc:sldMk cId="1252826214" sldId="1711"/>
            <ac:spMk id="97" creationId="{CE67ACDE-6CFE-4F6E-ADB6-E5D8AF8B1F9B}"/>
          </ac:spMkLst>
        </pc:spChg>
        <pc:spChg chg="mod topLvl">
          <ac:chgData name="Aurelien Domont" userId="6da7715ce44349b3" providerId="LiveId" clId="{AFF9B0D5-CA7D-40FB-964A-23276295459E}" dt="2021-07-06T05:11:34.229" v="6642" actId="1036"/>
          <ac:spMkLst>
            <pc:docMk/>
            <pc:sldMk cId="1252826214" sldId="1711"/>
            <ac:spMk id="98" creationId="{CB872E09-31AF-4938-9583-886CE3BA7AD3}"/>
          </ac:spMkLst>
        </pc:spChg>
        <pc:spChg chg="mod topLvl">
          <ac:chgData name="Aurelien Domont" userId="6da7715ce44349b3" providerId="LiveId" clId="{AFF9B0D5-CA7D-40FB-964A-23276295459E}" dt="2021-07-06T05:11:34.229" v="6642" actId="1036"/>
          <ac:spMkLst>
            <pc:docMk/>
            <pc:sldMk cId="1252826214" sldId="1711"/>
            <ac:spMk id="99" creationId="{B0DCB1F1-0801-4DD1-9DC9-1D72512FF5DE}"/>
          </ac:spMkLst>
        </pc:spChg>
        <pc:spChg chg="mod topLvl">
          <ac:chgData name="Aurelien Domont" userId="6da7715ce44349b3" providerId="LiveId" clId="{AFF9B0D5-CA7D-40FB-964A-23276295459E}" dt="2021-07-06T05:11:34.229" v="6642" actId="1036"/>
          <ac:spMkLst>
            <pc:docMk/>
            <pc:sldMk cId="1252826214" sldId="1711"/>
            <ac:spMk id="100" creationId="{7506D3EC-7627-4E29-8992-84797B05FEAB}"/>
          </ac:spMkLst>
        </pc:spChg>
        <pc:spChg chg="mod topLvl">
          <ac:chgData name="Aurelien Domont" userId="6da7715ce44349b3" providerId="LiveId" clId="{AFF9B0D5-CA7D-40FB-964A-23276295459E}" dt="2021-07-06T05:11:34.229" v="6642" actId="1036"/>
          <ac:spMkLst>
            <pc:docMk/>
            <pc:sldMk cId="1252826214" sldId="1711"/>
            <ac:spMk id="101" creationId="{4F79DD9B-4316-48D9-B0AD-A65A6A07FBE4}"/>
          </ac:spMkLst>
        </pc:spChg>
        <pc:spChg chg="mod topLvl">
          <ac:chgData name="Aurelien Domont" userId="6da7715ce44349b3" providerId="LiveId" clId="{AFF9B0D5-CA7D-40FB-964A-23276295459E}" dt="2021-07-06T05:11:34.229" v="6642" actId="1036"/>
          <ac:spMkLst>
            <pc:docMk/>
            <pc:sldMk cId="1252826214" sldId="1711"/>
            <ac:spMk id="102" creationId="{F7E30A9B-D06A-4314-A309-7CCC67FD7969}"/>
          </ac:spMkLst>
        </pc:spChg>
        <pc:spChg chg="mod topLvl">
          <ac:chgData name="Aurelien Domont" userId="6da7715ce44349b3" providerId="LiveId" clId="{AFF9B0D5-CA7D-40FB-964A-23276295459E}" dt="2021-07-06T05:11:34.229" v="6642" actId="1036"/>
          <ac:spMkLst>
            <pc:docMk/>
            <pc:sldMk cId="1252826214" sldId="1711"/>
            <ac:spMk id="103" creationId="{55AC66FC-1912-4FA6-9D9B-62AA0870F6A1}"/>
          </ac:spMkLst>
        </pc:spChg>
        <pc:spChg chg="mod topLvl">
          <ac:chgData name="Aurelien Domont" userId="6da7715ce44349b3" providerId="LiveId" clId="{AFF9B0D5-CA7D-40FB-964A-23276295459E}" dt="2021-07-06T05:11:34.229" v="6642" actId="1036"/>
          <ac:spMkLst>
            <pc:docMk/>
            <pc:sldMk cId="1252826214" sldId="1711"/>
            <ac:spMk id="104" creationId="{1EF74135-38F5-4B5B-8767-B58DF6090E96}"/>
          </ac:spMkLst>
        </pc:spChg>
        <pc:spChg chg="mod topLvl">
          <ac:chgData name="Aurelien Domont" userId="6da7715ce44349b3" providerId="LiveId" clId="{AFF9B0D5-CA7D-40FB-964A-23276295459E}" dt="2021-07-06T05:11:34.229" v="6642" actId="1036"/>
          <ac:spMkLst>
            <pc:docMk/>
            <pc:sldMk cId="1252826214" sldId="1711"/>
            <ac:spMk id="105" creationId="{E3D9AEA2-B142-4632-B159-C828C0E799D8}"/>
          </ac:spMkLst>
        </pc:spChg>
        <pc:spChg chg="mod topLvl">
          <ac:chgData name="Aurelien Domont" userId="6da7715ce44349b3" providerId="LiveId" clId="{AFF9B0D5-CA7D-40FB-964A-23276295459E}" dt="2021-07-06T05:11:34.229" v="6642" actId="1036"/>
          <ac:spMkLst>
            <pc:docMk/>
            <pc:sldMk cId="1252826214" sldId="1711"/>
            <ac:spMk id="106" creationId="{73C311A6-1A4D-4EBA-83CA-E3FF3F35E0FB}"/>
          </ac:spMkLst>
        </pc:spChg>
        <pc:spChg chg="mod topLvl">
          <ac:chgData name="Aurelien Domont" userId="6da7715ce44349b3" providerId="LiveId" clId="{AFF9B0D5-CA7D-40FB-964A-23276295459E}" dt="2021-07-06T05:11:34.229" v="6642" actId="1036"/>
          <ac:spMkLst>
            <pc:docMk/>
            <pc:sldMk cId="1252826214" sldId="1711"/>
            <ac:spMk id="107" creationId="{02B694A8-55D5-4A2E-9316-39E66FF089F8}"/>
          </ac:spMkLst>
        </pc:spChg>
        <pc:spChg chg="mod topLvl">
          <ac:chgData name="Aurelien Domont" userId="6da7715ce44349b3" providerId="LiveId" clId="{AFF9B0D5-CA7D-40FB-964A-23276295459E}" dt="2021-07-06T05:11:34.229" v="6642" actId="1036"/>
          <ac:spMkLst>
            <pc:docMk/>
            <pc:sldMk cId="1252826214" sldId="1711"/>
            <ac:spMk id="108" creationId="{809A775B-E5D4-4867-B09A-C8A781646D77}"/>
          </ac:spMkLst>
        </pc:spChg>
        <pc:spChg chg="mod topLvl">
          <ac:chgData name="Aurelien Domont" userId="6da7715ce44349b3" providerId="LiveId" clId="{AFF9B0D5-CA7D-40FB-964A-23276295459E}" dt="2021-07-06T05:11:34.229" v="6642" actId="1036"/>
          <ac:spMkLst>
            <pc:docMk/>
            <pc:sldMk cId="1252826214" sldId="1711"/>
            <ac:spMk id="109" creationId="{E5978EA7-ED59-430A-936F-7AAC511D80FB}"/>
          </ac:spMkLst>
        </pc:spChg>
        <pc:spChg chg="mod topLvl">
          <ac:chgData name="Aurelien Domont" userId="6da7715ce44349b3" providerId="LiveId" clId="{AFF9B0D5-CA7D-40FB-964A-23276295459E}" dt="2021-07-06T05:11:34.229" v="6642" actId="1036"/>
          <ac:spMkLst>
            <pc:docMk/>
            <pc:sldMk cId="1252826214" sldId="1711"/>
            <ac:spMk id="110" creationId="{A7719609-0A29-44D8-B66E-E402A76F776A}"/>
          </ac:spMkLst>
        </pc:spChg>
        <pc:spChg chg="mod topLvl">
          <ac:chgData name="Aurelien Domont" userId="6da7715ce44349b3" providerId="LiveId" clId="{AFF9B0D5-CA7D-40FB-964A-23276295459E}" dt="2021-07-06T05:11:34.229" v="6642" actId="1036"/>
          <ac:spMkLst>
            <pc:docMk/>
            <pc:sldMk cId="1252826214" sldId="1711"/>
            <ac:spMk id="111" creationId="{AE2EB892-083B-4926-A4AF-A6476C2E6D93}"/>
          </ac:spMkLst>
        </pc:spChg>
        <pc:spChg chg="mod topLvl">
          <ac:chgData name="Aurelien Domont" userId="6da7715ce44349b3" providerId="LiveId" clId="{AFF9B0D5-CA7D-40FB-964A-23276295459E}" dt="2021-07-06T05:11:34.229" v="6642" actId="1036"/>
          <ac:spMkLst>
            <pc:docMk/>
            <pc:sldMk cId="1252826214" sldId="1711"/>
            <ac:spMk id="112" creationId="{E06CD000-F4B9-4678-8D0F-0F22AD97FDB2}"/>
          </ac:spMkLst>
        </pc:spChg>
        <pc:spChg chg="mod topLvl">
          <ac:chgData name="Aurelien Domont" userId="6da7715ce44349b3" providerId="LiveId" clId="{AFF9B0D5-CA7D-40FB-964A-23276295459E}" dt="2021-07-06T05:11:34.229" v="6642" actId="1036"/>
          <ac:spMkLst>
            <pc:docMk/>
            <pc:sldMk cId="1252826214" sldId="1711"/>
            <ac:spMk id="113" creationId="{E43B555A-3022-4CDD-B5AC-2524555140D9}"/>
          </ac:spMkLst>
        </pc:spChg>
        <pc:spChg chg="mod topLvl">
          <ac:chgData name="Aurelien Domont" userId="6da7715ce44349b3" providerId="LiveId" clId="{AFF9B0D5-CA7D-40FB-964A-23276295459E}" dt="2021-07-06T05:11:34.229" v="6642" actId="1036"/>
          <ac:spMkLst>
            <pc:docMk/>
            <pc:sldMk cId="1252826214" sldId="1711"/>
            <ac:spMk id="114" creationId="{926AFD02-FCE4-4DC8-B6DD-C5839ECD5A46}"/>
          </ac:spMkLst>
        </pc:spChg>
        <pc:spChg chg="mod topLvl">
          <ac:chgData name="Aurelien Domont" userId="6da7715ce44349b3" providerId="LiveId" clId="{AFF9B0D5-CA7D-40FB-964A-23276295459E}" dt="2021-07-06T05:11:34.229" v="6642" actId="1036"/>
          <ac:spMkLst>
            <pc:docMk/>
            <pc:sldMk cId="1252826214" sldId="1711"/>
            <ac:spMk id="115" creationId="{6D5E84FF-0D77-4C0F-9A8C-8AC9C2395F79}"/>
          </ac:spMkLst>
        </pc:spChg>
        <pc:spChg chg="mod topLvl">
          <ac:chgData name="Aurelien Domont" userId="6da7715ce44349b3" providerId="LiveId" clId="{AFF9B0D5-CA7D-40FB-964A-23276295459E}" dt="2021-07-06T05:11:34.229" v="6642" actId="1036"/>
          <ac:spMkLst>
            <pc:docMk/>
            <pc:sldMk cId="1252826214" sldId="1711"/>
            <ac:spMk id="116" creationId="{D53E2190-2974-43B0-A06A-0D8F1220AE31}"/>
          </ac:spMkLst>
        </pc:spChg>
        <pc:spChg chg="mod topLvl">
          <ac:chgData name="Aurelien Domont" userId="6da7715ce44349b3" providerId="LiveId" clId="{AFF9B0D5-CA7D-40FB-964A-23276295459E}" dt="2021-07-06T05:11:34.229" v="6642" actId="1036"/>
          <ac:spMkLst>
            <pc:docMk/>
            <pc:sldMk cId="1252826214" sldId="1711"/>
            <ac:spMk id="117" creationId="{44ED2386-1DC3-4623-A6DA-1C996E2D987B}"/>
          </ac:spMkLst>
        </pc:spChg>
        <pc:spChg chg="mod topLvl">
          <ac:chgData name="Aurelien Domont" userId="6da7715ce44349b3" providerId="LiveId" clId="{AFF9B0D5-CA7D-40FB-964A-23276295459E}" dt="2021-07-06T05:11:34.229" v="6642" actId="1036"/>
          <ac:spMkLst>
            <pc:docMk/>
            <pc:sldMk cId="1252826214" sldId="1711"/>
            <ac:spMk id="118" creationId="{76BC809E-3675-4C34-9947-BCBD6C81CC3E}"/>
          </ac:spMkLst>
        </pc:spChg>
        <pc:spChg chg="mod topLvl">
          <ac:chgData name="Aurelien Domont" userId="6da7715ce44349b3" providerId="LiveId" clId="{AFF9B0D5-CA7D-40FB-964A-23276295459E}" dt="2021-07-06T05:11:34.229" v="6642" actId="1036"/>
          <ac:spMkLst>
            <pc:docMk/>
            <pc:sldMk cId="1252826214" sldId="1711"/>
            <ac:spMk id="119" creationId="{EB91065C-D149-407F-A0DD-DA4D4B39AA87}"/>
          </ac:spMkLst>
        </pc:spChg>
        <pc:spChg chg="mod topLvl">
          <ac:chgData name="Aurelien Domont" userId="6da7715ce44349b3" providerId="LiveId" clId="{AFF9B0D5-CA7D-40FB-964A-23276295459E}" dt="2021-07-06T05:11:34.229" v="6642" actId="1036"/>
          <ac:spMkLst>
            <pc:docMk/>
            <pc:sldMk cId="1252826214" sldId="1711"/>
            <ac:spMk id="120" creationId="{715873A8-606D-4F59-8F16-F318092F4BB8}"/>
          </ac:spMkLst>
        </pc:spChg>
        <pc:spChg chg="mod topLvl">
          <ac:chgData name="Aurelien Domont" userId="6da7715ce44349b3" providerId="LiveId" clId="{AFF9B0D5-CA7D-40FB-964A-23276295459E}" dt="2021-07-06T05:11:34.229" v="6642" actId="1036"/>
          <ac:spMkLst>
            <pc:docMk/>
            <pc:sldMk cId="1252826214" sldId="1711"/>
            <ac:spMk id="121" creationId="{A07C7D0C-846B-4236-BB14-43D756165867}"/>
          </ac:spMkLst>
        </pc:spChg>
        <pc:spChg chg="mod topLvl">
          <ac:chgData name="Aurelien Domont" userId="6da7715ce44349b3" providerId="LiveId" clId="{AFF9B0D5-CA7D-40FB-964A-23276295459E}" dt="2021-07-06T05:11:34.229" v="6642" actId="1036"/>
          <ac:spMkLst>
            <pc:docMk/>
            <pc:sldMk cId="1252826214" sldId="1711"/>
            <ac:spMk id="122" creationId="{B3A0DCF1-8E21-4CAD-AA10-1ED0A6683CFE}"/>
          </ac:spMkLst>
        </pc:spChg>
        <pc:spChg chg="mod topLvl">
          <ac:chgData name="Aurelien Domont" userId="6da7715ce44349b3" providerId="LiveId" clId="{AFF9B0D5-CA7D-40FB-964A-23276295459E}" dt="2021-07-06T05:11:34.229" v="6642" actId="1036"/>
          <ac:spMkLst>
            <pc:docMk/>
            <pc:sldMk cId="1252826214" sldId="1711"/>
            <ac:spMk id="123" creationId="{A3DD26C8-3E62-4801-9288-F886BA845551}"/>
          </ac:spMkLst>
        </pc:spChg>
        <pc:spChg chg="mod topLvl">
          <ac:chgData name="Aurelien Domont" userId="6da7715ce44349b3" providerId="LiveId" clId="{AFF9B0D5-CA7D-40FB-964A-23276295459E}" dt="2021-07-06T05:11:34.229" v="6642" actId="1036"/>
          <ac:spMkLst>
            <pc:docMk/>
            <pc:sldMk cId="1252826214" sldId="1711"/>
            <ac:spMk id="124" creationId="{638676B9-2514-4195-9A72-8F37B541FA0E}"/>
          </ac:spMkLst>
        </pc:spChg>
        <pc:spChg chg="mod topLvl">
          <ac:chgData name="Aurelien Domont" userId="6da7715ce44349b3" providerId="LiveId" clId="{AFF9B0D5-CA7D-40FB-964A-23276295459E}" dt="2021-07-06T05:11:34.229" v="6642" actId="1036"/>
          <ac:spMkLst>
            <pc:docMk/>
            <pc:sldMk cId="1252826214" sldId="1711"/>
            <ac:spMk id="125" creationId="{2874D011-86B6-4115-9010-5D873F9E1291}"/>
          </ac:spMkLst>
        </pc:spChg>
        <pc:spChg chg="mod topLvl">
          <ac:chgData name="Aurelien Domont" userId="6da7715ce44349b3" providerId="LiveId" clId="{AFF9B0D5-CA7D-40FB-964A-23276295459E}" dt="2021-07-06T05:11:34.229" v="6642" actId="1036"/>
          <ac:spMkLst>
            <pc:docMk/>
            <pc:sldMk cId="1252826214" sldId="1711"/>
            <ac:spMk id="126" creationId="{BC4F0A17-7082-4D6A-BCA4-A2FEB3B6763B}"/>
          </ac:spMkLst>
        </pc:spChg>
        <pc:spChg chg="mod topLvl">
          <ac:chgData name="Aurelien Domont" userId="6da7715ce44349b3" providerId="LiveId" clId="{AFF9B0D5-CA7D-40FB-964A-23276295459E}" dt="2021-07-06T05:11:34.229" v="6642" actId="1036"/>
          <ac:spMkLst>
            <pc:docMk/>
            <pc:sldMk cId="1252826214" sldId="1711"/>
            <ac:spMk id="127" creationId="{19664302-30E7-4D9B-8029-61C3CA584B30}"/>
          </ac:spMkLst>
        </pc:spChg>
        <pc:spChg chg="mod topLvl">
          <ac:chgData name="Aurelien Domont" userId="6da7715ce44349b3" providerId="LiveId" clId="{AFF9B0D5-CA7D-40FB-964A-23276295459E}" dt="2021-07-06T05:11:34.229" v="6642" actId="1036"/>
          <ac:spMkLst>
            <pc:docMk/>
            <pc:sldMk cId="1252826214" sldId="1711"/>
            <ac:spMk id="128" creationId="{2BF712B0-C7C2-42AE-B132-6C35AEB2CFB3}"/>
          </ac:spMkLst>
        </pc:spChg>
        <pc:spChg chg="mod topLvl">
          <ac:chgData name="Aurelien Domont" userId="6da7715ce44349b3" providerId="LiveId" clId="{AFF9B0D5-CA7D-40FB-964A-23276295459E}" dt="2021-07-06T05:11:34.229" v="6642" actId="1036"/>
          <ac:spMkLst>
            <pc:docMk/>
            <pc:sldMk cId="1252826214" sldId="1711"/>
            <ac:spMk id="129" creationId="{C64552A8-000A-42EA-A41A-842C50A3E75C}"/>
          </ac:spMkLst>
        </pc:spChg>
        <pc:spChg chg="mod topLvl">
          <ac:chgData name="Aurelien Domont" userId="6da7715ce44349b3" providerId="LiveId" clId="{AFF9B0D5-CA7D-40FB-964A-23276295459E}" dt="2021-07-06T05:11:34.229" v="6642" actId="1036"/>
          <ac:spMkLst>
            <pc:docMk/>
            <pc:sldMk cId="1252826214" sldId="1711"/>
            <ac:spMk id="130" creationId="{25211B52-F394-4B97-B910-E8F00FAA4379}"/>
          </ac:spMkLst>
        </pc:spChg>
        <pc:spChg chg="mod topLvl">
          <ac:chgData name="Aurelien Domont" userId="6da7715ce44349b3" providerId="LiveId" clId="{AFF9B0D5-CA7D-40FB-964A-23276295459E}" dt="2021-07-06T05:11:34.229" v="6642" actId="1036"/>
          <ac:spMkLst>
            <pc:docMk/>
            <pc:sldMk cId="1252826214" sldId="1711"/>
            <ac:spMk id="131" creationId="{1353AF21-9142-444E-B4D4-3937D3BC0265}"/>
          </ac:spMkLst>
        </pc:spChg>
        <pc:spChg chg="mod topLvl">
          <ac:chgData name="Aurelien Domont" userId="6da7715ce44349b3" providerId="LiveId" clId="{AFF9B0D5-CA7D-40FB-964A-23276295459E}" dt="2021-07-06T05:11:34.229" v="6642" actId="1036"/>
          <ac:spMkLst>
            <pc:docMk/>
            <pc:sldMk cId="1252826214" sldId="1711"/>
            <ac:spMk id="132" creationId="{06B49306-A228-40E0-A62A-F4152D2EF65C}"/>
          </ac:spMkLst>
        </pc:spChg>
        <pc:spChg chg="mod topLvl">
          <ac:chgData name="Aurelien Domont" userId="6da7715ce44349b3" providerId="LiveId" clId="{AFF9B0D5-CA7D-40FB-964A-23276295459E}" dt="2021-07-06T05:11:34.229" v="6642" actId="1036"/>
          <ac:spMkLst>
            <pc:docMk/>
            <pc:sldMk cId="1252826214" sldId="1711"/>
            <ac:spMk id="133" creationId="{9E6D7F6A-7952-44F2-9895-244DA66F7758}"/>
          </ac:spMkLst>
        </pc:spChg>
        <pc:spChg chg="mod topLvl">
          <ac:chgData name="Aurelien Domont" userId="6da7715ce44349b3" providerId="LiveId" clId="{AFF9B0D5-CA7D-40FB-964A-23276295459E}" dt="2021-07-06T05:11:34.229" v="6642" actId="1036"/>
          <ac:spMkLst>
            <pc:docMk/>
            <pc:sldMk cId="1252826214" sldId="1711"/>
            <ac:spMk id="134" creationId="{FD2B5EB3-F3EB-4406-993B-782ECD460A2E}"/>
          </ac:spMkLst>
        </pc:spChg>
        <pc:spChg chg="mod topLvl">
          <ac:chgData name="Aurelien Domont" userId="6da7715ce44349b3" providerId="LiveId" clId="{AFF9B0D5-CA7D-40FB-964A-23276295459E}" dt="2021-07-06T05:11:34.229" v="6642" actId="1036"/>
          <ac:spMkLst>
            <pc:docMk/>
            <pc:sldMk cId="1252826214" sldId="1711"/>
            <ac:spMk id="135" creationId="{97C8E616-A639-4342-AB7C-2BA723919038}"/>
          </ac:spMkLst>
        </pc:spChg>
        <pc:spChg chg="mod topLvl">
          <ac:chgData name="Aurelien Domont" userId="6da7715ce44349b3" providerId="LiveId" clId="{AFF9B0D5-CA7D-40FB-964A-23276295459E}" dt="2021-07-06T05:11:34.229" v="6642" actId="1036"/>
          <ac:spMkLst>
            <pc:docMk/>
            <pc:sldMk cId="1252826214" sldId="1711"/>
            <ac:spMk id="136" creationId="{545FB3BD-6F68-47F3-8B2A-9A4D3CED8999}"/>
          </ac:spMkLst>
        </pc:spChg>
        <pc:spChg chg="mod topLvl">
          <ac:chgData name="Aurelien Domont" userId="6da7715ce44349b3" providerId="LiveId" clId="{AFF9B0D5-CA7D-40FB-964A-23276295459E}" dt="2021-07-06T05:11:34.229" v="6642" actId="1036"/>
          <ac:spMkLst>
            <pc:docMk/>
            <pc:sldMk cId="1252826214" sldId="1711"/>
            <ac:spMk id="137" creationId="{A595BE95-CA86-4E4A-97BC-8ECDAC59BA69}"/>
          </ac:spMkLst>
        </pc:spChg>
        <pc:spChg chg="mod topLvl">
          <ac:chgData name="Aurelien Domont" userId="6da7715ce44349b3" providerId="LiveId" clId="{AFF9B0D5-CA7D-40FB-964A-23276295459E}" dt="2021-07-06T05:11:34.229" v="6642" actId="1036"/>
          <ac:spMkLst>
            <pc:docMk/>
            <pc:sldMk cId="1252826214" sldId="1711"/>
            <ac:spMk id="138" creationId="{CE364E54-2E11-4C63-A303-5EB591D6D012}"/>
          </ac:spMkLst>
        </pc:spChg>
        <pc:spChg chg="mod topLvl">
          <ac:chgData name="Aurelien Domont" userId="6da7715ce44349b3" providerId="LiveId" clId="{AFF9B0D5-CA7D-40FB-964A-23276295459E}" dt="2021-07-06T05:11:34.229" v="6642" actId="1036"/>
          <ac:spMkLst>
            <pc:docMk/>
            <pc:sldMk cId="1252826214" sldId="1711"/>
            <ac:spMk id="139" creationId="{1EFA42D7-4448-4E18-A729-6CF3DBA94A34}"/>
          </ac:spMkLst>
        </pc:spChg>
        <pc:spChg chg="mod topLvl">
          <ac:chgData name="Aurelien Domont" userId="6da7715ce44349b3" providerId="LiveId" clId="{AFF9B0D5-CA7D-40FB-964A-23276295459E}" dt="2021-07-06T05:11:34.229" v="6642" actId="1036"/>
          <ac:spMkLst>
            <pc:docMk/>
            <pc:sldMk cId="1252826214" sldId="1711"/>
            <ac:spMk id="140" creationId="{8C2C812B-C909-499A-B3F4-D6BA4928BD00}"/>
          </ac:spMkLst>
        </pc:spChg>
        <pc:spChg chg="mod topLvl">
          <ac:chgData name="Aurelien Domont" userId="6da7715ce44349b3" providerId="LiveId" clId="{AFF9B0D5-CA7D-40FB-964A-23276295459E}" dt="2021-07-06T05:11:34.229" v="6642" actId="1036"/>
          <ac:spMkLst>
            <pc:docMk/>
            <pc:sldMk cId="1252826214" sldId="1711"/>
            <ac:spMk id="141" creationId="{34849A92-9597-49BF-977B-9951D462FED2}"/>
          </ac:spMkLst>
        </pc:spChg>
        <pc:spChg chg="mod topLvl">
          <ac:chgData name="Aurelien Domont" userId="6da7715ce44349b3" providerId="LiveId" clId="{AFF9B0D5-CA7D-40FB-964A-23276295459E}" dt="2021-07-06T05:11:34.229" v="6642" actId="1036"/>
          <ac:spMkLst>
            <pc:docMk/>
            <pc:sldMk cId="1252826214" sldId="1711"/>
            <ac:spMk id="142" creationId="{DDEA1F90-0863-42CA-BDC2-92B238A78A85}"/>
          </ac:spMkLst>
        </pc:spChg>
        <pc:spChg chg="mod topLvl">
          <ac:chgData name="Aurelien Domont" userId="6da7715ce44349b3" providerId="LiveId" clId="{AFF9B0D5-CA7D-40FB-964A-23276295459E}" dt="2021-07-06T05:11:34.229" v="6642" actId="1036"/>
          <ac:spMkLst>
            <pc:docMk/>
            <pc:sldMk cId="1252826214" sldId="1711"/>
            <ac:spMk id="143" creationId="{D8C37E11-C4BD-4A84-BF63-578417B77BEB}"/>
          </ac:spMkLst>
        </pc:spChg>
        <pc:spChg chg="mod topLvl">
          <ac:chgData name="Aurelien Domont" userId="6da7715ce44349b3" providerId="LiveId" clId="{AFF9B0D5-CA7D-40FB-964A-23276295459E}" dt="2021-07-06T05:29:10.437" v="6979" actId="108"/>
          <ac:spMkLst>
            <pc:docMk/>
            <pc:sldMk cId="1252826214" sldId="1711"/>
            <ac:spMk id="144" creationId="{C375A887-D5E3-4F99-9950-A79EB6CA9A6B}"/>
          </ac:spMkLst>
        </pc:spChg>
        <pc:spChg chg="mod topLvl">
          <ac:chgData name="Aurelien Domont" userId="6da7715ce44349b3" providerId="LiveId" clId="{AFF9B0D5-CA7D-40FB-964A-23276295459E}" dt="2021-07-06T05:11:34.229" v="6642" actId="1036"/>
          <ac:spMkLst>
            <pc:docMk/>
            <pc:sldMk cId="1252826214" sldId="1711"/>
            <ac:spMk id="145" creationId="{D68A8DB0-4D69-4C87-A962-C8F9E969D524}"/>
          </ac:spMkLst>
        </pc:spChg>
        <pc:spChg chg="mod topLvl">
          <ac:chgData name="Aurelien Domont" userId="6da7715ce44349b3" providerId="LiveId" clId="{AFF9B0D5-CA7D-40FB-964A-23276295459E}" dt="2021-07-06T05:11:34.229" v="6642" actId="1036"/>
          <ac:spMkLst>
            <pc:docMk/>
            <pc:sldMk cId="1252826214" sldId="1711"/>
            <ac:spMk id="146" creationId="{B027E49D-713A-4007-8722-5D14C2C7EACA}"/>
          </ac:spMkLst>
        </pc:spChg>
        <pc:spChg chg="mod topLvl">
          <ac:chgData name="Aurelien Domont" userId="6da7715ce44349b3" providerId="LiveId" clId="{AFF9B0D5-CA7D-40FB-964A-23276295459E}" dt="2021-07-06T05:11:34.229" v="6642" actId="1036"/>
          <ac:spMkLst>
            <pc:docMk/>
            <pc:sldMk cId="1252826214" sldId="1711"/>
            <ac:spMk id="147" creationId="{8043C5E2-C7CB-4A63-B4D5-162D9FF00E21}"/>
          </ac:spMkLst>
        </pc:spChg>
        <pc:spChg chg="mod topLvl">
          <ac:chgData name="Aurelien Domont" userId="6da7715ce44349b3" providerId="LiveId" clId="{AFF9B0D5-CA7D-40FB-964A-23276295459E}" dt="2021-07-06T05:11:34.229" v="6642" actId="1036"/>
          <ac:spMkLst>
            <pc:docMk/>
            <pc:sldMk cId="1252826214" sldId="1711"/>
            <ac:spMk id="148" creationId="{B55A0DD7-4E48-406D-93E4-0B3AE2F1CEF9}"/>
          </ac:spMkLst>
        </pc:spChg>
        <pc:spChg chg="mod topLvl">
          <ac:chgData name="Aurelien Domont" userId="6da7715ce44349b3" providerId="LiveId" clId="{AFF9B0D5-CA7D-40FB-964A-23276295459E}" dt="2021-07-06T05:11:34.229" v="6642" actId="1036"/>
          <ac:spMkLst>
            <pc:docMk/>
            <pc:sldMk cId="1252826214" sldId="1711"/>
            <ac:spMk id="149" creationId="{91F4980C-1E3A-4BE7-A200-8DEF8ABE3F9D}"/>
          </ac:spMkLst>
        </pc:spChg>
        <pc:spChg chg="mod topLvl">
          <ac:chgData name="Aurelien Domont" userId="6da7715ce44349b3" providerId="LiveId" clId="{AFF9B0D5-CA7D-40FB-964A-23276295459E}" dt="2021-07-06T05:11:34.229" v="6642" actId="1036"/>
          <ac:spMkLst>
            <pc:docMk/>
            <pc:sldMk cId="1252826214" sldId="1711"/>
            <ac:spMk id="150" creationId="{E211A3E5-A626-4167-82E1-6D2198386F44}"/>
          </ac:spMkLst>
        </pc:spChg>
        <pc:spChg chg="mod topLvl">
          <ac:chgData name="Aurelien Domont" userId="6da7715ce44349b3" providerId="LiveId" clId="{AFF9B0D5-CA7D-40FB-964A-23276295459E}" dt="2021-07-06T05:11:34.229" v="6642" actId="1036"/>
          <ac:spMkLst>
            <pc:docMk/>
            <pc:sldMk cId="1252826214" sldId="1711"/>
            <ac:spMk id="151" creationId="{131EE606-1F8D-4B48-8188-352E524DF4AE}"/>
          </ac:spMkLst>
        </pc:spChg>
        <pc:spChg chg="mod topLvl">
          <ac:chgData name="Aurelien Domont" userId="6da7715ce44349b3" providerId="LiveId" clId="{AFF9B0D5-CA7D-40FB-964A-23276295459E}" dt="2021-07-06T05:11:34.229" v="6642" actId="1036"/>
          <ac:spMkLst>
            <pc:docMk/>
            <pc:sldMk cId="1252826214" sldId="1711"/>
            <ac:spMk id="152" creationId="{7436FE4F-A3CC-4C95-902D-8B1D92D535B1}"/>
          </ac:spMkLst>
        </pc:spChg>
        <pc:spChg chg="mod topLvl">
          <ac:chgData name="Aurelien Domont" userId="6da7715ce44349b3" providerId="LiveId" clId="{AFF9B0D5-CA7D-40FB-964A-23276295459E}" dt="2021-07-06T05:11:34.229" v="6642" actId="1036"/>
          <ac:spMkLst>
            <pc:docMk/>
            <pc:sldMk cId="1252826214" sldId="1711"/>
            <ac:spMk id="154" creationId="{78505EE0-DBC4-400C-A718-6C2C024583C9}"/>
          </ac:spMkLst>
        </pc:spChg>
        <pc:spChg chg="mod topLvl">
          <ac:chgData name="Aurelien Domont" userId="6da7715ce44349b3" providerId="LiveId" clId="{AFF9B0D5-CA7D-40FB-964A-23276295459E}" dt="2021-07-06T05:11:34.229" v="6642" actId="1036"/>
          <ac:spMkLst>
            <pc:docMk/>
            <pc:sldMk cId="1252826214" sldId="1711"/>
            <ac:spMk id="156" creationId="{88B98B20-4520-41ED-9304-72DC955877E3}"/>
          </ac:spMkLst>
        </pc:spChg>
        <pc:spChg chg="mod topLvl">
          <ac:chgData name="Aurelien Domont" userId="6da7715ce44349b3" providerId="LiveId" clId="{AFF9B0D5-CA7D-40FB-964A-23276295459E}" dt="2021-07-06T05:11:34.229" v="6642" actId="1036"/>
          <ac:spMkLst>
            <pc:docMk/>
            <pc:sldMk cId="1252826214" sldId="1711"/>
            <ac:spMk id="158" creationId="{9E8DA2CC-D49D-41A6-B0D6-42D3BDA7D0F4}"/>
          </ac:spMkLst>
        </pc:spChg>
        <pc:spChg chg="mod topLvl">
          <ac:chgData name="Aurelien Domont" userId="6da7715ce44349b3" providerId="LiveId" clId="{AFF9B0D5-CA7D-40FB-964A-23276295459E}" dt="2021-07-06T05:11:34.229" v="6642" actId="1036"/>
          <ac:spMkLst>
            <pc:docMk/>
            <pc:sldMk cId="1252826214" sldId="1711"/>
            <ac:spMk id="160" creationId="{5C3FA1B3-B4AC-48D4-B714-2D1BA93D0790}"/>
          </ac:spMkLst>
        </pc:spChg>
        <pc:spChg chg="mod topLvl">
          <ac:chgData name="Aurelien Domont" userId="6da7715ce44349b3" providerId="LiveId" clId="{AFF9B0D5-CA7D-40FB-964A-23276295459E}" dt="2021-07-06T05:11:34.229" v="6642" actId="1036"/>
          <ac:spMkLst>
            <pc:docMk/>
            <pc:sldMk cId="1252826214" sldId="1711"/>
            <ac:spMk id="161" creationId="{541E197F-4044-4204-8FDA-395AE323CACE}"/>
          </ac:spMkLst>
        </pc:spChg>
        <pc:spChg chg="mod topLvl">
          <ac:chgData name="Aurelien Domont" userId="6da7715ce44349b3" providerId="LiveId" clId="{AFF9B0D5-CA7D-40FB-964A-23276295459E}" dt="2021-07-06T05:11:34.229" v="6642" actId="1036"/>
          <ac:spMkLst>
            <pc:docMk/>
            <pc:sldMk cId="1252826214" sldId="1711"/>
            <ac:spMk id="162" creationId="{87E0E64E-A590-4A08-8106-4F02B5C7D002}"/>
          </ac:spMkLst>
        </pc:spChg>
        <pc:spChg chg="mod topLvl">
          <ac:chgData name="Aurelien Domont" userId="6da7715ce44349b3" providerId="LiveId" clId="{AFF9B0D5-CA7D-40FB-964A-23276295459E}" dt="2021-07-06T05:11:34.229" v="6642" actId="1036"/>
          <ac:spMkLst>
            <pc:docMk/>
            <pc:sldMk cId="1252826214" sldId="1711"/>
            <ac:spMk id="163" creationId="{71EA5F10-6A1F-4BE6-B877-E41B6C053DD0}"/>
          </ac:spMkLst>
        </pc:spChg>
        <pc:spChg chg="mod topLvl">
          <ac:chgData name="Aurelien Domont" userId="6da7715ce44349b3" providerId="LiveId" clId="{AFF9B0D5-CA7D-40FB-964A-23276295459E}" dt="2021-07-06T05:11:34.229" v="6642" actId="1036"/>
          <ac:spMkLst>
            <pc:docMk/>
            <pc:sldMk cId="1252826214" sldId="1711"/>
            <ac:spMk id="164" creationId="{F0F68B0B-B377-4B7D-9268-E3F776C48BF9}"/>
          </ac:spMkLst>
        </pc:spChg>
        <pc:spChg chg="mod topLvl">
          <ac:chgData name="Aurelien Domont" userId="6da7715ce44349b3" providerId="LiveId" clId="{AFF9B0D5-CA7D-40FB-964A-23276295459E}" dt="2021-07-06T05:11:34.229" v="6642" actId="1036"/>
          <ac:spMkLst>
            <pc:docMk/>
            <pc:sldMk cId="1252826214" sldId="1711"/>
            <ac:spMk id="165" creationId="{C5E2B2CD-FB89-4C8F-B686-E9E311344422}"/>
          </ac:spMkLst>
        </pc:spChg>
        <pc:spChg chg="mod topLvl">
          <ac:chgData name="Aurelien Domont" userId="6da7715ce44349b3" providerId="LiveId" clId="{AFF9B0D5-CA7D-40FB-964A-23276295459E}" dt="2021-07-06T05:11:34.229" v="6642" actId="1036"/>
          <ac:spMkLst>
            <pc:docMk/>
            <pc:sldMk cId="1252826214" sldId="1711"/>
            <ac:spMk id="166" creationId="{08CE1BAD-B909-4C15-B25E-0DB0122FF7B0}"/>
          </ac:spMkLst>
        </pc:spChg>
        <pc:spChg chg="mod topLvl">
          <ac:chgData name="Aurelien Domont" userId="6da7715ce44349b3" providerId="LiveId" clId="{AFF9B0D5-CA7D-40FB-964A-23276295459E}" dt="2021-07-06T05:11:34.229" v="6642" actId="1036"/>
          <ac:spMkLst>
            <pc:docMk/>
            <pc:sldMk cId="1252826214" sldId="1711"/>
            <ac:spMk id="167" creationId="{DA557A7B-858E-40EE-A7F1-8A77F519D6EA}"/>
          </ac:spMkLst>
        </pc:spChg>
        <pc:spChg chg="mod topLvl">
          <ac:chgData name="Aurelien Domont" userId="6da7715ce44349b3" providerId="LiveId" clId="{AFF9B0D5-CA7D-40FB-964A-23276295459E}" dt="2021-07-06T05:11:34.229" v="6642" actId="1036"/>
          <ac:spMkLst>
            <pc:docMk/>
            <pc:sldMk cId="1252826214" sldId="1711"/>
            <ac:spMk id="168" creationId="{01515CE9-46BA-4B0A-951F-C33D9C9A402F}"/>
          </ac:spMkLst>
        </pc:spChg>
        <pc:spChg chg="mod topLvl">
          <ac:chgData name="Aurelien Domont" userId="6da7715ce44349b3" providerId="LiveId" clId="{AFF9B0D5-CA7D-40FB-964A-23276295459E}" dt="2021-07-06T05:11:34.229" v="6642" actId="1036"/>
          <ac:spMkLst>
            <pc:docMk/>
            <pc:sldMk cId="1252826214" sldId="1711"/>
            <ac:spMk id="169" creationId="{3F8CDBC1-9629-45C2-A85E-CA02DB9041EA}"/>
          </ac:spMkLst>
        </pc:spChg>
        <pc:spChg chg="mod topLvl">
          <ac:chgData name="Aurelien Domont" userId="6da7715ce44349b3" providerId="LiveId" clId="{AFF9B0D5-CA7D-40FB-964A-23276295459E}" dt="2021-07-06T05:11:34.229" v="6642" actId="1036"/>
          <ac:spMkLst>
            <pc:docMk/>
            <pc:sldMk cId="1252826214" sldId="1711"/>
            <ac:spMk id="171" creationId="{963AD41B-26F5-4D47-AD53-8AC2972B2A93}"/>
          </ac:spMkLst>
        </pc:spChg>
        <pc:spChg chg="mod topLvl">
          <ac:chgData name="Aurelien Domont" userId="6da7715ce44349b3" providerId="LiveId" clId="{AFF9B0D5-CA7D-40FB-964A-23276295459E}" dt="2021-07-06T05:11:34.229" v="6642" actId="1036"/>
          <ac:spMkLst>
            <pc:docMk/>
            <pc:sldMk cId="1252826214" sldId="1711"/>
            <ac:spMk id="172" creationId="{A95BECF4-65E0-4E20-8E81-BF2D70CA24FA}"/>
          </ac:spMkLst>
        </pc:spChg>
        <pc:spChg chg="mod topLvl">
          <ac:chgData name="Aurelien Domont" userId="6da7715ce44349b3" providerId="LiveId" clId="{AFF9B0D5-CA7D-40FB-964A-23276295459E}" dt="2021-07-06T05:11:34.229" v="6642" actId="1036"/>
          <ac:spMkLst>
            <pc:docMk/>
            <pc:sldMk cId="1252826214" sldId="1711"/>
            <ac:spMk id="173" creationId="{A82C2CB6-9C1B-463B-B201-2EDC9A84F804}"/>
          </ac:spMkLst>
        </pc:spChg>
        <pc:spChg chg="mod topLvl">
          <ac:chgData name="Aurelien Domont" userId="6da7715ce44349b3" providerId="LiveId" clId="{AFF9B0D5-CA7D-40FB-964A-23276295459E}" dt="2021-07-06T05:11:34.229" v="6642" actId="1036"/>
          <ac:spMkLst>
            <pc:docMk/>
            <pc:sldMk cId="1252826214" sldId="1711"/>
            <ac:spMk id="174" creationId="{F13E0817-830A-4419-9E5B-A121B77DA6DD}"/>
          </ac:spMkLst>
        </pc:spChg>
        <pc:spChg chg="mod topLvl">
          <ac:chgData name="Aurelien Domont" userId="6da7715ce44349b3" providerId="LiveId" clId="{AFF9B0D5-CA7D-40FB-964A-23276295459E}" dt="2021-07-06T05:11:34.229" v="6642" actId="1036"/>
          <ac:spMkLst>
            <pc:docMk/>
            <pc:sldMk cId="1252826214" sldId="1711"/>
            <ac:spMk id="175" creationId="{8E6C7D94-2CCA-4C44-B3CB-82E170208E8E}"/>
          </ac:spMkLst>
        </pc:spChg>
        <pc:spChg chg="mod topLvl">
          <ac:chgData name="Aurelien Domont" userId="6da7715ce44349b3" providerId="LiveId" clId="{AFF9B0D5-CA7D-40FB-964A-23276295459E}" dt="2021-07-06T05:11:34.229" v="6642" actId="1036"/>
          <ac:spMkLst>
            <pc:docMk/>
            <pc:sldMk cId="1252826214" sldId="1711"/>
            <ac:spMk id="176" creationId="{D658C2E5-253C-49B8-9139-B1A75693B43B}"/>
          </ac:spMkLst>
        </pc:spChg>
        <pc:spChg chg="mod topLvl">
          <ac:chgData name="Aurelien Domont" userId="6da7715ce44349b3" providerId="LiveId" clId="{AFF9B0D5-CA7D-40FB-964A-23276295459E}" dt="2021-07-06T05:11:34.229" v="6642" actId="1036"/>
          <ac:spMkLst>
            <pc:docMk/>
            <pc:sldMk cId="1252826214" sldId="1711"/>
            <ac:spMk id="177" creationId="{59202752-5754-4DE6-B2D6-DF32F10E5DC8}"/>
          </ac:spMkLst>
        </pc:spChg>
        <pc:spChg chg="mod topLvl">
          <ac:chgData name="Aurelien Domont" userId="6da7715ce44349b3" providerId="LiveId" clId="{AFF9B0D5-CA7D-40FB-964A-23276295459E}" dt="2021-07-06T05:11:34.229" v="6642" actId="1036"/>
          <ac:spMkLst>
            <pc:docMk/>
            <pc:sldMk cId="1252826214" sldId="1711"/>
            <ac:spMk id="178" creationId="{7D1A9FB2-D060-4515-BD88-6FCAEAF225BE}"/>
          </ac:spMkLst>
        </pc:spChg>
        <pc:spChg chg="mod topLvl">
          <ac:chgData name="Aurelien Domont" userId="6da7715ce44349b3" providerId="LiveId" clId="{AFF9B0D5-CA7D-40FB-964A-23276295459E}" dt="2021-07-06T05:11:34.229" v="6642" actId="1036"/>
          <ac:spMkLst>
            <pc:docMk/>
            <pc:sldMk cId="1252826214" sldId="1711"/>
            <ac:spMk id="179" creationId="{A4200E5E-8CC9-48B5-AA45-0716870EB5D3}"/>
          </ac:spMkLst>
        </pc:spChg>
        <pc:spChg chg="mod topLvl">
          <ac:chgData name="Aurelien Domont" userId="6da7715ce44349b3" providerId="LiveId" clId="{AFF9B0D5-CA7D-40FB-964A-23276295459E}" dt="2021-07-06T05:11:34.229" v="6642" actId="1036"/>
          <ac:spMkLst>
            <pc:docMk/>
            <pc:sldMk cId="1252826214" sldId="1711"/>
            <ac:spMk id="180" creationId="{88387600-1A81-43F5-A5F6-E595CC546449}"/>
          </ac:spMkLst>
        </pc:spChg>
        <pc:spChg chg="mod topLvl">
          <ac:chgData name="Aurelien Domont" userId="6da7715ce44349b3" providerId="LiveId" clId="{AFF9B0D5-CA7D-40FB-964A-23276295459E}" dt="2021-07-06T05:11:34.229" v="6642" actId="1036"/>
          <ac:spMkLst>
            <pc:docMk/>
            <pc:sldMk cId="1252826214" sldId="1711"/>
            <ac:spMk id="181" creationId="{992FA9DF-63EC-429A-BF35-AE164E2FF638}"/>
          </ac:spMkLst>
        </pc:spChg>
        <pc:spChg chg="mod topLvl">
          <ac:chgData name="Aurelien Domont" userId="6da7715ce44349b3" providerId="LiveId" clId="{AFF9B0D5-CA7D-40FB-964A-23276295459E}" dt="2021-07-06T05:11:34.229" v="6642" actId="1036"/>
          <ac:spMkLst>
            <pc:docMk/>
            <pc:sldMk cId="1252826214" sldId="1711"/>
            <ac:spMk id="182" creationId="{92554E69-034D-4A5C-9380-796DF5D21CBE}"/>
          </ac:spMkLst>
        </pc:spChg>
        <pc:spChg chg="mod topLvl">
          <ac:chgData name="Aurelien Domont" userId="6da7715ce44349b3" providerId="LiveId" clId="{AFF9B0D5-CA7D-40FB-964A-23276295459E}" dt="2021-07-06T05:11:34.229" v="6642" actId="1036"/>
          <ac:spMkLst>
            <pc:docMk/>
            <pc:sldMk cId="1252826214" sldId="1711"/>
            <ac:spMk id="183" creationId="{D33F1956-7744-4394-A0B6-5DC6187179A1}"/>
          </ac:spMkLst>
        </pc:spChg>
        <pc:spChg chg="mod topLvl">
          <ac:chgData name="Aurelien Domont" userId="6da7715ce44349b3" providerId="LiveId" clId="{AFF9B0D5-CA7D-40FB-964A-23276295459E}" dt="2021-07-06T05:11:34.229" v="6642" actId="1036"/>
          <ac:spMkLst>
            <pc:docMk/>
            <pc:sldMk cId="1252826214" sldId="1711"/>
            <ac:spMk id="184" creationId="{C4D285CB-4C4F-400C-B984-87DC8A9E1D18}"/>
          </ac:spMkLst>
        </pc:spChg>
        <pc:spChg chg="mod topLvl">
          <ac:chgData name="Aurelien Domont" userId="6da7715ce44349b3" providerId="LiveId" clId="{AFF9B0D5-CA7D-40FB-964A-23276295459E}" dt="2021-07-06T05:11:34.229" v="6642" actId="1036"/>
          <ac:spMkLst>
            <pc:docMk/>
            <pc:sldMk cId="1252826214" sldId="1711"/>
            <ac:spMk id="185" creationId="{2BE5A517-FA3C-44CF-972A-C5B15864EF7F}"/>
          </ac:spMkLst>
        </pc:spChg>
        <pc:spChg chg="mod topLvl">
          <ac:chgData name="Aurelien Domont" userId="6da7715ce44349b3" providerId="LiveId" clId="{AFF9B0D5-CA7D-40FB-964A-23276295459E}" dt="2021-07-06T05:11:34.229" v="6642" actId="1036"/>
          <ac:spMkLst>
            <pc:docMk/>
            <pc:sldMk cId="1252826214" sldId="1711"/>
            <ac:spMk id="186" creationId="{2AF56B3E-A4A0-4E78-9F27-6E1F86480A6E}"/>
          </ac:spMkLst>
        </pc:spChg>
        <pc:spChg chg="mod topLvl">
          <ac:chgData name="Aurelien Domont" userId="6da7715ce44349b3" providerId="LiveId" clId="{AFF9B0D5-CA7D-40FB-964A-23276295459E}" dt="2021-07-06T05:11:34.229" v="6642" actId="1036"/>
          <ac:spMkLst>
            <pc:docMk/>
            <pc:sldMk cId="1252826214" sldId="1711"/>
            <ac:spMk id="187" creationId="{65BAB392-D000-4FDD-8FB1-AE51D60AF3F4}"/>
          </ac:spMkLst>
        </pc:spChg>
        <pc:spChg chg="mod topLvl">
          <ac:chgData name="Aurelien Domont" userId="6da7715ce44349b3" providerId="LiveId" clId="{AFF9B0D5-CA7D-40FB-964A-23276295459E}" dt="2021-07-06T05:11:34.229" v="6642" actId="1036"/>
          <ac:spMkLst>
            <pc:docMk/>
            <pc:sldMk cId="1252826214" sldId="1711"/>
            <ac:spMk id="188" creationId="{D02BDEA7-490D-491D-ADE1-354D74062D97}"/>
          </ac:spMkLst>
        </pc:spChg>
        <pc:spChg chg="mod topLvl">
          <ac:chgData name="Aurelien Domont" userId="6da7715ce44349b3" providerId="LiveId" clId="{AFF9B0D5-CA7D-40FB-964A-23276295459E}" dt="2021-07-06T05:11:34.229" v="6642" actId="1036"/>
          <ac:spMkLst>
            <pc:docMk/>
            <pc:sldMk cId="1252826214" sldId="1711"/>
            <ac:spMk id="189" creationId="{E6CC3D2F-DB61-47E2-8F82-35A70A7033D1}"/>
          </ac:spMkLst>
        </pc:spChg>
        <pc:spChg chg="mod topLvl">
          <ac:chgData name="Aurelien Domont" userId="6da7715ce44349b3" providerId="LiveId" clId="{AFF9B0D5-CA7D-40FB-964A-23276295459E}" dt="2021-07-06T05:11:34.229" v="6642" actId="1036"/>
          <ac:spMkLst>
            <pc:docMk/>
            <pc:sldMk cId="1252826214" sldId="1711"/>
            <ac:spMk id="190" creationId="{A13D6358-E032-4D42-8B3A-BB647533A52A}"/>
          </ac:spMkLst>
        </pc:spChg>
        <pc:spChg chg="mod topLvl">
          <ac:chgData name="Aurelien Domont" userId="6da7715ce44349b3" providerId="LiveId" clId="{AFF9B0D5-CA7D-40FB-964A-23276295459E}" dt="2021-07-06T05:11:34.229" v="6642" actId="1036"/>
          <ac:spMkLst>
            <pc:docMk/>
            <pc:sldMk cId="1252826214" sldId="1711"/>
            <ac:spMk id="191" creationId="{2B54C7EB-4521-4D8E-8CC8-3C3AFB6C9D5D}"/>
          </ac:spMkLst>
        </pc:spChg>
        <pc:spChg chg="mod topLvl">
          <ac:chgData name="Aurelien Domont" userId="6da7715ce44349b3" providerId="LiveId" clId="{AFF9B0D5-CA7D-40FB-964A-23276295459E}" dt="2021-07-06T05:11:34.229" v="6642" actId="1036"/>
          <ac:spMkLst>
            <pc:docMk/>
            <pc:sldMk cId="1252826214" sldId="1711"/>
            <ac:spMk id="192" creationId="{56F9B48F-62FA-48FD-A47B-AEF05EC56DEE}"/>
          </ac:spMkLst>
        </pc:spChg>
        <pc:spChg chg="mod topLvl">
          <ac:chgData name="Aurelien Domont" userId="6da7715ce44349b3" providerId="LiveId" clId="{AFF9B0D5-CA7D-40FB-964A-23276295459E}" dt="2021-07-06T05:11:34.229" v="6642" actId="1036"/>
          <ac:spMkLst>
            <pc:docMk/>
            <pc:sldMk cId="1252826214" sldId="1711"/>
            <ac:spMk id="193" creationId="{4462D747-86EA-41CA-8F26-DE6608A116F0}"/>
          </ac:spMkLst>
        </pc:spChg>
        <pc:spChg chg="mod topLvl">
          <ac:chgData name="Aurelien Domont" userId="6da7715ce44349b3" providerId="LiveId" clId="{AFF9B0D5-CA7D-40FB-964A-23276295459E}" dt="2021-07-06T05:11:34.229" v="6642" actId="1036"/>
          <ac:spMkLst>
            <pc:docMk/>
            <pc:sldMk cId="1252826214" sldId="1711"/>
            <ac:spMk id="194" creationId="{DBBD5777-1E56-4ABE-BA16-5C74CE9A0EA7}"/>
          </ac:spMkLst>
        </pc:spChg>
        <pc:spChg chg="mod topLvl">
          <ac:chgData name="Aurelien Domont" userId="6da7715ce44349b3" providerId="LiveId" clId="{AFF9B0D5-CA7D-40FB-964A-23276295459E}" dt="2021-07-06T05:11:34.229" v="6642" actId="1036"/>
          <ac:spMkLst>
            <pc:docMk/>
            <pc:sldMk cId="1252826214" sldId="1711"/>
            <ac:spMk id="195" creationId="{7D7286B1-9422-4310-B4C2-615AF19EAACA}"/>
          </ac:spMkLst>
        </pc:spChg>
        <pc:spChg chg="mod topLvl">
          <ac:chgData name="Aurelien Domont" userId="6da7715ce44349b3" providerId="LiveId" clId="{AFF9B0D5-CA7D-40FB-964A-23276295459E}" dt="2021-07-06T05:11:34.229" v="6642" actId="1036"/>
          <ac:spMkLst>
            <pc:docMk/>
            <pc:sldMk cId="1252826214" sldId="1711"/>
            <ac:spMk id="196" creationId="{D40F5B22-E2AA-4258-9265-F1FF9ED960F4}"/>
          </ac:spMkLst>
        </pc:spChg>
        <pc:spChg chg="mod topLvl">
          <ac:chgData name="Aurelien Domont" userId="6da7715ce44349b3" providerId="LiveId" clId="{AFF9B0D5-CA7D-40FB-964A-23276295459E}" dt="2021-07-06T05:11:34.229" v="6642" actId="1036"/>
          <ac:spMkLst>
            <pc:docMk/>
            <pc:sldMk cId="1252826214" sldId="1711"/>
            <ac:spMk id="197" creationId="{AD4D240B-D50A-4D70-8C0B-977F83984D3A}"/>
          </ac:spMkLst>
        </pc:spChg>
        <pc:spChg chg="mod topLvl">
          <ac:chgData name="Aurelien Domont" userId="6da7715ce44349b3" providerId="LiveId" clId="{AFF9B0D5-CA7D-40FB-964A-23276295459E}" dt="2021-07-06T05:11:34.229" v="6642" actId="1036"/>
          <ac:spMkLst>
            <pc:docMk/>
            <pc:sldMk cId="1252826214" sldId="1711"/>
            <ac:spMk id="198" creationId="{6CE44318-CD7E-445D-B758-E7779777C82F}"/>
          </ac:spMkLst>
        </pc:spChg>
        <pc:spChg chg="mod topLvl">
          <ac:chgData name="Aurelien Domont" userId="6da7715ce44349b3" providerId="LiveId" clId="{AFF9B0D5-CA7D-40FB-964A-23276295459E}" dt="2021-07-06T05:11:34.229" v="6642" actId="1036"/>
          <ac:spMkLst>
            <pc:docMk/>
            <pc:sldMk cId="1252826214" sldId="1711"/>
            <ac:spMk id="199" creationId="{1F0F724B-E44F-41E4-8A14-AE2C600D3B37}"/>
          </ac:spMkLst>
        </pc:spChg>
        <pc:spChg chg="mod topLvl">
          <ac:chgData name="Aurelien Domont" userId="6da7715ce44349b3" providerId="LiveId" clId="{AFF9B0D5-CA7D-40FB-964A-23276295459E}" dt="2021-07-06T05:11:34.229" v="6642" actId="1036"/>
          <ac:spMkLst>
            <pc:docMk/>
            <pc:sldMk cId="1252826214" sldId="1711"/>
            <ac:spMk id="200" creationId="{86E37F85-C5A4-488E-B339-0F0F15565748}"/>
          </ac:spMkLst>
        </pc:spChg>
        <pc:spChg chg="mod topLvl">
          <ac:chgData name="Aurelien Domont" userId="6da7715ce44349b3" providerId="LiveId" clId="{AFF9B0D5-CA7D-40FB-964A-23276295459E}" dt="2021-07-06T05:11:34.229" v="6642" actId="1036"/>
          <ac:spMkLst>
            <pc:docMk/>
            <pc:sldMk cId="1252826214" sldId="1711"/>
            <ac:spMk id="201" creationId="{B1F3E296-E0F1-42B3-8EB5-18834C3DEF2D}"/>
          </ac:spMkLst>
        </pc:spChg>
        <pc:spChg chg="mod topLvl">
          <ac:chgData name="Aurelien Domont" userId="6da7715ce44349b3" providerId="LiveId" clId="{AFF9B0D5-CA7D-40FB-964A-23276295459E}" dt="2021-07-06T05:11:34.229" v="6642" actId="1036"/>
          <ac:spMkLst>
            <pc:docMk/>
            <pc:sldMk cId="1252826214" sldId="1711"/>
            <ac:spMk id="202" creationId="{BCB202AA-2A16-4C5C-AA67-6AFAFA8F6938}"/>
          </ac:spMkLst>
        </pc:spChg>
        <pc:spChg chg="mod topLvl">
          <ac:chgData name="Aurelien Domont" userId="6da7715ce44349b3" providerId="LiveId" clId="{AFF9B0D5-CA7D-40FB-964A-23276295459E}" dt="2021-07-06T05:11:34.229" v="6642" actId="1036"/>
          <ac:spMkLst>
            <pc:docMk/>
            <pc:sldMk cId="1252826214" sldId="1711"/>
            <ac:spMk id="203" creationId="{0C93BDFC-9980-4906-BF18-DAD7D5B3E82D}"/>
          </ac:spMkLst>
        </pc:spChg>
        <pc:spChg chg="mod topLvl">
          <ac:chgData name="Aurelien Domont" userId="6da7715ce44349b3" providerId="LiveId" clId="{AFF9B0D5-CA7D-40FB-964A-23276295459E}" dt="2021-07-06T05:11:34.229" v="6642" actId="1036"/>
          <ac:spMkLst>
            <pc:docMk/>
            <pc:sldMk cId="1252826214" sldId="1711"/>
            <ac:spMk id="204" creationId="{2483B080-5A2E-4F13-B9A0-DEDEF8079900}"/>
          </ac:spMkLst>
        </pc:spChg>
        <pc:spChg chg="mod topLvl">
          <ac:chgData name="Aurelien Domont" userId="6da7715ce44349b3" providerId="LiveId" clId="{AFF9B0D5-CA7D-40FB-964A-23276295459E}" dt="2021-07-06T05:11:34.229" v="6642" actId="1036"/>
          <ac:spMkLst>
            <pc:docMk/>
            <pc:sldMk cId="1252826214" sldId="1711"/>
            <ac:spMk id="205" creationId="{7F1B88CC-77FA-4556-9E9A-EBE75920496C}"/>
          </ac:spMkLst>
        </pc:spChg>
        <pc:spChg chg="mod topLvl">
          <ac:chgData name="Aurelien Domont" userId="6da7715ce44349b3" providerId="LiveId" clId="{AFF9B0D5-CA7D-40FB-964A-23276295459E}" dt="2021-07-06T05:11:34.229" v="6642" actId="1036"/>
          <ac:spMkLst>
            <pc:docMk/>
            <pc:sldMk cId="1252826214" sldId="1711"/>
            <ac:spMk id="206" creationId="{003FC4C7-BA5E-490B-A4F1-1C0EFED6FB87}"/>
          </ac:spMkLst>
        </pc:spChg>
        <pc:spChg chg="mod topLvl">
          <ac:chgData name="Aurelien Domont" userId="6da7715ce44349b3" providerId="LiveId" clId="{AFF9B0D5-CA7D-40FB-964A-23276295459E}" dt="2021-07-06T05:11:34.229" v="6642" actId="1036"/>
          <ac:spMkLst>
            <pc:docMk/>
            <pc:sldMk cId="1252826214" sldId="1711"/>
            <ac:spMk id="207" creationId="{9BD2EF94-3A1F-4B1E-8B71-180E83DE23F4}"/>
          </ac:spMkLst>
        </pc:spChg>
        <pc:spChg chg="mod topLvl">
          <ac:chgData name="Aurelien Domont" userId="6da7715ce44349b3" providerId="LiveId" clId="{AFF9B0D5-CA7D-40FB-964A-23276295459E}" dt="2021-07-06T05:11:34.229" v="6642" actId="1036"/>
          <ac:spMkLst>
            <pc:docMk/>
            <pc:sldMk cId="1252826214" sldId="1711"/>
            <ac:spMk id="208" creationId="{EAEDBD41-082E-45BA-8113-5C661357A1E7}"/>
          </ac:spMkLst>
        </pc:spChg>
        <pc:spChg chg="mod topLvl">
          <ac:chgData name="Aurelien Domont" userId="6da7715ce44349b3" providerId="LiveId" clId="{AFF9B0D5-CA7D-40FB-964A-23276295459E}" dt="2021-07-06T05:11:34.229" v="6642" actId="1036"/>
          <ac:spMkLst>
            <pc:docMk/>
            <pc:sldMk cId="1252826214" sldId="1711"/>
            <ac:spMk id="209" creationId="{BC07ED43-92C0-4463-BE91-75D378245AC3}"/>
          </ac:spMkLst>
        </pc:spChg>
        <pc:spChg chg="mod topLvl">
          <ac:chgData name="Aurelien Domont" userId="6da7715ce44349b3" providerId="LiveId" clId="{AFF9B0D5-CA7D-40FB-964A-23276295459E}" dt="2021-07-06T05:11:34.229" v="6642" actId="1036"/>
          <ac:spMkLst>
            <pc:docMk/>
            <pc:sldMk cId="1252826214" sldId="1711"/>
            <ac:spMk id="210" creationId="{193E87B5-9C63-4375-B210-A66A1AFCCF6F}"/>
          </ac:spMkLst>
        </pc:spChg>
        <pc:spChg chg="mod topLvl">
          <ac:chgData name="Aurelien Domont" userId="6da7715ce44349b3" providerId="LiveId" clId="{AFF9B0D5-CA7D-40FB-964A-23276295459E}" dt="2021-07-06T05:11:34.229" v="6642" actId="1036"/>
          <ac:spMkLst>
            <pc:docMk/>
            <pc:sldMk cId="1252826214" sldId="1711"/>
            <ac:spMk id="211" creationId="{793AFA17-087D-46AE-869B-60FF321E751B}"/>
          </ac:spMkLst>
        </pc:spChg>
        <pc:spChg chg="mod topLvl">
          <ac:chgData name="Aurelien Domont" userId="6da7715ce44349b3" providerId="LiveId" clId="{AFF9B0D5-CA7D-40FB-964A-23276295459E}" dt="2021-07-06T05:11:34.229" v="6642" actId="1036"/>
          <ac:spMkLst>
            <pc:docMk/>
            <pc:sldMk cId="1252826214" sldId="1711"/>
            <ac:spMk id="212" creationId="{84307B0E-2C20-4123-9CAA-1D24370C93CD}"/>
          </ac:spMkLst>
        </pc:spChg>
        <pc:spChg chg="mod topLvl">
          <ac:chgData name="Aurelien Domont" userId="6da7715ce44349b3" providerId="LiveId" clId="{AFF9B0D5-CA7D-40FB-964A-23276295459E}" dt="2021-07-06T05:11:34.229" v="6642" actId="1036"/>
          <ac:spMkLst>
            <pc:docMk/>
            <pc:sldMk cId="1252826214" sldId="1711"/>
            <ac:spMk id="213" creationId="{77A30CF6-910C-42F4-A2AF-820286EDA0EC}"/>
          </ac:spMkLst>
        </pc:spChg>
        <pc:spChg chg="mod topLvl">
          <ac:chgData name="Aurelien Domont" userId="6da7715ce44349b3" providerId="LiveId" clId="{AFF9B0D5-CA7D-40FB-964A-23276295459E}" dt="2021-07-06T05:11:34.229" v="6642" actId="1036"/>
          <ac:spMkLst>
            <pc:docMk/>
            <pc:sldMk cId="1252826214" sldId="1711"/>
            <ac:spMk id="214" creationId="{3F674640-2E1D-4DFF-B01D-3A3488930238}"/>
          </ac:spMkLst>
        </pc:spChg>
        <pc:spChg chg="mod topLvl">
          <ac:chgData name="Aurelien Domont" userId="6da7715ce44349b3" providerId="LiveId" clId="{AFF9B0D5-CA7D-40FB-964A-23276295459E}" dt="2021-07-06T05:11:34.229" v="6642" actId="1036"/>
          <ac:spMkLst>
            <pc:docMk/>
            <pc:sldMk cId="1252826214" sldId="1711"/>
            <ac:spMk id="215" creationId="{85D81B0A-8416-497A-99DC-67F35F0AD3D9}"/>
          </ac:spMkLst>
        </pc:spChg>
        <pc:spChg chg="mod topLvl">
          <ac:chgData name="Aurelien Domont" userId="6da7715ce44349b3" providerId="LiveId" clId="{AFF9B0D5-CA7D-40FB-964A-23276295459E}" dt="2021-07-06T05:11:34.229" v="6642" actId="1036"/>
          <ac:spMkLst>
            <pc:docMk/>
            <pc:sldMk cId="1252826214" sldId="1711"/>
            <ac:spMk id="216" creationId="{C18ABAB0-2722-4783-84A2-5634D23EAA75}"/>
          </ac:spMkLst>
        </pc:spChg>
        <pc:spChg chg="mod topLvl">
          <ac:chgData name="Aurelien Domont" userId="6da7715ce44349b3" providerId="LiveId" clId="{AFF9B0D5-CA7D-40FB-964A-23276295459E}" dt="2021-07-06T05:11:34.229" v="6642" actId="1036"/>
          <ac:spMkLst>
            <pc:docMk/>
            <pc:sldMk cId="1252826214" sldId="1711"/>
            <ac:spMk id="217" creationId="{EFCB03DB-03D6-4A91-8CBD-792B0C10DE69}"/>
          </ac:spMkLst>
        </pc:spChg>
        <pc:spChg chg="mod topLvl">
          <ac:chgData name="Aurelien Domont" userId="6da7715ce44349b3" providerId="LiveId" clId="{AFF9B0D5-CA7D-40FB-964A-23276295459E}" dt="2021-07-06T05:11:34.229" v="6642" actId="1036"/>
          <ac:spMkLst>
            <pc:docMk/>
            <pc:sldMk cId="1252826214" sldId="1711"/>
            <ac:spMk id="218" creationId="{C59BD9FB-1B30-423F-B1D7-751A58E65F2D}"/>
          </ac:spMkLst>
        </pc:spChg>
        <pc:spChg chg="mod topLvl">
          <ac:chgData name="Aurelien Domont" userId="6da7715ce44349b3" providerId="LiveId" clId="{AFF9B0D5-CA7D-40FB-964A-23276295459E}" dt="2021-07-06T05:11:34.229" v="6642" actId="1036"/>
          <ac:spMkLst>
            <pc:docMk/>
            <pc:sldMk cId="1252826214" sldId="1711"/>
            <ac:spMk id="219" creationId="{EFA08614-7E06-47B4-99AF-2865D4F47977}"/>
          </ac:spMkLst>
        </pc:spChg>
        <pc:spChg chg="mod topLvl">
          <ac:chgData name="Aurelien Domont" userId="6da7715ce44349b3" providerId="LiveId" clId="{AFF9B0D5-CA7D-40FB-964A-23276295459E}" dt="2021-07-06T05:11:34.229" v="6642" actId="1036"/>
          <ac:spMkLst>
            <pc:docMk/>
            <pc:sldMk cId="1252826214" sldId="1711"/>
            <ac:spMk id="220" creationId="{444A65E3-4F6F-4AFB-87EC-33F20023A968}"/>
          </ac:spMkLst>
        </pc:spChg>
        <pc:spChg chg="mod topLvl">
          <ac:chgData name="Aurelien Domont" userId="6da7715ce44349b3" providerId="LiveId" clId="{AFF9B0D5-CA7D-40FB-964A-23276295459E}" dt="2021-07-06T05:11:34.229" v="6642" actId="1036"/>
          <ac:spMkLst>
            <pc:docMk/>
            <pc:sldMk cId="1252826214" sldId="1711"/>
            <ac:spMk id="221" creationId="{E4377BC2-14F9-4CD6-A14C-C44A4E3AA617}"/>
          </ac:spMkLst>
        </pc:spChg>
        <pc:spChg chg="mod topLvl">
          <ac:chgData name="Aurelien Domont" userId="6da7715ce44349b3" providerId="LiveId" clId="{AFF9B0D5-CA7D-40FB-964A-23276295459E}" dt="2021-07-06T05:11:34.229" v="6642" actId="1036"/>
          <ac:spMkLst>
            <pc:docMk/>
            <pc:sldMk cId="1252826214" sldId="1711"/>
            <ac:spMk id="222" creationId="{5CCF650A-0F72-4561-8E58-2343C3DBFEBE}"/>
          </ac:spMkLst>
        </pc:spChg>
        <pc:spChg chg="mod topLvl">
          <ac:chgData name="Aurelien Domont" userId="6da7715ce44349b3" providerId="LiveId" clId="{AFF9B0D5-CA7D-40FB-964A-23276295459E}" dt="2021-07-06T05:11:34.229" v="6642" actId="1036"/>
          <ac:spMkLst>
            <pc:docMk/>
            <pc:sldMk cId="1252826214" sldId="1711"/>
            <ac:spMk id="223" creationId="{63CA195B-A87C-444E-8191-3ECC991AB875}"/>
          </ac:spMkLst>
        </pc:spChg>
        <pc:spChg chg="mod topLvl">
          <ac:chgData name="Aurelien Domont" userId="6da7715ce44349b3" providerId="LiveId" clId="{AFF9B0D5-CA7D-40FB-964A-23276295459E}" dt="2021-07-06T05:11:34.229" v="6642" actId="1036"/>
          <ac:spMkLst>
            <pc:docMk/>
            <pc:sldMk cId="1252826214" sldId="1711"/>
            <ac:spMk id="224" creationId="{1BF71304-587F-4508-A321-52BEFDF494DC}"/>
          </ac:spMkLst>
        </pc:spChg>
        <pc:spChg chg="mod topLvl">
          <ac:chgData name="Aurelien Domont" userId="6da7715ce44349b3" providerId="LiveId" clId="{AFF9B0D5-CA7D-40FB-964A-23276295459E}" dt="2021-07-06T05:11:34.229" v="6642" actId="1036"/>
          <ac:spMkLst>
            <pc:docMk/>
            <pc:sldMk cId="1252826214" sldId="1711"/>
            <ac:spMk id="225" creationId="{D74CE2DA-D7AA-4661-A52B-C9D5B3290A9A}"/>
          </ac:spMkLst>
        </pc:spChg>
        <pc:spChg chg="mod topLvl">
          <ac:chgData name="Aurelien Domont" userId="6da7715ce44349b3" providerId="LiveId" clId="{AFF9B0D5-CA7D-40FB-964A-23276295459E}" dt="2021-07-06T05:11:34.229" v="6642" actId="1036"/>
          <ac:spMkLst>
            <pc:docMk/>
            <pc:sldMk cId="1252826214" sldId="1711"/>
            <ac:spMk id="226" creationId="{551F1F9D-E21B-4640-B8C7-C60950AB302D}"/>
          </ac:spMkLst>
        </pc:spChg>
        <pc:spChg chg="mod topLvl">
          <ac:chgData name="Aurelien Domont" userId="6da7715ce44349b3" providerId="LiveId" clId="{AFF9B0D5-CA7D-40FB-964A-23276295459E}" dt="2021-07-06T05:11:34.229" v="6642" actId="1036"/>
          <ac:spMkLst>
            <pc:docMk/>
            <pc:sldMk cId="1252826214" sldId="1711"/>
            <ac:spMk id="227" creationId="{936ED875-F3AB-4A18-8E6A-F9C7C270CF02}"/>
          </ac:spMkLst>
        </pc:spChg>
        <pc:spChg chg="mod topLvl">
          <ac:chgData name="Aurelien Domont" userId="6da7715ce44349b3" providerId="LiveId" clId="{AFF9B0D5-CA7D-40FB-964A-23276295459E}" dt="2021-07-06T05:11:34.229" v="6642" actId="1036"/>
          <ac:spMkLst>
            <pc:docMk/>
            <pc:sldMk cId="1252826214" sldId="1711"/>
            <ac:spMk id="228" creationId="{430A0786-7BD9-46DA-A610-519693964F01}"/>
          </ac:spMkLst>
        </pc:spChg>
        <pc:spChg chg="mod topLvl">
          <ac:chgData name="Aurelien Domont" userId="6da7715ce44349b3" providerId="LiveId" clId="{AFF9B0D5-CA7D-40FB-964A-23276295459E}" dt="2021-07-06T05:11:34.229" v="6642" actId="1036"/>
          <ac:spMkLst>
            <pc:docMk/>
            <pc:sldMk cId="1252826214" sldId="1711"/>
            <ac:spMk id="229" creationId="{DBAC6905-1A25-4E2C-90D6-5580DDEDDB85}"/>
          </ac:spMkLst>
        </pc:spChg>
        <pc:spChg chg="mod topLvl">
          <ac:chgData name="Aurelien Domont" userId="6da7715ce44349b3" providerId="LiveId" clId="{AFF9B0D5-CA7D-40FB-964A-23276295459E}" dt="2021-07-06T05:11:34.229" v="6642" actId="1036"/>
          <ac:spMkLst>
            <pc:docMk/>
            <pc:sldMk cId="1252826214" sldId="1711"/>
            <ac:spMk id="230" creationId="{63E38F12-2AAD-4FA1-88BA-4655424B7ABA}"/>
          </ac:spMkLst>
        </pc:spChg>
        <pc:spChg chg="mod topLvl">
          <ac:chgData name="Aurelien Domont" userId="6da7715ce44349b3" providerId="LiveId" clId="{AFF9B0D5-CA7D-40FB-964A-23276295459E}" dt="2021-07-06T05:11:34.229" v="6642" actId="1036"/>
          <ac:spMkLst>
            <pc:docMk/>
            <pc:sldMk cId="1252826214" sldId="1711"/>
            <ac:spMk id="231" creationId="{4BD50ED2-1085-45E9-834B-CC17883DC947}"/>
          </ac:spMkLst>
        </pc:spChg>
        <pc:spChg chg="mod topLvl">
          <ac:chgData name="Aurelien Domont" userId="6da7715ce44349b3" providerId="LiveId" clId="{AFF9B0D5-CA7D-40FB-964A-23276295459E}" dt="2021-07-06T05:11:34.229" v="6642" actId="1036"/>
          <ac:spMkLst>
            <pc:docMk/>
            <pc:sldMk cId="1252826214" sldId="1711"/>
            <ac:spMk id="232" creationId="{6E77A66E-2021-43C9-8F5F-B91B3DF1E257}"/>
          </ac:spMkLst>
        </pc:spChg>
        <pc:spChg chg="mod topLvl">
          <ac:chgData name="Aurelien Domont" userId="6da7715ce44349b3" providerId="LiveId" clId="{AFF9B0D5-CA7D-40FB-964A-23276295459E}" dt="2021-07-06T05:11:34.229" v="6642" actId="1036"/>
          <ac:spMkLst>
            <pc:docMk/>
            <pc:sldMk cId="1252826214" sldId="1711"/>
            <ac:spMk id="233" creationId="{EBD29889-D0B4-43B9-8442-B91A3B9BE83C}"/>
          </ac:spMkLst>
        </pc:spChg>
        <pc:spChg chg="mod topLvl">
          <ac:chgData name="Aurelien Domont" userId="6da7715ce44349b3" providerId="LiveId" clId="{AFF9B0D5-CA7D-40FB-964A-23276295459E}" dt="2021-07-06T05:11:34.229" v="6642" actId="1036"/>
          <ac:spMkLst>
            <pc:docMk/>
            <pc:sldMk cId="1252826214" sldId="1711"/>
            <ac:spMk id="234" creationId="{21F0D43F-287D-4CDA-B746-2C8A66A82376}"/>
          </ac:spMkLst>
        </pc:spChg>
        <pc:spChg chg="mod topLvl">
          <ac:chgData name="Aurelien Domont" userId="6da7715ce44349b3" providerId="LiveId" clId="{AFF9B0D5-CA7D-40FB-964A-23276295459E}" dt="2021-07-06T05:11:34.229" v="6642" actId="1036"/>
          <ac:spMkLst>
            <pc:docMk/>
            <pc:sldMk cId="1252826214" sldId="1711"/>
            <ac:spMk id="235" creationId="{ABF8C690-9AB9-49DF-AC8F-3A1B953C7881}"/>
          </ac:spMkLst>
        </pc:spChg>
        <pc:spChg chg="mod topLvl">
          <ac:chgData name="Aurelien Domont" userId="6da7715ce44349b3" providerId="LiveId" clId="{AFF9B0D5-CA7D-40FB-964A-23276295459E}" dt="2021-07-06T05:11:34.229" v="6642" actId="1036"/>
          <ac:spMkLst>
            <pc:docMk/>
            <pc:sldMk cId="1252826214" sldId="1711"/>
            <ac:spMk id="236" creationId="{E3F0EFE2-BC71-410C-B51D-B34F896014ED}"/>
          </ac:spMkLst>
        </pc:spChg>
        <pc:spChg chg="mod topLvl">
          <ac:chgData name="Aurelien Domont" userId="6da7715ce44349b3" providerId="LiveId" clId="{AFF9B0D5-CA7D-40FB-964A-23276295459E}" dt="2021-07-06T05:11:34.229" v="6642" actId="1036"/>
          <ac:spMkLst>
            <pc:docMk/>
            <pc:sldMk cId="1252826214" sldId="1711"/>
            <ac:spMk id="237" creationId="{54372FEB-36D5-41EF-9588-6403ECD97FEB}"/>
          </ac:spMkLst>
        </pc:spChg>
        <pc:spChg chg="mod topLvl">
          <ac:chgData name="Aurelien Domont" userId="6da7715ce44349b3" providerId="LiveId" clId="{AFF9B0D5-CA7D-40FB-964A-23276295459E}" dt="2021-07-06T05:11:34.229" v="6642" actId="1036"/>
          <ac:spMkLst>
            <pc:docMk/>
            <pc:sldMk cId="1252826214" sldId="1711"/>
            <ac:spMk id="238" creationId="{EF6C8537-8511-49E7-A9E1-0022384E5493}"/>
          </ac:spMkLst>
        </pc:spChg>
        <pc:spChg chg="mod topLvl">
          <ac:chgData name="Aurelien Domont" userId="6da7715ce44349b3" providerId="LiveId" clId="{AFF9B0D5-CA7D-40FB-964A-23276295459E}" dt="2021-07-06T05:11:34.229" v="6642" actId="1036"/>
          <ac:spMkLst>
            <pc:docMk/>
            <pc:sldMk cId="1252826214" sldId="1711"/>
            <ac:spMk id="239" creationId="{469F0A00-47B2-4DDD-BF87-88A646D345DE}"/>
          </ac:spMkLst>
        </pc:spChg>
        <pc:spChg chg="mod topLvl">
          <ac:chgData name="Aurelien Domont" userId="6da7715ce44349b3" providerId="LiveId" clId="{AFF9B0D5-CA7D-40FB-964A-23276295459E}" dt="2021-07-06T05:11:34.229" v="6642" actId="1036"/>
          <ac:spMkLst>
            <pc:docMk/>
            <pc:sldMk cId="1252826214" sldId="1711"/>
            <ac:spMk id="240" creationId="{30CB3E4B-42C8-4DF2-B739-CF227DDC8E73}"/>
          </ac:spMkLst>
        </pc:spChg>
        <pc:spChg chg="mod topLvl">
          <ac:chgData name="Aurelien Domont" userId="6da7715ce44349b3" providerId="LiveId" clId="{AFF9B0D5-CA7D-40FB-964A-23276295459E}" dt="2021-07-06T05:11:34.229" v="6642" actId="1036"/>
          <ac:spMkLst>
            <pc:docMk/>
            <pc:sldMk cId="1252826214" sldId="1711"/>
            <ac:spMk id="241" creationId="{3CFFF04C-0086-4A1E-9B0B-90F93BCE689C}"/>
          </ac:spMkLst>
        </pc:spChg>
        <pc:spChg chg="mod topLvl">
          <ac:chgData name="Aurelien Domont" userId="6da7715ce44349b3" providerId="LiveId" clId="{AFF9B0D5-CA7D-40FB-964A-23276295459E}" dt="2021-07-06T05:11:34.229" v="6642" actId="1036"/>
          <ac:spMkLst>
            <pc:docMk/>
            <pc:sldMk cId="1252826214" sldId="1711"/>
            <ac:spMk id="242" creationId="{796536A7-650A-470B-B60A-89CB4DCDAE12}"/>
          </ac:spMkLst>
        </pc:spChg>
        <pc:spChg chg="mod topLvl">
          <ac:chgData name="Aurelien Domont" userId="6da7715ce44349b3" providerId="LiveId" clId="{AFF9B0D5-CA7D-40FB-964A-23276295459E}" dt="2021-07-06T05:11:34.229" v="6642" actId="1036"/>
          <ac:spMkLst>
            <pc:docMk/>
            <pc:sldMk cId="1252826214" sldId="1711"/>
            <ac:spMk id="243" creationId="{28B07DF0-DD4F-4107-9049-E64C336BD23E}"/>
          </ac:spMkLst>
        </pc:spChg>
        <pc:spChg chg="mod topLvl">
          <ac:chgData name="Aurelien Domont" userId="6da7715ce44349b3" providerId="LiveId" clId="{AFF9B0D5-CA7D-40FB-964A-23276295459E}" dt="2021-07-06T05:11:34.229" v="6642" actId="1036"/>
          <ac:spMkLst>
            <pc:docMk/>
            <pc:sldMk cId="1252826214" sldId="1711"/>
            <ac:spMk id="244" creationId="{6222FCC7-32FF-4D0B-84C0-6C5967B837B7}"/>
          </ac:spMkLst>
        </pc:spChg>
        <pc:spChg chg="mod topLvl">
          <ac:chgData name="Aurelien Domont" userId="6da7715ce44349b3" providerId="LiveId" clId="{AFF9B0D5-CA7D-40FB-964A-23276295459E}" dt="2021-07-06T05:11:34.229" v="6642" actId="1036"/>
          <ac:spMkLst>
            <pc:docMk/>
            <pc:sldMk cId="1252826214" sldId="1711"/>
            <ac:spMk id="245" creationId="{E86832F6-2D52-4754-BB9D-E56F6A7E8713}"/>
          </ac:spMkLst>
        </pc:spChg>
        <pc:spChg chg="mod topLvl">
          <ac:chgData name="Aurelien Domont" userId="6da7715ce44349b3" providerId="LiveId" clId="{AFF9B0D5-CA7D-40FB-964A-23276295459E}" dt="2021-07-06T05:11:34.229" v="6642" actId="1036"/>
          <ac:spMkLst>
            <pc:docMk/>
            <pc:sldMk cId="1252826214" sldId="1711"/>
            <ac:spMk id="246" creationId="{1D89F624-F74E-456A-AF09-7B4A51BE1AA0}"/>
          </ac:spMkLst>
        </pc:spChg>
        <pc:spChg chg="mod topLvl">
          <ac:chgData name="Aurelien Domont" userId="6da7715ce44349b3" providerId="LiveId" clId="{AFF9B0D5-CA7D-40FB-964A-23276295459E}" dt="2021-07-06T05:11:34.229" v="6642" actId="1036"/>
          <ac:spMkLst>
            <pc:docMk/>
            <pc:sldMk cId="1252826214" sldId="1711"/>
            <ac:spMk id="247" creationId="{4F937EC5-8BD0-4FB5-A35C-E02B89B93606}"/>
          </ac:spMkLst>
        </pc:spChg>
        <pc:spChg chg="mod">
          <ac:chgData name="Aurelien Domont" userId="6da7715ce44349b3" providerId="LiveId" clId="{AFF9B0D5-CA7D-40FB-964A-23276295459E}" dt="2021-07-06T05:09:13.215" v="6601" actId="207"/>
          <ac:spMkLst>
            <pc:docMk/>
            <pc:sldMk cId="1252826214" sldId="1711"/>
            <ac:spMk id="248" creationId="{FB4D28D9-4023-4A47-99FC-62C7EC792373}"/>
          </ac:spMkLst>
        </pc:spChg>
        <pc:spChg chg="mod">
          <ac:chgData name="Aurelien Domont" userId="6da7715ce44349b3" providerId="LiveId" clId="{AFF9B0D5-CA7D-40FB-964A-23276295459E}" dt="2021-07-06T05:09:13.215" v="6601" actId="207"/>
          <ac:spMkLst>
            <pc:docMk/>
            <pc:sldMk cId="1252826214" sldId="1711"/>
            <ac:spMk id="249" creationId="{B1394C94-FF2C-4788-8280-D38679147605}"/>
          </ac:spMkLst>
        </pc:spChg>
        <pc:spChg chg="mod">
          <ac:chgData name="Aurelien Domont" userId="6da7715ce44349b3" providerId="LiveId" clId="{AFF9B0D5-CA7D-40FB-964A-23276295459E}" dt="2021-07-06T05:09:13.215" v="6601" actId="207"/>
          <ac:spMkLst>
            <pc:docMk/>
            <pc:sldMk cId="1252826214" sldId="1711"/>
            <ac:spMk id="250" creationId="{816DF731-9397-45CC-9DE6-BB914CD9AA52}"/>
          </ac:spMkLst>
        </pc:spChg>
        <pc:spChg chg="mod">
          <ac:chgData name="Aurelien Domont" userId="6da7715ce44349b3" providerId="LiveId" clId="{AFF9B0D5-CA7D-40FB-964A-23276295459E}" dt="2021-07-06T05:09:13.215" v="6601" actId="207"/>
          <ac:spMkLst>
            <pc:docMk/>
            <pc:sldMk cId="1252826214" sldId="1711"/>
            <ac:spMk id="251" creationId="{E5AA8E9A-B1B5-4B37-8D2F-1CEA3595297D}"/>
          </ac:spMkLst>
        </pc:spChg>
        <pc:spChg chg="mod">
          <ac:chgData name="Aurelien Domont" userId="6da7715ce44349b3" providerId="LiveId" clId="{AFF9B0D5-CA7D-40FB-964A-23276295459E}" dt="2021-07-06T05:09:13.215" v="6601" actId="207"/>
          <ac:spMkLst>
            <pc:docMk/>
            <pc:sldMk cId="1252826214" sldId="1711"/>
            <ac:spMk id="252" creationId="{0F32216C-9D5C-4ABD-BA85-DCF960936CA7}"/>
          </ac:spMkLst>
        </pc:spChg>
        <pc:spChg chg="mod">
          <ac:chgData name="Aurelien Domont" userId="6da7715ce44349b3" providerId="LiveId" clId="{AFF9B0D5-CA7D-40FB-964A-23276295459E}" dt="2021-07-06T05:09:13.215" v="6601" actId="207"/>
          <ac:spMkLst>
            <pc:docMk/>
            <pc:sldMk cId="1252826214" sldId="1711"/>
            <ac:spMk id="253" creationId="{BB015216-6946-4F91-A441-9A7C82F9FFDE}"/>
          </ac:spMkLst>
        </pc:spChg>
        <pc:spChg chg="mod">
          <ac:chgData name="Aurelien Domont" userId="6da7715ce44349b3" providerId="LiveId" clId="{AFF9B0D5-CA7D-40FB-964A-23276295459E}" dt="2021-07-06T05:09:13.215" v="6601" actId="207"/>
          <ac:spMkLst>
            <pc:docMk/>
            <pc:sldMk cId="1252826214" sldId="1711"/>
            <ac:spMk id="254" creationId="{6D16BABE-42DC-4409-AD87-E6921DA14DCC}"/>
          </ac:spMkLst>
        </pc:spChg>
        <pc:spChg chg="mod">
          <ac:chgData name="Aurelien Domont" userId="6da7715ce44349b3" providerId="LiveId" clId="{AFF9B0D5-CA7D-40FB-964A-23276295459E}" dt="2021-07-06T05:09:13.215" v="6601" actId="207"/>
          <ac:spMkLst>
            <pc:docMk/>
            <pc:sldMk cId="1252826214" sldId="1711"/>
            <ac:spMk id="255" creationId="{884A3FEA-302A-4650-B628-684E3877AEB4}"/>
          </ac:spMkLst>
        </pc:spChg>
        <pc:spChg chg="mod">
          <ac:chgData name="Aurelien Domont" userId="6da7715ce44349b3" providerId="LiveId" clId="{AFF9B0D5-CA7D-40FB-964A-23276295459E}" dt="2021-07-06T05:09:13.215" v="6601" actId="207"/>
          <ac:spMkLst>
            <pc:docMk/>
            <pc:sldMk cId="1252826214" sldId="1711"/>
            <ac:spMk id="256" creationId="{4AC67763-A7E7-44D7-BB4F-F145A5B5E7CC}"/>
          </ac:spMkLst>
        </pc:spChg>
        <pc:spChg chg="mod">
          <ac:chgData name="Aurelien Domont" userId="6da7715ce44349b3" providerId="LiveId" clId="{AFF9B0D5-CA7D-40FB-964A-23276295459E}" dt="2021-07-06T05:09:13.215" v="6601" actId="207"/>
          <ac:spMkLst>
            <pc:docMk/>
            <pc:sldMk cId="1252826214" sldId="1711"/>
            <ac:spMk id="257" creationId="{1313848B-8C14-4024-BD20-CE60618ECDBE}"/>
          </ac:spMkLst>
        </pc:spChg>
        <pc:spChg chg="mod">
          <ac:chgData name="Aurelien Domont" userId="6da7715ce44349b3" providerId="LiveId" clId="{AFF9B0D5-CA7D-40FB-964A-23276295459E}" dt="2021-07-06T05:09:13.215" v="6601" actId="207"/>
          <ac:spMkLst>
            <pc:docMk/>
            <pc:sldMk cId="1252826214" sldId="1711"/>
            <ac:spMk id="258" creationId="{BD7C503B-09D3-483C-BDBC-F26FD18A18F4}"/>
          </ac:spMkLst>
        </pc:spChg>
        <pc:spChg chg="mod">
          <ac:chgData name="Aurelien Domont" userId="6da7715ce44349b3" providerId="LiveId" clId="{AFF9B0D5-CA7D-40FB-964A-23276295459E}" dt="2021-07-06T05:09:13.215" v="6601" actId="207"/>
          <ac:spMkLst>
            <pc:docMk/>
            <pc:sldMk cId="1252826214" sldId="1711"/>
            <ac:spMk id="259" creationId="{33404832-32D5-4822-ABB4-AD4E015DE594}"/>
          </ac:spMkLst>
        </pc:spChg>
        <pc:spChg chg="mod">
          <ac:chgData name="Aurelien Domont" userId="6da7715ce44349b3" providerId="LiveId" clId="{AFF9B0D5-CA7D-40FB-964A-23276295459E}" dt="2021-07-06T05:09:13.215" v="6601" actId="207"/>
          <ac:spMkLst>
            <pc:docMk/>
            <pc:sldMk cId="1252826214" sldId="1711"/>
            <ac:spMk id="260" creationId="{848A4F6B-0C2A-4B12-BC5C-BFB1B79291F2}"/>
          </ac:spMkLst>
        </pc:spChg>
        <pc:spChg chg="mod">
          <ac:chgData name="Aurelien Domont" userId="6da7715ce44349b3" providerId="LiveId" clId="{AFF9B0D5-CA7D-40FB-964A-23276295459E}" dt="2021-07-06T05:09:13.215" v="6601" actId="207"/>
          <ac:spMkLst>
            <pc:docMk/>
            <pc:sldMk cId="1252826214" sldId="1711"/>
            <ac:spMk id="261" creationId="{3B6A42B4-0FA5-4494-8935-4A0A8D921406}"/>
          </ac:spMkLst>
        </pc:spChg>
        <pc:spChg chg="mod">
          <ac:chgData name="Aurelien Domont" userId="6da7715ce44349b3" providerId="LiveId" clId="{AFF9B0D5-CA7D-40FB-964A-23276295459E}" dt="2021-07-06T05:09:13.215" v="6601" actId="207"/>
          <ac:spMkLst>
            <pc:docMk/>
            <pc:sldMk cId="1252826214" sldId="1711"/>
            <ac:spMk id="262" creationId="{C21EF6C5-637A-41A6-999A-A123A9FF536F}"/>
          </ac:spMkLst>
        </pc:spChg>
        <pc:spChg chg="mod">
          <ac:chgData name="Aurelien Domont" userId="6da7715ce44349b3" providerId="LiveId" clId="{AFF9B0D5-CA7D-40FB-964A-23276295459E}" dt="2021-07-06T05:09:13.215" v="6601" actId="207"/>
          <ac:spMkLst>
            <pc:docMk/>
            <pc:sldMk cId="1252826214" sldId="1711"/>
            <ac:spMk id="263" creationId="{FF0D9FE9-6439-4CB6-927A-C8BD823405CF}"/>
          </ac:spMkLst>
        </pc:spChg>
        <pc:spChg chg="mod">
          <ac:chgData name="Aurelien Domont" userId="6da7715ce44349b3" providerId="LiveId" clId="{AFF9B0D5-CA7D-40FB-964A-23276295459E}" dt="2021-07-06T05:09:13.215" v="6601" actId="207"/>
          <ac:spMkLst>
            <pc:docMk/>
            <pc:sldMk cId="1252826214" sldId="1711"/>
            <ac:spMk id="264" creationId="{D296E5B0-88FC-4606-80CE-86DB4D92B321}"/>
          </ac:spMkLst>
        </pc:spChg>
        <pc:spChg chg="mod">
          <ac:chgData name="Aurelien Domont" userId="6da7715ce44349b3" providerId="LiveId" clId="{AFF9B0D5-CA7D-40FB-964A-23276295459E}" dt="2021-07-06T05:09:13.215" v="6601" actId="207"/>
          <ac:spMkLst>
            <pc:docMk/>
            <pc:sldMk cId="1252826214" sldId="1711"/>
            <ac:spMk id="265" creationId="{1C37C82C-03CE-471E-B718-979BA7E7C1F3}"/>
          </ac:spMkLst>
        </pc:spChg>
        <pc:spChg chg="mod">
          <ac:chgData name="Aurelien Domont" userId="6da7715ce44349b3" providerId="LiveId" clId="{AFF9B0D5-CA7D-40FB-964A-23276295459E}" dt="2021-07-06T05:08:56.517" v="6599" actId="207"/>
          <ac:spMkLst>
            <pc:docMk/>
            <pc:sldMk cId="1252826214" sldId="1711"/>
            <ac:spMk id="266" creationId="{FA9BAED0-43F7-4E99-8B88-399CA30CA33F}"/>
          </ac:spMkLst>
        </pc:spChg>
        <pc:spChg chg="mod">
          <ac:chgData name="Aurelien Domont" userId="6da7715ce44349b3" providerId="LiveId" clId="{AFF9B0D5-CA7D-40FB-964A-23276295459E}" dt="2021-07-06T05:08:56.517" v="6599" actId="207"/>
          <ac:spMkLst>
            <pc:docMk/>
            <pc:sldMk cId="1252826214" sldId="1711"/>
            <ac:spMk id="267" creationId="{9454F253-2A59-4A63-ACAF-CC2D0548B1FD}"/>
          </ac:spMkLst>
        </pc:spChg>
        <pc:spChg chg="mod">
          <ac:chgData name="Aurelien Domont" userId="6da7715ce44349b3" providerId="LiveId" clId="{AFF9B0D5-CA7D-40FB-964A-23276295459E}" dt="2021-07-06T05:08:56.517" v="6599" actId="207"/>
          <ac:spMkLst>
            <pc:docMk/>
            <pc:sldMk cId="1252826214" sldId="1711"/>
            <ac:spMk id="268" creationId="{BC2F61F0-0972-40B7-9276-EC3C84E67EEC}"/>
          </ac:spMkLst>
        </pc:spChg>
        <pc:spChg chg="mod">
          <ac:chgData name="Aurelien Domont" userId="6da7715ce44349b3" providerId="LiveId" clId="{AFF9B0D5-CA7D-40FB-964A-23276295459E}" dt="2021-07-06T05:08:56.517" v="6599" actId="207"/>
          <ac:spMkLst>
            <pc:docMk/>
            <pc:sldMk cId="1252826214" sldId="1711"/>
            <ac:spMk id="269" creationId="{B1E799A7-A53F-4DD0-A331-B920C5631522}"/>
          </ac:spMkLst>
        </pc:spChg>
        <pc:spChg chg="mod">
          <ac:chgData name="Aurelien Domont" userId="6da7715ce44349b3" providerId="LiveId" clId="{AFF9B0D5-CA7D-40FB-964A-23276295459E}" dt="2021-07-06T05:08:56.517" v="6599" actId="207"/>
          <ac:spMkLst>
            <pc:docMk/>
            <pc:sldMk cId="1252826214" sldId="1711"/>
            <ac:spMk id="270" creationId="{3BCCB7F3-0A69-4735-8804-EA1993676A85}"/>
          </ac:spMkLst>
        </pc:spChg>
        <pc:spChg chg="mod">
          <ac:chgData name="Aurelien Domont" userId="6da7715ce44349b3" providerId="LiveId" clId="{AFF9B0D5-CA7D-40FB-964A-23276295459E}" dt="2021-07-06T05:08:56.517" v="6599" actId="207"/>
          <ac:spMkLst>
            <pc:docMk/>
            <pc:sldMk cId="1252826214" sldId="1711"/>
            <ac:spMk id="271" creationId="{5E8B5FE5-FAF9-4831-92A3-85C56F6B10BA}"/>
          </ac:spMkLst>
        </pc:spChg>
        <pc:spChg chg="mod">
          <ac:chgData name="Aurelien Domont" userId="6da7715ce44349b3" providerId="LiveId" clId="{AFF9B0D5-CA7D-40FB-964A-23276295459E}" dt="2021-07-06T05:08:56.517" v="6599" actId="207"/>
          <ac:spMkLst>
            <pc:docMk/>
            <pc:sldMk cId="1252826214" sldId="1711"/>
            <ac:spMk id="272" creationId="{37313F0F-7032-46C5-AB40-4833F09656C9}"/>
          </ac:spMkLst>
        </pc:spChg>
        <pc:spChg chg="mod">
          <ac:chgData name="Aurelien Domont" userId="6da7715ce44349b3" providerId="LiveId" clId="{AFF9B0D5-CA7D-40FB-964A-23276295459E}" dt="2021-07-06T05:08:56.517" v="6599" actId="207"/>
          <ac:spMkLst>
            <pc:docMk/>
            <pc:sldMk cId="1252826214" sldId="1711"/>
            <ac:spMk id="273" creationId="{6E3F9E2E-887E-4711-8692-BB936FDF937E}"/>
          </ac:spMkLst>
        </pc:spChg>
        <pc:spChg chg="mod">
          <ac:chgData name="Aurelien Domont" userId="6da7715ce44349b3" providerId="LiveId" clId="{AFF9B0D5-CA7D-40FB-964A-23276295459E}" dt="2021-07-06T05:08:56.517" v="6599" actId="207"/>
          <ac:spMkLst>
            <pc:docMk/>
            <pc:sldMk cId="1252826214" sldId="1711"/>
            <ac:spMk id="274" creationId="{90E3737C-0897-45B0-80D4-8986F7FC090B}"/>
          </ac:spMkLst>
        </pc:spChg>
        <pc:spChg chg="mod">
          <ac:chgData name="Aurelien Domont" userId="6da7715ce44349b3" providerId="LiveId" clId="{AFF9B0D5-CA7D-40FB-964A-23276295459E}" dt="2021-07-06T05:08:56.517" v="6599" actId="207"/>
          <ac:spMkLst>
            <pc:docMk/>
            <pc:sldMk cId="1252826214" sldId="1711"/>
            <ac:spMk id="275" creationId="{AAA97107-21AF-4370-995C-0E31C43B175B}"/>
          </ac:spMkLst>
        </pc:spChg>
        <pc:spChg chg="mod">
          <ac:chgData name="Aurelien Domont" userId="6da7715ce44349b3" providerId="LiveId" clId="{AFF9B0D5-CA7D-40FB-964A-23276295459E}" dt="2021-07-06T05:08:56.517" v="6599" actId="207"/>
          <ac:spMkLst>
            <pc:docMk/>
            <pc:sldMk cId="1252826214" sldId="1711"/>
            <ac:spMk id="276" creationId="{28698661-DF5F-4315-8BCF-342C6DAABF32}"/>
          </ac:spMkLst>
        </pc:spChg>
        <pc:spChg chg="mod">
          <ac:chgData name="Aurelien Domont" userId="6da7715ce44349b3" providerId="LiveId" clId="{AFF9B0D5-CA7D-40FB-964A-23276295459E}" dt="2021-07-06T05:09:13.215" v="6601" actId="207"/>
          <ac:spMkLst>
            <pc:docMk/>
            <pc:sldMk cId="1252826214" sldId="1711"/>
            <ac:spMk id="277" creationId="{A8A5EE46-DA47-48F6-864D-98B8159A52FC}"/>
          </ac:spMkLst>
        </pc:spChg>
        <pc:spChg chg="mod">
          <ac:chgData name="Aurelien Domont" userId="6da7715ce44349b3" providerId="LiveId" clId="{AFF9B0D5-CA7D-40FB-964A-23276295459E}" dt="2021-07-06T05:09:13.215" v="6601" actId="207"/>
          <ac:spMkLst>
            <pc:docMk/>
            <pc:sldMk cId="1252826214" sldId="1711"/>
            <ac:spMk id="278" creationId="{76BA38E6-1527-4FB9-80F3-E9B24A94F66A}"/>
          </ac:spMkLst>
        </pc:spChg>
        <pc:spChg chg="mod">
          <ac:chgData name="Aurelien Domont" userId="6da7715ce44349b3" providerId="LiveId" clId="{AFF9B0D5-CA7D-40FB-964A-23276295459E}" dt="2021-07-06T05:09:13.215" v="6601" actId="207"/>
          <ac:spMkLst>
            <pc:docMk/>
            <pc:sldMk cId="1252826214" sldId="1711"/>
            <ac:spMk id="279" creationId="{F381E2CA-1129-48CE-9073-C55B7F5C8268}"/>
          </ac:spMkLst>
        </pc:spChg>
        <pc:spChg chg="mod">
          <ac:chgData name="Aurelien Domont" userId="6da7715ce44349b3" providerId="LiveId" clId="{AFF9B0D5-CA7D-40FB-964A-23276295459E}" dt="2021-07-06T05:09:13.215" v="6601" actId="207"/>
          <ac:spMkLst>
            <pc:docMk/>
            <pc:sldMk cId="1252826214" sldId="1711"/>
            <ac:spMk id="280" creationId="{2DB5D79A-F4D8-46D6-96C8-80E274FB4212}"/>
          </ac:spMkLst>
        </pc:spChg>
        <pc:spChg chg="mod">
          <ac:chgData name="Aurelien Domont" userId="6da7715ce44349b3" providerId="LiveId" clId="{AFF9B0D5-CA7D-40FB-964A-23276295459E}" dt="2021-07-06T05:09:13.215" v="6601" actId="207"/>
          <ac:spMkLst>
            <pc:docMk/>
            <pc:sldMk cId="1252826214" sldId="1711"/>
            <ac:spMk id="281" creationId="{A0DCC7A6-7BB9-4CA5-844A-ACA59AF55E84}"/>
          </ac:spMkLst>
        </pc:spChg>
        <pc:spChg chg="mod">
          <ac:chgData name="Aurelien Domont" userId="6da7715ce44349b3" providerId="LiveId" clId="{AFF9B0D5-CA7D-40FB-964A-23276295459E}" dt="2021-07-06T05:09:13.215" v="6601" actId="207"/>
          <ac:spMkLst>
            <pc:docMk/>
            <pc:sldMk cId="1252826214" sldId="1711"/>
            <ac:spMk id="282" creationId="{07D96F2F-FF99-4C3A-A04F-FF217CFF8FB5}"/>
          </ac:spMkLst>
        </pc:spChg>
        <pc:spChg chg="mod">
          <ac:chgData name="Aurelien Domont" userId="6da7715ce44349b3" providerId="LiveId" clId="{AFF9B0D5-CA7D-40FB-964A-23276295459E}" dt="2021-07-06T05:09:13.215" v="6601" actId="207"/>
          <ac:spMkLst>
            <pc:docMk/>
            <pc:sldMk cId="1252826214" sldId="1711"/>
            <ac:spMk id="283" creationId="{D60A68F1-1B93-4388-871C-FEC438998E4C}"/>
          </ac:spMkLst>
        </pc:spChg>
        <pc:spChg chg="mod">
          <ac:chgData name="Aurelien Domont" userId="6da7715ce44349b3" providerId="LiveId" clId="{AFF9B0D5-CA7D-40FB-964A-23276295459E}" dt="2021-07-06T05:09:13.215" v="6601" actId="207"/>
          <ac:spMkLst>
            <pc:docMk/>
            <pc:sldMk cId="1252826214" sldId="1711"/>
            <ac:spMk id="284" creationId="{4887EB1B-0474-493C-B8FC-9AFF74407019}"/>
          </ac:spMkLst>
        </pc:spChg>
        <pc:spChg chg="mod">
          <ac:chgData name="Aurelien Domont" userId="6da7715ce44349b3" providerId="LiveId" clId="{AFF9B0D5-CA7D-40FB-964A-23276295459E}" dt="2021-07-06T05:09:13.215" v="6601" actId="207"/>
          <ac:spMkLst>
            <pc:docMk/>
            <pc:sldMk cId="1252826214" sldId="1711"/>
            <ac:spMk id="285" creationId="{29C4ADEA-05C2-47D4-8A91-E4DF7FCB00DA}"/>
          </ac:spMkLst>
        </pc:spChg>
        <pc:spChg chg="mod">
          <ac:chgData name="Aurelien Domont" userId="6da7715ce44349b3" providerId="LiveId" clId="{AFF9B0D5-CA7D-40FB-964A-23276295459E}" dt="2021-07-06T05:09:13.215" v="6601" actId="207"/>
          <ac:spMkLst>
            <pc:docMk/>
            <pc:sldMk cId="1252826214" sldId="1711"/>
            <ac:spMk id="286" creationId="{FEEA61E1-3107-42E6-A4FE-66C4C48E7580}"/>
          </ac:spMkLst>
        </pc:spChg>
        <pc:spChg chg="mod">
          <ac:chgData name="Aurelien Domont" userId="6da7715ce44349b3" providerId="LiveId" clId="{AFF9B0D5-CA7D-40FB-964A-23276295459E}" dt="2021-07-06T05:09:13.215" v="6601" actId="207"/>
          <ac:spMkLst>
            <pc:docMk/>
            <pc:sldMk cId="1252826214" sldId="1711"/>
            <ac:spMk id="287" creationId="{08D5FF95-9C8B-4A2E-90AA-F4543DAD75D6}"/>
          </ac:spMkLst>
        </pc:spChg>
        <pc:spChg chg="mod">
          <ac:chgData name="Aurelien Domont" userId="6da7715ce44349b3" providerId="LiveId" clId="{AFF9B0D5-CA7D-40FB-964A-23276295459E}" dt="2021-07-06T05:09:13.215" v="6601" actId="207"/>
          <ac:spMkLst>
            <pc:docMk/>
            <pc:sldMk cId="1252826214" sldId="1711"/>
            <ac:spMk id="288" creationId="{452598D8-71D0-4298-B70D-98F0F0DA7BA4}"/>
          </ac:spMkLst>
        </pc:spChg>
        <pc:spChg chg="mod">
          <ac:chgData name="Aurelien Domont" userId="6da7715ce44349b3" providerId="LiveId" clId="{AFF9B0D5-CA7D-40FB-964A-23276295459E}" dt="2021-07-06T05:09:13.215" v="6601" actId="207"/>
          <ac:spMkLst>
            <pc:docMk/>
            <pc:sldMk cId="1252826214" sldId="1711"/>
            <ac:spMk id="289" creationId="{AFB61959-8813-4625-8709-EEFA33F4EC0C}"/>
          </ac:spMkLst>
        </pc:spChg>
        <pc:spChg chg="mod">
          <ac:chgData name="Aurelien Domont" userId="6da7715ce44349b3" providerId="LiveId" clId="{AFF9B0D5-CA7D-40FB-964A-23276295459E}" dt="2021-07-06T05:09:13.215" v="6601" actId="207"/>
          <ac:spMkLst>
            <pc:docMk/>
            <pc:sldMk cId="1252826214" sldId="1711"/>
            <ac:spMk id="290" creationId="{A79D43BA-E0DC-4B23-8D69-7E0A9859E876}"/>
          </ac:spMkLst>
        </pc:spChg>
        <pc:spChg chg="mod">
          <ac:chgData name="Aurelien Domont" userId="6da7715ce44349b3" providerId="LiveId" clId="{AFF9B0D5-CA7D-40FB-964A-23276295459E}" dt="2021-07-06T05:09:13.215" v="6601" actId="207"/>
          <ac:spMkLst>
            <pc:docMk/>
            <pc:sldMk cId="1252826214" sldId="1711"/>
            <ac:spMk id="291" creationId="{5CE3C608-4B79-45E1-96E9-1D3DB4FF8383}"/>
          </ac:spMkLst>
        </pc:spChg>
        <pc:spChg chg="mod">
          <ac:chgData name="Aurelien Domont" userId="6da7715ce44349b3" providerId="LiveId" clId="{AFF9B0D5-CA7D-40FB-964A-23276295459E}" dt="2021-07-06T05:09:13.215" v="6601" actId="207"/>
          <ac:spMkLst>
            <pc:docMk/>
            <pc:sldMk cId="1252826214" sldId="1711"/>
            <ac:spMk id="292" creationId="{FC1B405A-ED9D-4380-ABC7-B538AE14E53B}"/>
          </ac:spMkLst>
        </pc:spChg>
        <pc:spChg chg="mod">
          <ac:chgData name="Aurelien Domont" userId="6da7715ce44349b3" providerId="LiveId" clId="{AFF9B0D5-CA7D-40FB-964A-23276295459E}" dt="2021-07-06T05:09:13.215" v="6601" actId="207"/>
          <ac:spMkLst>
            <pc:docMk/>
            <pc:sldMk cId="1252826214" sldId="1711"/>
            <ac:spMk id="293" creationId="{EF082037-E064-42AF-98F0-9FE133DC1D09}"/>
          </ac:spMkLst>
        </pc:spChg>
        <pc:spChg chg="mod">
          <ac:chgData name="Aurelien Domont" userId="6da7715ce44349b3" providerId="LiveId" clId="{AFF9B0D5-CA7D-40FB-964A-23276295459E}" dt="2021-07-06T05:09:13.215" v="6601" actId="207"/>
          <ac:spMkLst>
            <pc:docMk/>
            <pc:sldMk cId="1252826214" sldId="1711"/>
            <ac:spMk id="294" creationId="{98B4C2FA-6767-429D-A4F4-A6C69BD8FB7F}"/>
          </ac:spMkLst>
        </pc:spChg>
        <pc:spChg chg="mod">
          <ac:chgData name="Aurelien Domont" userId="6da7715ce44349b3" providerId="LiveId" clId="{AFF9B0D5-CA7D-40FB-964A-23276295459E}" dt="2021-07-06T05:09:13.215" v="6601" actId="207"/>
          <ac:spMkLst>
            <pc:docMk/>
            <pc:sldMk cId="1252826214" sldId="1711"/>
            <ac:spMk id="295" creationId="{A1A87950-40EA-4DE8-8CE6-D33F454687B7}"/>
          </ac:spMkLst>
        </pc:spChg>
        <pc:spChg chg="mod">
          <ac:chgData name="Aurelien Domont" userId="6da7715ce44349b3" providerId="LiveId" clId="{AFF9B0D5-CA7D-40FB-964A-23276295459E}" dt="2021-07-06T05:08:56.517" v="6599" actId="207"/>
          <ac:spMkLst>
            <pc:docMk/>
            <pc:sldMk cId="1252826214" sldId="1711"/>
            <ac:spMk id="296" creationId="{E616D42A-88D3-4AFA-B922-1A7BE1904149}"/>
          </ac:spMkLst>
        </pc:spChg>
        <pc:spChg chg="mod">
          <ac:chgData name="Aurelien Domont" userId="6da7715ce44349b3" providerId="LiveId" clId="{AFF9B0D5-CA7D-40FB-964A-23276295459E}" dt="2021-07-06T05:08:56.517" v="6599" actId="207"/>
          <ac:spMkLst>
            <pc:docMk/>
            <pc:sldMk cId="1252826214" sldId="1711"/>
            <ac:spMk id="297" creationId="{D168F5C9-5033-4E6F-B8D5-D77E4D9D65CA}"/>
          </ac:spMkLst>
        </pc:spChg>
        <pc:spChg chg="mod">
          <ac:chgData name="Aurelien Domont" userId="6da7715ce44349b3" providerId="LiveId" clId="{AFF9B0D5-CA7D-40FB-964A-23276295459E}" dt="2021-07-06T05:08:56.517" v="6599" actId="207"/>
          <ac:spMkLst>
            <pc:docMk/>
            <pc:sldMk cId="1252826214" sldId="1711"/>
            <ac:spMk id="298" creationId="{065D8614-4825-4AE2-A869-FCEDF9F80387}"/>
          </ac:spMkLst>
        </pc:spChg>
        <pc:spChg chg="mod">
          <ac:chgData name="Aurelien Domont" userId="6da7715ce44349b3" providerId="LiveId" clId="{AFF9B0D5-CA7D-40FB-964A-23276295459E}" dt="2021-07-06T05:08:56.517" v="6599" actId="207"/>
          <ac:spMkLst>
            <pc:docMk/>
            <pc:sldMk cId="1252826214" sldId="1711"/>
            <ac:spMk id="299" creationId="{4C7AB524-CCE6-49F7-8D9F-30746B9B9D62}"/>
          </ac:spMkLst>
        </pc:spChg>
        <pc:spChg chg="mod">
          <ac:chgData name="Aurelien Domont" userId="6da7715ce44349b3" providerId="LiveId" clId="{AFF9B0D5-CA7D-40FB-964A-23276295459E}" dt="2021-07-06T05:08:56.517" v="6599" actId="207"/>
          <ac:spMkLst>
            <pc:docMk/>
            <pc:sldMk cId="1252826214" sldId="1711"/>
            <ac:spMk id="300" creationId="{61E8DEAF-BF42-4784-BF39-C0F679BA7A86}"/>
          </ac:spMkLst>
        </pc:spChg>
        <pc:spChg chg="mod">
          <ac:chgData name="Aurelien Domont" userId="6da7715ce44349b3" providerId="LiveId" clId="{AFF9B0D5-CA7D-40FB-964A-23276295459E}" dt="2021-07-06T05:08:56.517" v="6599" actId="207"/>
          <ac:spMkLst>
            <pc:docMk/>
            <pc:sldMk cId="1252826214" sldId="1711"/>
            <ac:spMk id="301" creationId="{A5A442D7-7A6D-433C-9527-B7571BBCA649}"/>
          </ac:spMkLst>
        </pc:spChg>
        <pc:spChg chg="mod">
          <ac:chgData name="Aurelien Domont" userId="6da7715ce44349b3" providerId="LiveId" clId="{AFF9B0D5-CA7D-40FB-964A-23276295459E}" dt="2021-07-06T05:08:56.517" v="6599" actId="207"/>
          <ac:spMkLst>
            <pc:docMk/>
            <pc:sldMk cId="1252826214" sldId="1711"/>
            <ac:spMk id="302" creationId="{06E97FF2-37BE-4107-8DF4-06835090D059}"/>
          </ac:spMkLst>
        </pc:spChg>
        <pc:spChg chg="mod">
          <ac:chgData name="Aurelien Domont" userId="6da7715ce44349b3" providerId="LiveId" clId="{AFF9B0D5-CA7D-40FB-964A-23276295459E}" dt="2021-07-06T05:08:56.517" v="6599" actId="207"/>
          <ac:spMkLst>
            <pc:docMk/>
            <pc:sldMk cId="1252826214" sldId="1711"/>
            <ac:spMk id="303" creationId="{119917EB-FAF9-4A69-9834-DE5882545533}"/>
          </ac:spMkLst>
        </pc:spChg>
        <pc:spChg chg="mod">
          <ac:chgData name="Aurelien Domont" userId="6da7715ce44349b3" providerId="LiveId" clId="{AFF9B0D5-CA7D-40FB-964A-23276295459E}" dt="2021-07-06T05:08:56.517" v="6599" actId="207"/>
          <ac:spMkLst>
            <pc:docMk/>
            <pc:sldMk cId="1252826214" sldId="1711"/>
            <ac:spMk id="304" creationId="{462EA357-C5B7-44F6-8117-D3DB0A519ECA}"/>
          </ac:spMkLst>
        </pc:spChg>
        <pc:spChg chg="mod">
          <ac:chgData name="Aurelien Domont" userId="6da7715ce44349b3" providerId="LiveId" clId="{AFF9B0D5-CA7D-40FB-964A-23276295459E}" dt="2021-07-06T05:08:56.517" v="6599" actId="207"/>
          <ac:spMkLst>
            <pc:docMk/>
            <pc:sldMk cId="1252826214" sldId="1711"/>
            <ac:spMk id="305" creationId="{098AFEE8-22B5-4E43-B129-CE9960213C1B}"/>
          </ac:spMkLst>
        </pc:spChg>
        <pc:spChg chg="mod">
          <ac:chgData name="Aurelien Domont" userId="6da7715ce44349b3" providerId="LiveId" clId="{AFF9B0D5-CA7D-40FB-964A-23276295459E}" dt="2021-07-06T05:08:56.517" v="6599" actId="207"/>
          <ac:spMkLst>
            <pc:docMk/>
            <pc:sldMk cId="1252826214" sldId="1711"/>
            <ac:spMk id="306" creationId="{3E5EA9B4-DB9C-405D-9FD4-7F1D0CA83BC1}"/>
          </ac:spMkLst>
        </pc:spChg>
        <pc:spChg chg="mod">
          <ac:chgData name="Aurelien Domont" userId="6da7715ce44349b3" providerId="LiveId" clId="{AFF9B0D5-CA7D-40FB-964A-23276295459E}" dt="2021-07-06T05:08:56.517" v="6599" actId="207"/>
          <ac:spMkLst>
            <pc:docMk/>
            <pc:sldMk cId="1252826214" sldId="1711"/>
            <ac:spMk id="307" creationId="{11F8D39E-1E72-4276-B038-5D7B3890BF3C}"/>
          </ac:spMkLst>
        </pc:spChg>
        <pc:spChg chg="mod">
          <ac:chgData name="Aurelien Domont" userId="6da7715ce44349b3" providerId="LiveId" clId="{AFF9B0D5-CA7D-40FB-964A-23276295459E}" dt="2021-07-06T05:08:56.517" v="6599" actId="207"/>
          <ac:spMkLst>
            <pc:docMk/>
            <pc:sldMk cId="1252826214" sldId="1711"/>
            <ac:spMk id="308" creationId="{C5FE9365-E531-4365-BF20-9C387F8AC370}"/>
          </ac:spMkLst>
        </pc:spChg>
        <pc:spChg chg="mod">
          <ac:chgData name="Aurelien Domont" userId="6da7715ce44349b3" providerId="LiveId" clId="{AFF9B0D5-CA7D-40FB-964A-23276295459E}" dt="2021-07-06T05:08:56.517" v="6599" actId="207"/>
          <ac:spMkLst>
            <pc:docMk/>
            <pc:sldMk cId="1252826214" sldId="1711"/>
            <ac:spMk id="309" creationId="{C6CFEC23-FB1C-422C-8850-A9DF28DD29A1}"/>
          </ac:spMkLst>
        </pc:spChg>
        <pc:spChg chg="mod">
          <ac:chgData name="Aurelien Domont" userId="6da7715ce44349b3" providerId="LiveId" clId="{AFF9B0D5-CA7D-40FB-964A-23276295459E}" dt="2021-07-06T05:08:56.517" v="6599" actId="207"/>
          <ac:spMkLst>
            <pc:docMk/>
            <pc:sldMk cId="1252826214" sldId="1711"/>
            <ac:spMk id="310" creationId="{9865E04F-27B7-4A50-AB15-D3AFFB9DDCD2}"/>
          </ac:spMkLst>
        </pc:spChg>
        <pc:spChg chg="mod">
          <ac:chgData name="Aurelien Domont" userId="6da7715ce44349b3" providerId="LiveId" clId="{AFF9B0D5-CA7D-40FB-964A-23276295459E}" dt="2021-07-06T05:08:56.517" v="6599" actId="207"/>
          <ac:spMkLst>
            <pc:docMk/>
            <pc:sldMk cId="1252826214" sldId="1711"/>
            <ac:spMk id="311" creationId="{12BC7B78-F9A4-46AE-9A03-75599873A321}"/>
          </ac:spMkLst>
        </pc:spChg>
        <pc:spChg chg="mod">
          <ac:chgData name="Aurelien Domont" userId="6da7715ce44349b3" providerId="LiveId" clId="{AFF9B0D5-CA7D-40FB-964A-23276295459E}" dt="2021-07-06T05:08:56.517" v="6599" actId="207"/>
          <ac:spMkLst>
            <pc:docMk/>
            <pc:sldMk cId="1252826214" sldId="1711"/>
            <ac:spMk id="312" creationId="{2D61C530-0987-4150-BD04-B19B59069CD4}"/>
          </ac:spMkLst>
        </pc:spChg>
        <pc:spChg chg="mod">
          <ac:chgData name="Aurelien Domont" userId="6da7715ce44349b3" providerId="LiveId" clId="{AFF9B0D5-CA7D-40FB-964A-23276295459E}" dt="2021-07-06T05:08:56.517" v="6599" actId="207"/>
          <ac:spMkLst>
            <pc:docMk/>
            <pc:sldMk cId="1252826214" sldId="1711"/>
            <ac:spMk id="313" creationId="{07423ACC-5271-41F0-A4B3-F19E45B9E606}"/>
          </ac:spMkLst>
        </pc:spChg>
        <pc:spChg chg="mod">
          <ac:chgData name="Aurelien Domont" userId="6da7715ce44349b3" providerId="LiveId" clId="{AFF9B0D5-CA7D-40FB-964A-23276295459E}" dt="2021-07-06T05:08:56.517" v="6599" actId="207"/>
          <ac:spMkLst>
            <pc:docMk/>
            <pc:sldMk cId="1252826214" sldId="1711"/>
            <ac:spMk id="314" creationId="{BF8DA816-36D4-4CB3-83E0-182B4D82AA35}"/>
          </ac:spMkLst>
        </pc:spChg>
        <pc:spChg chg="mod">
          <ac:chgData name="Aurelien Domont" userId="6da7715ce44349b3" providerId="LiveId" clId="{AFF9B0D5-CA7D-40FB-964A-23276295459E}" dt="2021-07-06T05:08:56.517" v="6599" actId="207"/>
          <ac:spMkLst>
            <pc:docMk/>
            <pc:sldMk cId="1252826214" sldId="1711"/>
            <ac:spMk id="315" creationId="{4BF65DA2-D11A-4E7E-AFC8-ABE0DD43E994}"/>
          </ac:spMkLst>
        </pc:spChg>
        <pc:spChg chg="add mod">
          <ac:chgData name="Aurelien Domont" userId="6da7715ce44349b3" providerId="LiveId" clId="{AFF9B0D5-CA7D-40FB-964A-23276295459E}" dt="2021-07-06T05:44:42.038" v="7159"/>
          <ac:spMkLst>
            <pc:docMk/>
            <pc:sldMk cId="1252826214" sldId="1711"/>
            <ac:spMk id="316" creationId="{E1807DFC-6E0A-41E9-BAC7-1EE85BC2BECF}"/>
          </ac:spMkLst>
        </pc:spChg>
        <pc:spChg chg="add mod">
          <ac:chgData name="Aurelien Domont" userId="6da7715ce44349b3" providerId="LiveId" clId="{AFF9B0D5-CA7D-40FB-964A-23276295459E}" dt="2021-07-06T05:24:01.143" v="6896" actId="1038"/>
          <ac:spMkLst>
            <pc:docMk/>
            <pc:sldMk cId="1252826214" sldId="1711"/>
            <ac:spMk id="317" creationId="{57846E48-217C-4B20-8EAA-F792C5644C39}"/>
          </ac:spMkLst>
        </pc:spChg>
        <pc:spChg chg="add mod">
          <ac:chgData name="Aurelien Domont" userId="6da7715ce44349b3" providerId="LiveId" clId="{AFF9B0D5-CA7D-40FB-964A-23276295459E}" dt="2021-07-06T05:24:01.143" v="6896" actId="1038"/>
          <ac:spMkLst>
            <pc:docMk/>
            <pc:sldMk cId="1252826214" sldId="1711"/>
            <ac:spMk id="318" creationId="{7DCF6023-52B1-4514-840B-3C2A31F07EAD}"/>
          </ac:spMkLst>
        </pc:spChg>
        <pc:spChg chg="add mod">
          <ac:chgData name="Aurelien Domont" userId="6da7715ce44349b3" providerId="LiveId" clId="{AFF9B0D5-CA7D-40FB-964A-23276295459E}" dt="2021-07-06T05:32:29.667" v="6997" actId="14100"/>
          <ac:spMkLst>
            <pc:docMk/>
            <pc:sldMk cId="1252826214" sldId="1711"/>
            <ac:spMk id="321" creationId="{D18F414A-28FD-4A65-AF72-CEB65BAF1E6A}"/>
          </ac:spMkLst>
        </pc:spChg>
        <pc:spChg chg="add mod">
          <ac:chgData name="Aurelien Domont" userId="6da7715ce44349b3" providerId="LiveId" clId="{AFF9B0D5-CA7D-40FB-964A-23276295459E}" dt="2021-07-06T05:43:56.066" v="7156" actId="20577"/>
          <ac:spMkLst>
            <pc:docMk/>
            <pc:sldMk cId="1252826214" sldId="1711"/>
            <ac:spMk id="322" creationId="{5CDF6503-1C7D-45A1-A8DF-D8E13276A75E}"/>
          </ac:spMkLst>
        </pc:spChg>
        <pc:grpChg chg="del mod">
          <ac:chgData name="Aurelien Domont" userId="6da7715ce44349b3" providerId="LiveId" clId="{AFF9B0D5-CA7D-40FB-964A-23276295459E}" dt="2021-07-06T05:08:39.844" v="6597" actId="165"/>
          <ac:grpSpMkLst>
            <pc:docMk/>
            <pc:sldMk cId="1252826214" sldId="1711"/>
            <ac:grpSpMk id="5" creationId="{E1447482-894C-464E-8369-E45953F9A502}"/>
          </ac:grpSpMkLst>
        </pc:grpChg>
        <pc:grpChg chg="mod topLvl">
          <ac:chgData name="Aurelien Domont" userId="6da7715ce44349b3" providerId="LiveId" clId="{AFF9B0D5-CA7D-40FB-964A-23276295459E}" dt="2021-07-06T05:11:34.229" v="6642" actId="1036"/>
          <ac:grpSpMkLst>
            <pc:docMk/>
            <pc:sldMk cId="1252826214" sldId="1711"/>
            <ac:grpSpMk id="47" creationId="{D5D4B5DC-3DE6-4CEF-A50A-EB4214B0D845}"/>
          </ac:grpSpMkLst>
        </pc:grpChg>
        <pc:grpChg chg="mod topLvl">
          <ac:chgData name="Aurelien Domont" userId="6da7715ce44349b3" providerId="LiveId" clId="{AFF9B0D5-CA7D-40FB-964A-23276295459E}" dt="2021-07-06T05:11:34.229" v="6642" actId="1036"/>
          <ac:grpSpMkLst>
            <pc:docMk/>
            <pc:sldMk cId="1252826214" sldId="1711"/>
            <ac:grpSpMk id="48" creationId="{8B8C279D-E2F4-4798-8175-CEB06BFC314D}"/>
          </ac:grpSpMkLst>
        </pc:grpChg>
        <pc:grpChg chg="mod topLvl">
          <ac:chgData name="Aurelien Domont" userId="6da7715ce44349b3" providerId="LiveId" clId="{AFF9B0D5-CA7D-40FB-964A-23276295459E}" dt="2021-07-06T05:11:34.229" v="6642" actId="1036"/>
          <ac:grpSpMkLst>
            <pc:docMk/>
            <pc:sldMk cId="1252826214" sldId="1711"/>
            <ac:grpSpMk id="50" creationId="{AFEC8AB4-05F2-43B8-8A6C-7730F04CFC06}"/>
          </ac:grpSpMkLst>
        </pc:grpChg>
        <pc:grpChg chg="mod topLvl">
          <ac:chgData name="Aurelien Domont" userId="6da7715ce44349b3" providerId="LiveId" clId="{AFF9B0D5-CA7D-40FB-964A-23276295459E}" dt="2021-07-06T05:11:34.229" v="6642" actId="1036"/>
          <ac:grpSpMkLst>
            <pc:docMk/>
            <pc:sldMk cId="1252826214" sldId="1711"/>
            <ac:grpSpMk id="57" creationId="{012B866A-76DE-480D-B8A6-60E2A070C914}"/>
          </ac:grpSpMkLst>
        </pc:grpChg>
        <pc:grpChg chg="mod topLvl">
          <ac:chgData name="Aurelien Domont" userId="6da7715ce44349b3" providerId="LiveId" clId="{AFF9B0D5-CA7D-40FB-964A-23276295459E}" dt="2021-07-06T05:11:34.229" v="6642" actId="1036"/>
          <ac:grpSpMkLst>
            <pc:docMk/>
            <pc:sldMk cId="1252826214" sldId="1711"/>
            <ac:grpSpMk id="61" creationId="{3284F7B8-57FE-4081-8B8F-001F664C8474}"/>
          </ac:grpSpMkLst>
        </pc:grpChg>
        <pc:grpChg chg="mod topLvl">
          <ac:chgData name="Aurelien Domont" userId="6da7715ce44349b3" providerId="LiveId" clId="{AFF9B0D5-CA7D-40FB-964A-23276295459E}" dt="2021-07-06T05:11:34.229" v="6642" actId="1036"/>
          <ac:grpSpMkLst>
            <pc:docMk/>
            <pc:sldMk cId="1252826214" sldId="1711"/>
            <ac:grpSpMk id="65" creationId="{F77E394B-8C62-4B0F-B274-008D38043D9A}"/>
          </ac:grpSpMkLst>
        </pc:grpChg>
        <pc:grpChg chg="mod topLvl">
          <ac:chgData name="Aurelien Domont" userId="6da7715ce44349b3" providerId="LiveId" clId="{AFF9B0D5-CA7D-40FB-964A-23276295459E}" dt="2021-07-06T05:11:34.229" v="6642" actId="1036"/>
          <ac:grpSpMkLst>
            <pc:docMk/>
            <pc:sldMk cId="1252826214" sldId="1711"/>
            <ac:grpSpMk id="72" creationId="{A36B7DC4-1B53-4416-8305-AD78F046273A}"/>
          </ac:grpSpMkLst>
        </pc:grpChg>
        <pc:grpChg chg="mod topLvl">
          <ac:chgData name="Aurelien Domont" userId="6da7715ce44349b3" providerId="LiveId" clId="{AFF9B0D5-CA7D-40FB-964A-23276295459E}" dt="2021-07-06T05:11:34.229" v="6642" actId="1036"/>
          <ac:grpSpMkLst>
            <pc:docMk/>
            <pc:sldMk cId="1252826214" sldId="1711"/>
            <ac:grpSpMk id="74" creationId="{9BD7B3BD-D790-4305-84E7-5A72B29158D7}"/>
          </ac:grpSpMkLst>
        </pc:grpChg>
        <pc:grpChg chg="mod topLvl">
          <ac:chgData name="Aurelien Domont" userId="6da7715ce44349b3" providerId="LiveId" clId="{AFF9B0D5-CA7D-40FB-964A-23276295459E}" dt="2021-07-06T05:11:34.229" v="6642" actId="1036"/>
          <ac:grpSpMkLst>
            <pc:docMk/>
            <pc:sldMk cId="1252826214" sldId="1711"/>
            <ac:grpSpMk id="75" creationId="{794F3FAD-552B-4F54-B292-3C9EFB594DE8}"/>
          </ac:grpSpMkLst>
        </pc:grpChg>
        <pc:grpChg chg="mod topLvl">
          <ac:chgData name="Aurelien Domont" userId="6da7715ce44349b3" providerId="LiveId" clId="{AFF9B0D5-CA7D-40FB-964A-23276295459E}" dt="2021-07-06T05:11:34.229" v="6642" actId="1036"/>
          <ac:grpSpMkLst>
            <pc:docMk/>
            <pc:sldMk cId="1252826214" sldId="1711"/>
            <ac:grpSpMk id="90" creationId="{9CCE8B22-9644-4C67-9A90-6B439FFBAE2D}"/>
          </ac:grpSpMkLst>
        </pc:grpChg>
        <pc:grpChg chg="mod topLvl">
          <ac:chgData name="Aurelien Domont" userId="6da7715ce44349b3" providerId="LiveId" clId="{AFF9B0D5-CA7D-40FB-964A-23276295459E}" dt="2021-07-06T05:11:34.229" v="6642" actId="1036"/>
          <ac:grpSpMkLst>
            <pc:docMk/>
            <pc:sldMk cId="1252826214" sldId="1711"/>
            <ac:grpSpMk id="153" creationId="{DE3B1FBB-4F24-4945-9D06-9819C9B568DC}"/>
          </ac:grpSpMkLst>
        </pc:grpChg>
        <pc:grpChg chg="mod topLvl">
          <ac:chgData name="Aurelien Domont" userId="6da7715ce44349b3" providerId="LiveId" clId="{AFF9B0D5-CA7D-40FB-964A-23276295459E}" dt="2021-07-06T05:11:34.229" v="6642" actId="1036"/>
          <ac:grpSpMkLst>
            <pc:docMk/>
            <pc:sldMk cId="1252826214" sldId="1711"/>
            <ac:grpSpMk id="155" creationId="{ACD6C047-D92B-451C-881A-8F071319D4E8}"/>
          </ac:grpSpMkLst>
        </pc:grpChg>
        <pc:grpChg chg="mod topLvl">
          <ac:chgData name="Aurelien Domont" userId="6da7715ce44349b3" providerId="LiveId" clId="{AFF9B0D5-CA7D-40FB-964A-23276295459E}" dt="2021-07-06T05:11:34.229" v="6642" actId="1036"/>
          <ac:grpSpMkLst>
            <pc:docMk/>
            <pc:sldMk cId="1252826214" sldId="1711"/>
            <ac:grpSpMk id="157" creationId="{1E8CE4FC-8542-4C58-AEAC-96EB4CD31F91}"/>
          </ac:grpSpMkLst>
        </pc:grpChg>
        <pc:grpChg chg="mod topLvl">
          <ac:chgData name="Aurelien Domont" userId="6da7715ce44349b3" providerId="LiveId" clId="{AFF9B0D5-CA7D-40FB-964A-23276295459E}" dt="2021-07-06T05:11:34.229" v="6642" actId="1036"/>
          <ac:grpSpMkLst>
            <pc:docMk/>
            <pc:sldMk cId="1252826214" sldId="1711"/>
            <ac:grpSpMk id="159" creationId="{155A94F1-B6C3-4A95-9ED1-AF256CBD2141}"/>
          </ac:grpSpMkLst>
        </pc:grpChg>
        <pc:grpChg chg="mod topLvl">
          <ac:chgData name="Aurelien Domont" userId="6da7715ce44349b3" providerId="LiveId" clId="{AFF9B0D5-CA7D-40FB-964A-23276295459E}" dt="2021-07-06T05:11:34.229" v="6642" actId="1036"/>
          <ac:grpSpMkLst>
            <pc:docMk/>
            <pc:sldMk cId="1252826214" sldId="1711"/>
            <ac:grpSpMk id="170" creationId="{80B637A0-BA7C-425C-A0AF-B3E80B4AEC83}"/>
          </ac:grpSpMkLst>
        </pc:grpChg>
        <pc:graphicFrameChg chg="del">
          <ac:chgData name="Aurelien Domont" userId="6da7715ce44349b3" providerId="LiveId" clId="{AFF9B0D5-CA7D-40FB-964A-23276295459E}" dt="2021-07-06T05:17:50.403" v="6724" actId="478"/>
          <ac:graphicFrameMkLst>
            <pc:docMk/>
            <pc:sldMk cId="1252826214" sldId="1711"/>
            <ac:graphicFrameMk id="316" creationId="{DF34D884-0651-41A8-8F46-723764D3A3C0}"/>
          </ac:graphicFrameMkLst>
        </pc:graphicFrameChg>
        <pc:picChg chg="add del mod modCrop">
          <ac:chgData name="Aurelien Domont" userId="6da7715ce44349b3" providerId="LiveId" clId="{AFF9B0D5-CA7D-40FB-964A-23276295459E}" dt="2021-07-06T05:15:06.168" v="6682" actId="478"/>
          <ac:picMkLst>
            <pc:docMk/>
            <pc:sldMk cId="1252826214" sldId="1711"/>
            <ac:picMk id="4" creationId="{1617515F-40A1-42BD-9898-311815AACDC9}"/>
          </ac:picMkLst>
        </pc:picChg>
        <pc:picChg chg="add del mod">
          <ac:chgData name="Aurelien Domont" userId="6da7715ce44349b3" providerId="LiveId" clId="{AFF9B0D5-CA7D-40FB-964A-23276295459E}" dt="2021-07-06T05:14:44.128" v="6680" actId="27803"/>
          <ac:picMkLst>
            <pc:docMk/>
            <pc:sldMk cId="1252826214" sldId="1711"/>
            <ac:picMk id="8" creationId="{71937F58-B9F0-481F-8FE4-CB6A95D57416}"/>
          </ac:picMkLst>
        </pc:picChg>
        <pc:picChg chg="add mod modCrop">
          <ac:chgData name="Aurelien Domont" userId="6da7715ce44349b3" providerId="LiveId" clId="{AFF9B0D5-CA7D-40FB-964A-23276295459E}" dt="2021-07-06T05:24:01.143" v="6896" actId="1038"/>
          <ac:picMkLst>
            <pc:docMk/>
            <pc:sldMk cId="1252826214" sldId="1711"/>
            <ac:picMk id="10" creationId="{A0DB830C-4F68-4EF8-8A4E-2C8D67FD264F}"/>
          </ac:picMkLst>
        </pc:picChg>
        <pc:picChg chg="add del">
          <ac:chgData name="Aurelien Domont" userId="6da7715ce44349b3" providerId="LiveId" clId="{AFF9B0D5-CA7D-40FB-964A-23276295459E}" dt="2021-07-06T05:20:10.955" v="6827" actId="478"/>
          <ac:picMkLst>
            <pc:docMk/>
            <pc:sldMk cId="1252826214" sldId="1711"/>
            <ac:picMk id="14" creationId="{0878B37C-E951-4771-8BB6-E3C405EE0F91}"/>
          </ac:picMkLst>
        </pc:picChg>
        <pc:picChg chg="add del mod">
          <ac:chgData name="Aurelien Domont" userId="6da7715ce44349b3" providerId="LiveId" clId="{AFF9B0D5-CA7D-40FB-964A-23276295459E}" dt="2021-07-06T05:27:26.121" v="6974" actId="478"/>
          <ac:picMkLst>
            <pc:docMk/>
            <pc:sldMk cId="1252826214" sldId="1711"/>
            <ac:picMk id="17" creationId="{745481CC-4F1B-4397-91A1-375C76629B98}"/>
          </ac:picMkLst>
        </pc:picChg>
        <pc:picChg chg="add del mod">
          <ac:chgData name="Aurelien Domont" userId="6da7715ce44349b3" providerId="LiveId" clId="{AFF9B0D5-CA7D-40FB-964A-23276295459E}" dt="2021-07-06T05:27:27.943" v="6975" actId="478"/>
          <ac:picMkLst>
            <pc:docMk/>
            <pc:sldMk cId="1252826214" sldId="1711"/>
            <ac:picMk id="19" creationId="{B65134DD-5D76-4F71-AA28-B9BABC8A51A0}"/>
          </ac:picMkLst>
        </pc:picChg>
        <pc:picChg chg="add del mod">
          <ac:chgData name="Aurelien Domont" userId="6da7715ce44349b3" providerId="LiveId" clId="{AFF9B0D5-CA7D-40FB-964A-23276295459E}" dt="2021-07-06T05:27:23.285" v="6973" actId="478"/>
          <ac:picMkLst>
            <pc:docMk/>
            <pc:sldMk cId="1252826214" sldId="1711"/>
            <ac:picMk id="21" creationId="{982BB652-0027-477D-8558-0FABC8A1E3A7}"/>
          </ac:picMkLst>
        </pc:picChg>
        <pc:picChg chg="add del mod">
          <ac:chgData name="Aurelien Domont" userId="6da7715ce44349b3" providerId="LiveId" clId="{AFF9B0D5-CA7D-40FB-964A-23276295459E}" dt="2021-07-06T05:28:04.591" v="6977" actId="478"/>
          <ac:picMkLst>
            <pc:docMk/>
            <pc:sldMk cId="1252826214" sldId="1711"/>
            <ac:picMk id="23" creationId="{BC5CCD4E-9C88-43D4-8202-2C712891DE75}"/>
          </ac:picMkLst>
        </pc:picChg>
        <pc:picChg chg="add del mod">
          <ac:chgData name="Aurelien Domont" userId="6da7715ce44349b3" providerId="LiveId" clId="{AFF9B0D5-CA7D-40FB-964A-23276295459E}" dt="2021-07-06T05:27:23.285" v="6973" actId="478"/>
          <ac:picMkLst>
            <pc:docMk/>
            <pc:sldMk cId="1252826214" sldId="1711"/>
            <ac:picMk id="46" creationId="{62503EAF-1CD5-4831-B10E-F8ECE226C14A}"/>
          </ac:picMkLst>
        </pc:picChg>
        <pc:picChg chg="add mod modCrop">
          <ac:chgData name="Aurelien Domont" userId="6da7715ce44349b3" providerId="LiveId" clId="{AFF9B0D5-CA7D-40FB-964A-23276295459E}" dt="2021-07-06T05:26:44.846" v="6961" actId="1036"/>
          <ac:picMkLst>
            <pc:docMk/>
            <pc:sldMk cId="1252826214" sldId="1711"/>
            <ac:picMk id="320" creationId="{CA5C0783-F7AB-4755-937B-E03E5BC4DC33}"/>
          </ac:picMkLst>
        </pc:picChg>
      </pc:sldChg>
      <pc:sldChg chg="addSp delSp modSp mod">
        <pc:chgData name="Aurelien Domont" userId="6da7715ce44349b3" providerId="LiveId" clId="{AFF9B0D5-CA7D-40FB-964A-23276295459E}" dt="2021-07-06T01:17:27.472" v="5738" actId="20577"/>
        <pc:sldMkLst>
          <pc:docMk/>
          <pc:sldMk cId="317099162" sldId="1749"/>
        </pc:sldMkLst>
        <pc:spChg chg="add mod">
          <ac:chgData name="Aurelien Domont" userId="6da7715ce44349b3" providerId="LiveId" clId="{AFF9B0D5-CA7D-40FB-964A-23276295459E}" dt="2021-07-02T05:59:43.413" v="2254" actId="1035"/>
          <ac:spMkLst>
            <pc:docMk/>
            <pc:sldMk cId="317099162" sldId="1749"/>
            <ac:spMk id="3" creationId="{769F5309-76A5-4DB3-A4CB-2C8F568AB01D}"/>
          </ac:spMkLst>
        </pc:spChg>
        <pc:spChg chg="add mod">
          <ac:chgData name="Aurelien Domont" userId="6da7715ce44349b3" providerId="LiveId" clId="{AFF9B0D5-CA7D-40FB-964A-23276295459E}" dt="2021-06-30T06:09:13.186" v="129"/>
          <ac:spMkLst>
            <pc:docMk/>
            <pc:sldMk cId="317099162" sldId="1749"/>
            <ac:spMk id="5" creationId="{3AA7B8AD-E6F9-4E25-A3A4-71D021032612}"/>
          </ac:spMkLst>
        </pc:spChg>
        <pc:spChg chg="add del mod">
          <ac:chgData name="Aurelien Domont" userId="6da7715ce44349b3" providerId="LiveId" clId="{AFF9B0D5-CA7D-40FB-964A-23276295459E}" dt="2021-07-02T05:50:16.562" v="1723" actId="478"/>
          <ac:spMkLst>
            <pc:docMk/>
            <pc:sldMk cId="317099162" sldId="1749"/>
            <ac:spMk id="6" creationId="{38F44941-AA59-4703-B58D-530066FB98C2}"/>
          </ac:spMkLst>
        </pc:spChg>
        <pc:spChg chg="del mod topLvl">
          <ac:chgData name="Aurelien Domont" userId="6da7715ce44349b3" providerId="LiveId" clId="{AFF9B0D5-CA7D-40FB-964A-23276295459E}" dt="2021-06-30T06:17:13.443" v="209" actId="478"/>
          <ac:spMkLst>
            <pc:docMk/>
            <pc:sldMk cId="317099162" sldId="1749"/>
            <ac:spMk id="7" creationId="{8A32D480-0877-4E79-9110-6B83080AC953}"/>
          </ac:spMkLst>
        </pc:spChg>
        <pc:spChg chg="del mod topLvl">
          <ac:chgData name="Aurelien Domont" userId="6da7715ce44349b3" providerId="LiveId" clId="{AFF9B0D5-CA7D-40FB-964A-23276295459E}" dt="2021-06-30T06:17:17.246" v="210" actId="478"/>
          <ac:spMkLst>
            <pc:docMk/>
            <pc:sldMk cId="317099162" sldId="1749"/>
            <ac:spMk id="8" creationId="{46918508-1A75-44FD-8B01-FDA0FF18E025}"/>
          </ac:spMkLst>
        </pc:spChg>
        <pc:spChg chg="add del mod topLvl">
          <ac:chgData name="Aurelien Domont" userId="6da7715ce44349b3" providerId="LiveId" clId="{AFF9B0D5-CA7D-40FB-964A-23276295459E}" dt="2021-06-30T06:24:56.780" v="292" actId="478"/>
          <ac:spMkLst>
            <pc:docMk/>
            <pc:sldMk cId="317099162" sldId="1749"/>
            <ac:spMk id="9" creationId="{1D174EE8-1E55-4025-BFC8-FE6A257BF90E}"/>
          </ac:spMkLst>
        </pc:spChg>
        <pc:spChg chg="add del mod topLvl">
          <ac:chgData name="Aurelien Domont" userId="6da7715ce44349b3" providerId="LiveId" clId="{AFF9B0D5-CA7D-40FB-964A-23276295459E}" dt="2021-06-30T06:24:56.780" v="292" actId="478"/>
          <ac:spMkLst>
            <pc:docMk/>
            <pc:sldMk cId="317099162" sldId="1749"/>
            <ac:spMk id="10" creationId="{7C0AAF82-128F-47B7-ABC2-AA30B23F33D1}"/>
          </ac:spMkLst>
        </pc:spChg>
        <pc:spChg chg="add del mod topLvl">
          <ac:chgData name="Aurelien Domont" userId="6da7715ce44349b3" providerId="LiveId" clId="{AFF9B0D5-CA7D-40FB-964A-23276295459E}" dt="2021-06-30T06:24:56.780" v="292" actId="478"/>
          <ac:spMkLst>
            <pc:docMk/>
            <pc:sldMk cId="317099162" sldId="1749"/>
            <ac:spMk id="11" creationId="{E3044FE5-1B15-42EB-B21C-60066BE4A2F4}"/>
          </ac:spMkLst>
        </pc:spChg>
        <pc:spChg chg="add del mod topLvl">
          <ac:chgData name="Aurelien Domont" userId="6da7715ce44349b3" providerId="LiveId" clId="{AFF9B0D5-CA7D-40FB-964A-23276295459E}" dt="2021-06-30T06:24:56.780" v="292" actId="478"/>
          <ac:spMkLst>
            <pc:docMk/>
            <pc:sldMk cId="317099162" sldId="1749"/>
            <ac:spMk id="12" creationId="{32589ACC-367A-4FC4-AF85-D207DC2C0B91}"/>
          </ac:spMkLst>
        </pc:spChg>
        <pc:spChg chg="del mod">
          <ac:chgData name="Aurelien Domont" userId="6da7715ce44349b3" providerId="LiveId" clId="{AFF9B0D5-CA7D-40FB-964A-23276295459E}" dt="2021-06-30T06:46:52.584" v="1136" actId="478"/>
          <ac:spMkLst>
            <pc:docMk/>
            <pc:sldMk cId="317099162" sldId="1749"/>
            <ac:spMk id="14" creationId="{58BC295C-D6CC-4682-B176-A5677EB177D0}"/>
          </ac:spMkLst>
        </pc:spChg>
        <pc:spChg chg="mod">
          <ac:chgData name="Aurelien Domont" userId="6da7715ce44349b3" providerId="LiveId" clId="{AFF9B0D5-CA7D-40FB-964A-23276295459E}" dt="2021-07-02T06:46:06.630" v="3985" actId="404"/>
          <ac:spMkLst>
            <pc:docMk/>
            <pc:sldMk cId="317099162" sldId="1749"/>
            <ac:spMk id="16" creationId="{6C2BB713-9637-4B9B-938F-E9768876782A}"/>
          </ac:spMkLst>
        </pc:spChg>
        <pc:spChg chg="add del mod">
          <ac:chgData name="Aurelien Domont" userId="6da7715ce44349b3" providerId="LiveId" clId="{AFF9B0D5-CA7D-40FB-964A-23276295459E}" dt="2021-06-30T06:24:53.540" v="289" actId="478"/>
          <ac:spMkLst>
            <pc:docMk/>
            <pc:sldMk cId="317099162" sldId="1749"/>
            <ac:spMk id="17" creationId="{D0004D55-5570-420F-BBFC-2C286064638E}"/>
          </ac:spMkLst>
        </pc:spChg>
        <pc:spChg chg="add mod">
          <ac:chgData name="Aurelien Domont" userId="6da7715ce44349b3" providerId="LiveId" clId="{AFF9B0D5-CA7D-40FB-964A-23276295459E}" dt="2021-06-30T06:47:02.430" v="1143" actId="404"/>
          <ac:spMkLst>
            <pc:docMk/>
            <pc:sldMk cId="317099162" sldId="1749"/>
            <ac:spMk id="18" creationId="{6A4FD3FA-039A-4E8B-872F-7E94A478556E}"/>
          </ac:spMkLst>
        </pc:spChg>
        <pc:spChg chg="add mod">
          <ac:chgData name="Aurelien Domont" userId="6da7715ce44349b3" providerId="LiveId" clId="{AFF9B0D5-CA7D-40FB-964A-23276295459E}" dt="2021-06-30T06:47:02.430" v="1143" actId="404"/>
          <ac:spMkLst>
            <pc:docMk/>
            <pc:sldMk cId="317099162" sldId="1749"/>
            <ac:spMk id="19" creationId="{B01C17D3-8B6E-4877-B7C4-A6B064E2BED5}"/>
          </ac:spMkLst>
        </pc:spChg>
        <pc:spChg chg="add mod">
          <ac:chgData name="Aurelien Domont" userId="6da7715ce44349b3" providerId="LiveId" clId="{AFF9B0D5-CA7D-40FB-964A-23276295459E}" dt="2021-06-30T06:53:25.942" v="1302" actId="1038"/>
          <ac:spMkLst>
            <pc:docMk/>
            <pc:sldMk cId="317099162" sldId="1749"/>
            <ac:spMk id="20" creationId="{98DD0F28-7422-4888-8C0E-8FB3B2B1F231}"/>
          </ac:spMkLst>
        </pc:spChg>
        <pc:spChg chg="add mod">
          <ac:chgData name="Aurelien Domont" userId="6da7715ce44349b3" providerId="LiveId" clId="{AFF9B0D5-CA7D-40FB-964A-23276295459E}" dt="2021-06-30T06:47:02.430" v="1143" actId="404"/>
          <ac:spMkLst>
            <pc:docMk/>
            <pc:sldMk cId="317099162" sldId="1749"/>
            <ac:spMk id="21" creationId="{DC6B8FF9-CDA5-48AE-8294-E77982A8E227}"/>
          </ac:spMkLst>
        </pc:spChg>
        <pc:spChg chg="add mod">
          <ac:chgData name="Aurelien Domont" userId="6da7715ce44349b3" providerId="LiveId" clId="{AFF9B0D5-CA7D-40FB-964A-23276295459E}" dt="2021-06-30T06:47:02.430" v="1143" actId="404"/>
          <ac:spMkLst>
            <pc:docMk/>
            <pc:sldMk cId="317099162" sldId="1749"/>
            <ac:spMk id="22" creationId="{F8D0F352-FDC6-4412-B206-9B2271E69C51}"/>
          </ac:spMkLst>
        </pc:spChg>
        <pc:spChg chg="add mod">
          <ac:chgData name="Aurelien Domont" userId="6da7715ce44349b3" providerId="LiveId" clId="{AFF9B0D5-CA7D-40FB-964A-23276295459E}" dt="2021-06-30T06:53:45.206" v="1306" actId="20577"/>
          <ac:spMkLst>
            <pc:docMk/>
            <pc:sldMk cId="317099162" sldId="1749"/>
            <ac:spMk id="23" creationId="{8DAD1C28-1E93-42EA-91B9-6825760F69DF}"/>
          </ac:spMkLst>
        </pc:spChg>
        <pc:spChg chg="add mod">
          <ac:chgData name="Aurelien Domont" userId="6da7715ce44349b3" providerId="LiveId" clId="{AFF9B0D5-CA7D-40FB-964A-23276295459E}" dt="2021-06-30T06:47:02.430" v="1143" actId="404"/>
          <ac:spMkLst>
            <pc:docMk/>
            <pc:sldMk cId="317099162" sldId="1749"/>
            <ac:spMk id="24" creationId="{53D7E43D-3C96-4369-B11A-91EC34AEB43A}"/>
          </ac:spMkLst>
        </pc:spChg>
        <pc:spChg chg="add mod">
          <ac:chgData name="Aurelien Domont" userId="6da7715ce44349b3" providerId="LiveId" clId="{AFF9B0D5-CA7D-40FB-964A-23276295459E}" dt="2021-06-30T07:01:43.646" v="1592" actId="20577"/>
          <ac:spMkLst>
            <pc:docMk/>
            <pc:sldMk cId="317099162" sldId="1749"/>
            <ac:spMk id="25" creationId="{5ADD7AB3-5C39-4CAE-8D5E-9950082CCB96}"/>
          </ac:spMkLst>
        </pc:spChg>
        <pc:spChg chg="add mod">
          <ac:chgData name="Aurelien Domont" userId="6da7715ce44349b3" providerId="LiveId" clId="{AFF9B0D5-CA7D-40FB-964A-23276295459E}" dt="2021-06-30T06:57:18.107" v="1411" actId="20577"/>
          <ac:spMkLst>
            <pc:docMk/>
            <pc:sldMk cId="317099162" sldId="1749"/>
            <ac:spMk id="26" creationId="{626A743B-E42B-485A-BA62-DB037C0E1E9F}"/>
          </ac:spMkLst>
        </pc:spChg>
        <pc:spChg chg="add mod">
          <ac:chgData name="Aurelien Domont" userId="6da7715ce44349b3" providerId="LiveId" clId="{AFF9B0D5-CA7D-40FB-964A-23276295459E}" dt="2021-07-02T05:54:34.534" v="1907" actId="108"/>
          <ac:spMkLst>
            <pc:docMk/>
            <pc:sldMk cId="317099162" sldId="1749"/>
            <ac:spMk id="27" creationId="{37CA4A46-562F-4AE0-B6A4-943D1FEC8097}"/>
          </ac:spMkLst>
        </pc:spChg>
        <pc:spChg chg="add mod">
          <ac:chgData name="Aurelien Domont" userId="6da7715ce44349b3" providerId="LiveId" clId="{AFF9B0D5-CA7D-40FB-964A-23276295459E}" dt="2021-06-30T06:56:28.477" v="1408" actId="20577"/>
          <ac:spMkLst>
            <pc:docMk/>
            <pc:sldMk cId="317099162" sldId="1749"/>
            <ac:spMk id="28" creationId="{8B079231-0813-4E09-8181-D62AEC52E2CC}"/>
          </ac:spMkLst>
        </pc:spChg>
        <pc:spChg chg="add mod">
          <ac:chgData name="Aurelien Domont" userId="6da7715ce44349b3" providerId="LiveId" clId="{AFF9B0D5-CA7D-40FB-964A-23276295459E}" dt="2021-07-02T05:59:47.445" v="2264" actId="1035"/>
          <ac:spMkLst>
            <pc:docMk/>
            <pc:sldMk cId="317099162" sldId="1749"/>
            <ac:spMk id="29" creationId="{F1ABDDA1-7406-4A3A-8D68-EEEA79F76892}"/>
          </ac:spMkLst>
        </pc:spChg>
        <pc:spChg chg="add mod">
          <ac:chgData name="Aurelien Domont" userId="6da7715ce44349b3" providerId="LiveId" clId="{AFF9B0D5-CA7D-40FB-964A-23276295459E}" dt="2021-07-06T01:17:27.472" v="5738" actId="20577"/>
          <ac:spMkLst>
            <pc:docMk/>
            <pc:sldMk cId="317099162" sldId="1749"/>
            <ac:spMk id="30" creationId="{A3A42F54-587B-4C2E-93F0-14AB9DDD5309}"/>
          </ac:spMkLst>
        </pc:spChg>
        <pc:spChg chg="add del mod">
          <ac:chgData name="Aurelien Domont" userId="6da7715ce44349b3" providerId="LiveId" clId="{AFF9B0D5-CA7D-40FB-964A-23276295459E}" dt="2021-07-02T05:50:16.562" v="1723" actId="478"/>
          <ac:spMkLst>
            <pc:docMk/>
            <pc:sldMk cId="317099162" sldId="1749"/>
            <ac:spMk id="31" creationId="{2F376F92-8F4F-4920-9588-50D769078EF1}"/>
          </ac:spMkLst>
        </pc:spChg>
        <pc:spChg chg="add mod">
          <ac:chgData name="Aurelien Domont" userId="6da7715ce44349b3" providerId="LiveId" clId="{AFF9B0D5-CA7D-40FB-964A-23276295459E}" dt="2021-07-06T01:16:36.661" v="5705" actId="20577"/>
          <ac:spMkLst>
            <pc:docMk/>
            <pc:sldMk cId="317099162" sldId="1749"/>
            <ac:spMk id="32" creationId="{EE6F0BF2-DC75-49E9-A69A-A91D25E3574E}"/>
          </ac:spMkLst>
        </pc:spChg>
        <pc:grpChg chg="add del mod">
          <ac:chgData name="Aurelien Domont" userId="6da7715ce44349b3" providerId="LiveId" clId="{AFF9B0D5-CA7D-40FB-964A-23276295459E}" dt="2021-06-30T06:17:10.273" v="208" actId="165"/>
          <ac:grpSpMkLst>
            <pc:docMk/>
            <pc:sldMk cId="317099162" sldId="1749"/>
            <ac:grpSpMk id="2" creationId="{910845D7-6328-4DD2-ADE3-005E7DE306DE}"/>
          </ac:grpSpMkLst>
        </pc:grpChg>
        <pc:grpChg chg="add mod">
          <ac:chgData name="Aurelien Domont" userId="6da7715ce44349b3" providerId="LiveId" clId="{AFF9B0D5-CA7D-40FB-964A-23276295459E}" dt="2021-06-30T07:01:33.272" v="1590" actId="1076"/>
          <ac:grpSpMkLst>
            <pc:docMk/>
            <pc:sldMk cId="317099162" sldId="1749"/>
            <ac:grpSpMk id="2" creationId="{CA5BE65C-4544-4880-A061-4D320C41F338}"/>
          </ac:grpSpMkLst>
        </pc:grpChg>
        <pc:grpChg chg="add del mod">
          <ac:chgData name="Aurelien Domont" userId="6da7715ce44349b3" providerId="LiveId" clId="{AFF9B0D5-CA7D-40FB-964A-23276295459E}" dt="2021-06-30T06:12:39.225" v="160" actId="165"/>
          <ac:grpSpMkLst>
            <pc:docMk/>
            <pc:sldMk cId="317099162" sldId="1749"/>
            <ac:grpSpMk id="6" creationId="{C92777F9-4B8D-47A8-BE0A-58672808E77E}"/>
          </ac:grpSpMkLst>
        </pc:grpChg>
        <pc:picChg chg="add del mod">
          <ac:chgData name="Aurelien Domont" userId="6da7715ce44349b3" providerId="LiveId" clId="{AFF9B0D5-CA7D-40FB-964A-23276295459E}" dt="2021-06-30T06:24:54.181" v="290" actId="478"/>
          <ac:picMkLst>
            <pc:docMk/>
            <pc:sldMk cId="317099162" sldId="1749"/>
            <ac:picMk id="4" creationId="{7287037B-4A3D-4DBB-9F70-BEF5F5A84640}"/>
          </ac:picMkLst>
        </pc:picChg>
        <pc:picChg chg="add del mod topLvl">
          <ac:chgData name="Aurelien Domont" userId="6da7715ce44349b3" providerId="LiveId" clId="{AFF9B0D5-CA7D-40FB-964A-23276295459E}" dt="2021-06-30T06:24:54.931" v="291" actId="478"/>
          <ac:picMkLst>
            <pc:docMk/>
            <pc:sldMk cId="317099162" sldId="1749"/>
            <ac:picMk id="15" creationId="{F83CBCF3-4B58-4A3F-B9ED-87BE026B0DA1}"/>
          </ac:picMkLst>
        </pc:picChg>
      </pc:sldChg>
      <pc:sldChg chg="add">
        <pc:chgData name="Aurelien Domont" userId="6da7715ce44349b3" providerId="LiveId" clId="{AFF9B0D5-CA7D-40FB-964A-23276295459E}" dt="2021-07-06T04:20:04.085" v="6369"/>
        <pc:sldMkLst>
          <pc:docMk/>
          <pc:sldMk cId="3938337455" sldId="2034"/>
        </pc:sldMkLst>
      </pc:sldChg>
      <pc:sldChg chg="addSp delSp modSp add mod">
        <pc:chgData name="Aurelien Domont" userId="6da7715ce44349b3" providerId="LiveId" clId="{AFF9B0D5-CA7D-40FB-964A-23276295459E}" dt="2021-07-06T04:25:25.008" v="6415" actId="1037"/>
        <pc:sldMkLst>
          <pc:docMk/>
          <pc:sldMk cId="1926619926" sldId="2147"/>
        </pc:sldMkLst>
        <pc:spChg chg="mod">
          <ac:chgData name="Aurelien Domont" userId="6da7715ce44349b3" providerId="LiveId" clId="{AFF9B0D5-CA7D-40FB-964A-23276295459E}" dt="2021-07-06T04:25:25.008" v="6415" actId="1037"/>
          <ac:spMkLst>
            <pc:docMk/>
            <pc:sldMk cId="1926619926" sldId="2147"/>
            <ac:spMk id="3" creationId="{E7801C33-1882-44AC-8209-E2ACFFBF177C}"/>
          </ac:spMkLst>
        </pc:spChg>
        <pc:picChg chg="del mod">
          <ac:chgData name="Aurelien Domont" userId="6da7715ce44349b3" providerId="LiveId" clId="{AFF9B0D5-CA7D-40FB-964A-23276295459E}" dt="2021-07-06T04:23:48.250" v="6374" actId="478"/>
          <ac:picMkLst>
            <pc:docMk/>
            <pc:sldMk cId="1926619926" sldId="2147"/>
            <ac:picMk id="5" creationId="{7283AD49-C820-429E-A8E8-5A7367D6DC11}"/>
          </ac:picMkLst>
        </pc:picChg>
        <pc:picChg chg="add del mod ord">
          <ac:chgData name="Aurelien Domont" userId="6da7715ce44349b3" providerId="LiveId" clId="{AFF9B0D5-CA7D-40FB-964A-23276295459E}" dt="2021-07-06T04:24:17.620" v="6388" actId="22"/>
          <ac:picMkLst>
            <pc:docMk/>
            <pc:sldMk cId="1926619926" sldId="2147"/>
            <ac:picMk id="9" creationId="{DF4B9174-4A5D-4046-82AF-63AA7738E6A2}"/>
          </ac:picMkLst>
        </pc:picChg>
        <pc:picChg chg="add mod ord">
          <ac:chgData name="Aurelien Domont" userId="6da7715ce44349b3" providerId="LiveId" clId="{AFF9B0D5-CA7D-40FB-964A-23276295459E}" dt="2021-07-06T04:25:16.233" v="6398" actId="1076"/>
          <ac:picMkLst>
            <pc:docMk/>
            <pc:sldMk cId="1926619926" sldId="2147"/>
            <ac:picMk id="11" creationId="{5D58A1A0-06A2-4FAC-A5EA-99253435D8B8}"/>
          </ac:picMkLst>
        </pc:picChg>
      </pc:sldChg>
      <pc:sldChg chg="del">
        <pc:chgData name="Aurelien Domont" userId="6da7715ce44349b3" providerId="LiveId" clId="{AFF9B0D5-CA7D-40FB-964A-23276295459E}" dt="2021-07-06T03:47:14.962" v="6357" actId="47"/>
        <pc:sldMkLst>
          <pc:docMk/>
          <pc:sldMk cId="1289725493" sldId="2149"/>
        </pc:sldMkLst>
      </pc:sldChg>
      <pc:sldChg chg="del">
        <pc:chgData name="Aurelien Domont" userId="6da7715ce44349b3" providerId="LiveId" clId="{AFF9B0D5-CA7D-40FB-964A-23276295459E}" dt="2021-07-02T08:38:32.427" v="5616" actId="47"/>
        <pc:sldMkLst>
          <pc:docMk/>
          <pc:sldMk cId="3004254457" sldId="2150"/>
        </pc:sldMkLst>
      </pc:sldChg>
      <pc:sldChg chg="delSp modSp add del mod">
        <pc:chgData name="Aurelien Domont" userId="6da7715ce44349b3" providerId="LiveId" clId="{AFF9B0D5-CA7D-40FB-964A-23276295459E}" dt="2021-07-02T08:38:32.427" v="5616" actId="47"/>
        <pc:sldMkLst>
          <pc:docMk/>
          <pc:sldMk cId="1534089223" sldId="2151"/>
        </pc:sldMkLst>
        <pc:spChg chg="mod">
          <ac:chgData name="Aurelien Domont" userId="6da7715ce44349b3" providerId="LiveId" clId="{AFF9B0D5-CA7D-40FB-964A-23276295459E}" dt="2021-06-30T06:01:18.933" v="127" actId="20577"/>
          <ac:spMkLst>
            <pc:docMk/>
            <pc:sldMk cId="1534089223" sldId="2151"/>
            <ac:spMk id="16" creationId="{6C2BB713-9637-4B9B-938F-E9768876782A}"/>
          </ac:spMkLst>
        </pc:spChg>
        <pc:spChg chg="del">
          <ac:chgData name="Aurelien Domont" userId="6da7715ce44349b3" providerId="LiveId" clId="{AFF9B0D5-CA7D-40FB-964A-23276295459E}" dt="2021-06-30T06:01:27.551" v="128" actId="478"/>
          <ac:spMkLst>
            <pc:docMk/>
            <pc:sldMk cId="1534089223" sldId="2151"/>
            <ac:spMk id="32" creationId="{F4E53BA9-9AB9-48F0-A73B-05C6322E3392}"/>
          </ac:spMkLst>
        </pc:spChg>
        <pc:spChg chg="del">
          <ac:chgData name="Aurelien Domont" userId="6da7715ce44349b3" providerId="LiveId" clId="{AFF9B0D5-CA7D-40FB-964A-23276295459E}" dt="2021-06-30T06:01:27.551" v="128" actId="478"/>
          <ac:spMkLst>
            <pc:docMk/>
            <pc:sldMk cId="1534089223" sldId="2151"/>
            <ac:spMk id="33" creationId="{CDADC7B4-4779-49A3-9FCF-3DC29EF44738}"/>
          </ac:spMkLst>
        </pc:spChg>
        <pc:spChg chg="del">
          <ac:chgData name="Aurelien Domont" userId="6da7715ce44349b3" providerId="LiveId" clId="{AFF9B0D5-CA7D-40FB-964A-23276295459E}" dt="2021-06-30T06:01:27.551" v="128" actId="478"/>
          <ac:spMkLst>
            <pc:docMk/>
            <pc:sldMk cId="1534089223" sldId="2151"/>
            <ac:spMk id="34" creationId="{30185B92-2394-4D45-8987-284B6B741CF6}"/>
          </ac:spMkLst>
        </pc:spChg>
        <pc:spChg chg="del">
          <ac:chgData name="Aurelien Domont" userId="6da7715ce44349b3" providerId="LiveId" clId="{AFF9B0D5-CA7D-40FB-964A-23276295459E}" dt="2021-06-30T06:01:27.551" v="128" actId="478"/>
          <ac:spMkLst>
            <pc:docMk/>
            <pc:sldMk cId="1534089223" sldId="2151"/>
            <ac:spMk id="36" creationId="{AAC5EFF7-9581-4CFA-9007-0B2D138DC929}"/>
          </ac:spMkLst>
        </pc:spChg>
        <pc:spChg chg="del">
          <ac:chgData name="Aurelien Domont" userId="6da7715ce44349b3" providerId="LiveId" clId="{AFF9B0D5-CA7D-40FB-964A-23276295459E}" dt="2021-06-30T06:01:27.551" v="128" actId="478"/>
          <ac:spMkLst>
            <pc:docMk/>
            <pc:sldMk cId="1534089223" sldId="2151"/>
            <ac:spMk id="37" creationId="{97849EAC-234E-45EF-B196-78699AC97FA2}"/>
          </ac:spMkLst>
        </pc:spChg>
        <pc:spChg chg="del">
          <ac:chgData name="Aurelien Domont" userId="6da7715ce44349b3" providerId="LiveId" clId="{AFF9B0D5-CA7D-40FB-964A-23276295459E}" dt="2021-06-30T06:01:27.551" v="128" actId="478"/>
          <ac:spMkLst>
            <pc:docMk/>
            <pc:sldMk cId="1534089223" sldId="2151"/>
            <ac:spMk id="38" creationId="{3CA2023D-F310-415B-9867-7BDE343D904B}"/>
          </ac:spMkLst>
        </pc:spChg>
        <pc:cxnChg chg="del">
          <ac:chgData name="Aurelien Domont" userId="6da7715ce44349b3" providerId="LiveId" clId="{AFF9B0D5-CA7D-40FB-964A-23276295459E}" dt="2021-06-30T06:01:27.551" v="128" actId="478"/>
          <ac:cxnSpMkLst>
            <pc:docMk/>
            <pc:sldMk cId="1534089223" sldId="2151"/>
            <ac:cxnSpMk id="35" creationId="{AC48342A-109D-4373-B3D7-98BE0267DC04}"/>
          </ac:cxnSpMkLst>
        </pc:cxnChg>
        <pc:cxnChg chg="del">
          <ac:chgData name="Aurelien Domont" userId="6da7715ce44349b3" providerId="LiveId" clId="{AFF9B0D5-CA7D-40FB-964A-23276295459E}" dt="2021-06-30T06:01:27.551" v="128" actId="478"/>
          <ac:cxnSpMkLst>
            <pc:docMk/>
            <pc:sldMk cId="1534089223" sldId="2151"/>
            <ac:cxnSpMk id="39" creationId="{02DB1088-3FCD-49FB-A3C3-A1CEBA001978}"/>
          </ac:cxnSpMkLst>
        </pc:cxnChg>
      </pc:sldChg>
      <pc:sldChg chg="addSp delSp add del mod">
        <pc:chgData name="Aurelien Domont" userId="6da7715ce44349b3" providerId="LiveId" clId="{AFF9B0D5-CA7D-40FB-964A-23276295459E}" dt="2021-07-02T08:38:32.427" v="5616" actId="47"/>
        <pc:sldMkLst>
          <pc:docMk/>
          <pc:sldMk cId="499002002" sldId="2152"/>
        </pc:sldMkLst>
        <pc:spChg chg="add del">
          <ac:chgData name="Aurelien Domont" userId="6da7715ce44349b3" providerId="LiveId" clId="{AFF9B0D5-CA7D-40FB-964A-23276295459E}" dt="2021-06-30T06:22:40.027" v="286" actId="478"/>
          <ac:spMkLst>
            <pc:docMk/>
            <pc:sldMk cId="499002002" sldId="2152"/>
            <ac:spMk id="9" creationId="{1D174EE8-1E55-4025-BFC8-FE6A257BF90E}"/>
          </ac:spMkLst>
        </pc:spChg>
        <pc:spChg chg="add del">
          <ac:chgData name="Aurelien Domont" userId="6da7715ce44349b3" providerId="LiveId" clId="{AFF9B0D5-CA7D-40FB-964A-23276295459E}" dt="2021-06-30T06:22:40.027" v="286" actId="478"/>
          <ac:spMkLst>
            <pc:docMk/>
            <pc:sldMk cId="499002002" sldId="2152"/>
            <ac:spMk id="10" creationId="{7C0AAF82-128F-47B7-ABC2-AA30B23F33D1}"/>
          </ac:spMkLst>
        </pc:spChg>
        <pc:spChg chg="add del">
          <ac:chgData name="Aurelien Domont" userId="6da7715ce44349b3" providerId="LiveId" clId="{AFF9B0D5-CA7D-40FB-964A-23276295459E}" dt="2021-06-30T06:22:40.027" v="286" actId="478"/>
          <ac:spMkLst>
            <pc:docMk/>
            <pc:sldMk cId="499002002" sldId="2152"/>
            <ac:spMk id="11" creationId="{E3044FE5-1B15-42EB-B21C-60066BE4A2F4}"/>
          </ac:spMkLst>
        </pc:spChg>
        <pc:spChg chg="add del">
          <ac:chgData name="Aurelien Domont" userId="6da7715ce44349b3" providerId="LiveId" clId="{AFF9B0D5-CA7D-40FB-964A-23276295459E}" dt="2021-06-30T06:22:40.027" v="286" actId="478"/>
          <ac:spMkLst>
            <pc:docMk/>
            <pc:sldMk cId="499002002" sldId="2152"/>
            <ac:spMk id="12" creationId="{32589ACC-367A-4FC4-AF85-D207DC2C0B91}"/>
          </ac:spMkLst>
        </pc:spChg>
        <pc:picChg chg="add del">
          <ac:chgData name="Aurelien Domont" userId="6da7715ce44349b3" providerId="LiveId" clId="{AFF9B0D5-CA7D-40FB-964A-23276295459E}" dt="2021-06-30T06:22:40.342" v="287" actId="478"/>
          <ac:picMkLst>
            <pc:docMk/>
            <pc:sldMk cId="499002002" sldId="2152"/>
            <ac:picMk id="4" creationId="{7287037B-4A3D-4DBB-9F70-BEF5F5A84640}"/>
          </ac:picMkLst>
        </pc:picChg>
        <pc:picChg chg="add del">
          <ac:chgData name="Aurelien Domont" userId="6da7715ce44349b3" providerId="LiveId" clId="{AFF9B0D5-CA7D-40FB-964A-23276295459E}" dt="2021-06-30T06:22:40.342" v="287" actId="478"/>
          <ac:picMkLst>
            <pc:docMk/>
            <pc:sldMk cId="499002002" sldId="2152"/>
            <ac:picMk id="15" creationId="{F83CBCF3-4B58-4A3F-B9ED-87BE026B0DA1}"/>
          </ac:picMkLst>
        </pc:picChg>
      </pc:sldChg>
      <pc:sldChg chg="addSp delSp modSp new del mod">
        <pc:chgData name="Aurelien Domont" userId="6da7715ce44349b3" providerId="LiveId" clId="{AFF9B0D5-CA7D-40FB-964A-23276295459E}" dt="2021-06-30T06:18:25.702" v="249" actId="47"/>
        <pc:sldMkLst>
          <pc:docMk/>
          <pc:sldMk cId="1079529072" sldId="2152"/>
        </pc:sldMkLst>
        <pc:spChg chg="add mod topLvl">
          <ac:chgData name="Aurelien Domont" userId="6da7715ce44349b3" providerId="LiveId" clId="{AFF9B0D5-CA7D-40FB-964A-23276295459E}" dt="2021-06-30T06:15:58.356" v="198" actId="165"/>
          <ac:spMkLst>
            <pc:docMk/>
            <pc:sldMk cId="1079529072" sldId="2152"/>
            <ac:spMk id="3" creationId="{CF43C6FA-0591-4BE9-A5C4-7786E002FF59}"/>
          </ac:spMkLst>
        </pc:spChg>
        <pc:spChg chg="add mod topLvl">
          <ac:chgData name="Aurelien Domont" userId="6da7715ce44349b3" providerId="LiveId" clId="{AFF9B0D5-CA7D-40FB-964A-23276295459E}" dt="2021-06-30T06:15:58.356" v="198" actId="165"/>
          <ac:spMkLst>
            <pc:docMk/>
            <pc:sldMk cId="1079529072" sldId="2152"/>
            <ac:spMk id="4" creationId="{0E548A46-549E-4D17-91B0-5979C8C470E4}"/>
          </ac:spMkLst>
        </pc:spChg>
        <pc:spChg chg="add mod topLvl">
          <ac:chgData name="Aurelien Domont" userId="6da7715ce44349b3" providerId="LiveId" clId="{AFF9B0D5-CA7D-40FB-964A-23276295459E}" dt="2021-06-30T06:15:58.356" v="198" actId="165"/>
          <ac:spMkLst>
            <pc:docMk/>
            <pc:sldMk cId="1079529072" sldId="2152"/>
            <ac:spMk id="5" creationId="{C281BB53-5F57-4B97-BB10-408D3894BC41}"/>
          </ac:spMkLst>
        </pc:spChg>
        <pc:spChg chg="add mod topLvl">
          <ac:chgData name="Aurelien Domont" userId="6da7715ce44349b3" providerId="LiveId" clId="{AFF9B0D5-CA7D-40FB-964A-23276295459E}" dt="2021-06-30T06:15:58.356" v="198" actId="165"/>
          <ac:spMkLst>
            <pc:docMk/>
            <pc:sldMk cId="1079529072" sldId="2152"/>
            <ac:spMk id="6" creationId="{599E4546-6399-45FC-81A4-133A2AA6F9F3}"/>
          </ac:spMkLst>
        </pc:spChg>
        <pc:spChg chg="add mod topLvl">
          <ac:chgData name="Aurelien Domont" userId="6da7715ce44349b3" providerId="LiveId" clId="{AFF9B0D5-CA7D-40FB-964A-23276295459E}" dt="2021-06-30T06:15:58.356" v="198" actId="165"/>
          <ac:spMkLst>
            <pc:docMk/>
            <pc:sldMk cId="1079529072" sldId="2152"/>
            <ac:spMk id="7" creationId="{CAB1C18A-C845-4A0D-94BE-31ADBE5D6B09}"/>
          </ac:spMkLst>
        </pc:spChg>
        <pc:spChg chg="add mod topLvl">
          <ac:chgData name="Aurelien Domont" userId="6da7715ce44349b3" providerId="LiveId" clId="{AFF9B0D5-CA7D-40FB-964A-23276295459E}" dt="2021-06-30T06:15:58.356" v="198" actId="165"/>
          <ac:spMkLst>
            <pc:docMk/>
            <pc:sldMk cId="1079529072" sldId="2152"/>
            <ac:spMk id="8" creationId="{D48F98B2-5CA6-4787-A2BD-26448B46AFE7}"/>
          </ac:spMkLst>
        </pc:spChg>
        <pc:spChg chg="add mod topLvl">
          <ac:chgData name="Aurelien Domont" userId="6da7715ce44349b3" providerId="LiveId" clId="{AFF9B0D5-CA7D-40FB-964A-23276295459E}" dt="2021-06-30T06:15:58.356" v="198" actId="165"/>
          <ac:spMkLst>
            <pc:docMk/>
            <pc:sldMk cId="1079529072" sldId="2152"/>
            <ac:spMk id="9" creationId="{28A506C0-264A-44BE-B9FF-32F419364B7F}"/>
          </ac:spMkLst>
        </pc:spChg>
        <pc:grpChg chg="add del mod">
          <ac:chgData name="Aurelien Domont" userId="6da7715ce44349b3" providerId="LiveId" clId="{AFF9B0D5-CA7D-40FB-964A-23276295459E}" dt="2021-06-30T06:15:58.356" v="198" actId="165"/>
          <ac:grpSpMkLst>
            <pc:docMk/>
            <pc:sldMk cId="1079529072" sldId="2152"/>
            <ac:grpSpMk id="11" creationId="{DAAE80CC-1F10-4441-80ED-A8C953A8E66E}"/>
          </ac:grpSpMkLst>
        </pc:grpChg>
        <pc:picChg chg="add mod topLvl">
          <ac:chgData name="Aurelien Domont" userId="6da7715ce44349b3" providerId="LiveId" clId="{AFF9B0D5-CA7D-40FB-964A-23276295459E}" dt="2021-06-30T06:16:11.011" v="199" actId="14861"/>
          <ac:picMkLst>
            <pc:docMk/>
            <pc:sldMk cId="1079529072" sldId="2152"/>
            <ac:picMk id="10" creationId="{20DA1ADD-5604-4967-B919-F736237C278D}"/>
          </ac:picMkLst>
        </pc:picChg>
      </pc:sldChg>
      <pc:sldChg chg="add del">
        <pc:chgData name="Aurelien Domont" userId="6da7715ce44349b3" providerId="LiveId" clId="{AFF9B0D5-CA7D-40FB-964A-23276295459E}" dt="2021-06-30T06:19:04.001" v="266"/>
        <pc:sldMkLst>
          <pc:docMk/>
          <pc:sldMk cId="1174277358" sldId="2152"/>
        </pc:sldMkLst>
      </pc:sldChg>
      <pc:sldChg chg="add del">
        <pc:chgData name="Aurelien Domont" userId="6da7715ce44349b3" providerId="LiveId" clId="{AFF9B0D5-CA7D-40FB-964A-23276295459E}" dt="2021-06-30T06:20:29.485" v="269"/>
        <pc:sldMkLst>
          <pc:docMk/>
          <pc:sldMk cId="1738739629" sldId="2152"/>
        </pc:sldMkLst>
      </pc:sldChg>
      <pc:sldChg chg="addSp delSp modSp new del">
        <pc:chgData name="Aurelien Domont" userId="6da7715ce44349b3" providerId="LiveId" clId="{AFF9B0D5-CA7D-40FB-964A-23276295459E}" dt="2021-07-02T08:38:32.427" v="5616" actId="47"/>
        <pc:sldMkLst>
          <pc:docMk/>
          <pc:sldMk cId="212722849" sldId="2153"/>
        </pc:sldMkLst>
        <pc:spChg chg="add del mod">
          <ac:chgData name="Aurelien Domont" userId="6da7715ce44349b3" providerId="LiveId" clId="{AFF9B0D5-CA7D-40FB-964A-23276295459E}" dt="2021-06-30T06:22:40.557" v="288"/>
          <ac:spMkLst>
            <pc:docMk/>
            <pc:sldMk cId="212722849" sldId="2153"/>
            <ac:spMk id="3" creationId="{9FE483B3-EF45-4406-A47C-3268F0637E49}"/>
          </ac:spMkLst>
        </pc:spChg>
        <pc:picChg chg="add del mod">
          <ac:chgData name="Aurelien Domont" userId="6da7715ce44349b3" providerId="LiveId" clId="{AFF9B0D5-CA7D-40FB-964A-23276295459E}" dt="2021-06-30T06:22:40.557" v="288"/>
          <ac:picMkLst>
            <pc:docMk/>
            <pc:sldMk cId="212722849" sldId="2153"/>
            <ac:picMk id="4" creationId="{D20ED5B9-CE25-466F-BDC9-FC1CAD9807ED}"/>
          </ac:picMkLst>
        </pc:picChg>
      </pc:sldChg>
      <pc:sldChg chg="add del">
        <pc:chgData name="Aurelien Domont" userId="6da7715ce44349b3" providerId="LiveId" clId="{AFF9B0D5-CA7D-40FB-964A-23276295459E}" dt="2021-07-02T08:38:32.427" v="5616" actId="47"/>
        <pc:sldMkLst>
          <pc:docMk/>
          <pc:sldMk cId="2788949543" sldId="2154"/>
        </pc:sldMkLst>
      </pc:sldChg>
      <pc:sldChg chg="add del">
        <pc:chgData name="Aurelien Domont" userId="6da7715ce44349b3" providerId="LiveId" clId="{AFF9B0D5-CA7D-40FB-964A-23276295459E}" dt="2021-07-02T08:38:32.427" v="5616" actId="47"/>
        <pc:sldMkLst>
          <pc:docMk/>
          <pc:sldMk cId="2076438646" sldId="2155"/>
        </pc:sldMkLst>
      </pc:sldChg>
      <pc:sldChg chg="add del">
        <pc:chgData name="Aurelien Domont" userId="6da7715ce44349b3" providerId="LiveId" clId="{AFF9B0D5-CA7D-40FB-964A-23276295459E}" dt="2021-07-02T08:38:32.427" v="5616" actId="47"/>
        <pc:sldMkLst>
          <pc:docMk/>
          <pc:sldMk cId="311794488" sldId="2156"/>
        </pc:sldMkLst>
      </pc:sldChg>
      <pc:sldChg chg="addSp modSp add mod">
        <pc:chgData name="Aurelien Domont" userId="6da7715ce44349b3" providerId="LiveId" clId="{AFF9B0D5-CA7D-40FB-964A-23276295459E}" dt="2021-07-06T01:44:54.338" v="5972" actId="20577"/>
        <pc:sldMkLst>
          <pc:docMk/>
          <pc:sldMk cId="1479295029" sldId="2156"/>
        </pc:sldMkLst>
        <pc:spChg chg="mod">
          <ac:chgData name="Aurelien Domont" userId="6da7715ce44349b3" providerId="LiveId" clId="{AFF9B0D5-CA7D-40FB-964A-23276295459E}" dt="2021-07-06T01:38:39.396" v="5929"/>
          <ac:spMkLst>
            <pc:docMk/>
            <pc:sldMk cId="1479295029" sldId="2156"/>
            <ac:spMk id="21" creationId="{5441459A-A405-4F28-B7B1-512713FD1633}"/>
          </ac:spMkLst>
        </pc:spChg>
        <pc:spChg chg="mod">
          <ac:chgData name="Aurelien Domont" userId="6da7715ce44349b3" providerId="LiveId" clId="{AFF9B0D5-CA7D-40FB-964A-23276295459E}" dt="2021-07-06T01:44:54.338" v="5972" actId="20577"/>
          <ac:spMkLst>
            <pc:docMk/>
            <pc:sldMk cId="1479295029" sldId="2156"/>
            <ac:spMk id="22" creationId="{454D4616-4639-4B6A-A655-40C58ADFB3C6}"/>
          </ac:spMkLst>
        </pc:spChg>
        <pc:grpChg chg="add mod">
          <ac:chgData name="Aurelien Domont" userId="6da7715ce44349b3" providerId="LiveId" clId="{AFF9B0D5-CA7D-40FB-964A-23276295459E}" dt="2021-07-06T01:39:03.235" v="5930" actId="14100"/>
          <ac:grpSpMkLst>
            <pc:docMk/>
            <pc:sldMk cId="1479295029" sldId="2156"/>
            <ac:grpSpMk id="20" creationId="{AA53E7B7-0597-4D1D-B927-D58550764C11}"/>
          </ac:grpSpMkLst>
        </pc:grpChg>
        <pc:cxnChg chg="mod">
          <ac:chgData name="Aurelien Domont" userId="6da7715ce44349b3" providerId="LiveId" clId="{AFF9B0D5-CA7D-40FB-964A-23276295459E}" dt="2021-07-06T01:38:39.396" v="5929"/>
          <ac:cxnSpMkLst>
            <pc:docMk/>
            <pc:sldMk cId="1479295029" sldId="2156"/>
            <ac:cxnSpMk id="36" creationId="{D42EC322-7D8B-4E26-8DC7-14CE03A7E755}"/>
          </ac:cxnSpMkLst>
        </pc:cxnChg>
        <pc:cxnChg chg="mod">
          <ac:chgData name="Aurelien Domont" userId="6da7715ce44349b3" providerId="LiveId" clId="{AFF9B0D5-CA7D-40FB-964A-23276295459E}" dt="2021-07-06T01:38:39.396" v="5929"/>
          <ac:cxnSpMkLst>
            <pc:docMk/>
            <pc:sldMk cId="1479295029" sldId="2156"/>
            <ac:cxnSpMk id="37" creationId="{456DA9CA-DF33-4E58-86D2-7C5E7BC19849}"/>
          </ac:cxnSpMkLst>
        </pc:cxnChg>
      </pc:sldChg>
      <pc:sldChg chg="add del">
        <pc:chgData name="Aurelien Domont" userId="6da7715ce44349b3" providerId="LiveId" clId="{AFF9B0D5-CA7D-40FB-964A-23276295459E}" dt="2021-07-02T08:38:32.427" v="5616" actId="47"/>
        <pc:sldMkLst>
          <pc:docMk/>
          <pc:sldMk cId="869144979" sldId="2157"/>
        </pc:sldMkLst>
      </pc:sldChg>
      <pc:sldChg chg="modSp add del mod">
        <pc:chgData name="Aurelien Domont" userId="6da7715ce44349b3" providerId="LiveId" clId="{AFF9B0D5-CA7D-40FB-964A-23276295459E}" dt="2021-07-02T08:38:32.427" v="5616" actId="47"/>
        <pc:sldMkLst>
          <pc:docMk/>
          <pc:sldMk cId="2444710519" sldId="2158"/>
        </pc:sldMkLst>
        <pc:spChg chg="mod">
          <ac:chgData name="Aurelien Domont" userId="6da7715ce44349b3" providerId="LiveId" clId="{AFF9B0D5-CA7D-40FB-964A-23276295459E}" dt="2021-06-30T07:04:08.098" v="1631" actId="20577"/>
          <ac:spMkLst>
            <pc:docMk/>
            <pc:sldMk cId="2444710519" sldId="2158"/>
            <ac:spMk id="16" creationId="{6C2BB713-9637-4B9B-938F-E9768876782A}"/>
          </ac:spMkLst>
        </pc:spChg>
      </pc:sldChg>
      <pc:sldChg chg="add del">
        <pc:chgData name="Aurelien Domont" userId="6da7715ce44349b3" providerId="LiveId" clId="{AFF9B0D5-CA7D-40FB-964A-23276295459E}" dt="2021-07-02T08:38:32.427" v="5616" actId="47"/>
        <pc:sldMkLst>
          <pc:docMk/>
          <pc:sldMk cId="4165044782" sldId="2159"/>
        </pc:sldMkLst>
      </pc:sldChg>
      <pc:sldChg chg="addSp delSp modSp add mod">
        <pc:chgData name="Aurelien Domont" userId="6da7715ce44349b3" providerId="LiveId" clId="{AFF9B0D5-CA7D-40FB-964A-23276295459E}" dt="2021-07-06T01:18:16.491" v="5767" actId="20577"/>
        <pc:sldMkLst>
          <pc:docMk/>
          <pc:sldMk cId="1073937120" sldId="2160"/>
        </pc:sldMkLst>
        <pc:spChg chg="del">
          <ac:chgData name="Aurelien Domont" userId="6da7715ce44349b3" providerId="LiveId" clId="{AFF9B0D5-CA7D-40FB-964A-23276295459E}" dt="2021-07-02T06:10:08.170" v="2541" actId="478"/>
          <ac:spMkLst>
            <pc:docMk/>
            <pc:sldMk cId="1073937120" sldId="2160"/>
            <ac:spMk id="3" creationId="{769F5309-76A5-4DB3-A4CB-2C8F568AB01D}"/>
          </ac:spMkLst>
        </pc:spChg>
        <pc:spChg chg="mod">
          <ac:chgData name="Aurelien Domont" userId="6da7715ce44349b3" providerId="LiveId" clId="{AFF9B0D5-CA7D-40FB-964A-23276295459E}" dt="2021-07-06T01:17:40.515" v="5739" actId="20577"/>
          <ac:spMkLst>
            <pc:docMk/>
            <pc:sldMk cId="1073937120" sldId="2160"/>
            <ac:spMk id="16" creationId="{6C2BB713-9637-4B9B-938F-E9768876782A}"/>
          </ac:spMkLst>
        </pc:spChg>
        <pc:spChg chg="del">
          <ac:chgData name="Aurelien Domont" userId="6da7715ce44349b3" providerId="LiveId" clId="{AFF9B0D5-CA7D-40FB-964A-23276295459E}" dt="2021-07-02T06:10:08.170" v="2541" actId="478"/>
          <ac:spMkLst>
            <pc:docMk/>
            <pc:sldMk cId="1073937120" sldId="2160"/>
            <ac:spMk id="29" creationId="{F1ABDDA1-7406-4A3A-8D68-EEEA79F76892}"/>
          </ac:spMkLst>
        </pc:spChg>
        <pc:spChg chg="del">
          <ac:chgData name="Aurelien Domont" userId="6da7715ce44349b3" providerId="LiveId" clId="{AFF9B0D5-CA7D-40FB-964A-23276295459E}" dt="2021-07-02T06:10:10.938" v="2542" actId="478"/>
          <ac:spMkLst>
            <pc:docMk/>
            <pc:sldMk cId="1073937120" sldId="2160"/>
            <ac:spMk id="30" creationId="{A3A42F54-587B-4C2E-93F0-14AB9DDD5309}"/>
          </ac:spMkLst>
        </pc:spChg>
        <pc:spChg chg="add mod">
          <ac:chgData name="Aurelien Domont" userId="6da7715ce44349b3" providerId="LiveId" clId="{AFF9B0D5-CA7D-40FB-964A-23276295459E}" dt="2021-07-02T06:30:22.764" v="3328" actId="20577"/>
          <ac:spMkLst>
            <pc:docMk/>
            <pc:sldMk cId="1073937120" sldId="2160"/>
            <ac:spMk id="31" creationId="{80DB5C2A-CB4E-438A-8801-EB0869040D7B}"/>
          </ac:spMkLst>
        </pc:spChg>
        <pc:spChg chg="del">
          <ac:chgData name="Aurelien Domont" userId="6da7715ce44349b3" providerId="LiveId" clId="{AFF9B0D5-CA7D-40FB-964A-23276295459E}" dt="2021-07-02T06:10:08.170" v="2541" actId="478"/>
          <ac:spMkLst>
            <pc:docMk/>
            <pc:sldMk cId="1073937120" sldId="2160"/>
            <ac:spMk id="32" creationId="{EE6F0BF2-DC75-49E9-A69A-A91D25E3574E}"/>
          </ac:spMkLst>
        </pc:spChg>
        <pc:spChg chg="add mod">
          <ac:chgData name="Aurelien Domont" userId="6da7715ce44349b3" providerId="LiveId" clId="{AFF9B0D5-CA7D-40FB-964A-23276295459E}" dt="2021-07-06T01:18:08.553" v="5766" actId="1037"/>
          <ac:spMkLst>
            <pc:docMk/>
            <pc:sldMk cId="1073937120" sldId="2160"/>
            <ac:spMk id="33" creationId="{136CAC62-BD7A-4F23-AD5D-25BC893F5D06}"/>
          </ac:spMkLst>
        </pc:spChg>
        <pc:spChg chg="add mod">
          <ac:chgData name="Aurelien Domont" userId="6da7715ce44349b3" providerId="LiveId" clId="{AFF9B0D5-CA7D-40FB-964A-23276295459E}" dt="2021-07-06T01:18:08.553" v="5766" actId="1037"/>
          <ac:spMkLst>
            <pc:docMk/>
            <pc:sldMk cId="1073937120" sldId="2160"/>
            <ac:spMk id="34" creationId="{914710CC-43D0-40E4-BE38-8260007B17B9}"/>
          </ac:spMkLst>
        </pc:spChg>
        <pc:spChg chg="add mod">
          <ac:chgData name="Aurelien Domont" userId="6da7715ce44349b3" providerId="LiveId" clId="{AFF9B0D5-CA7D-40FB-964A-23276295459E}" dt="2021-07-06T01:18:08.553" v="5766" actId="1037"/>
          <ac:spMkLst>
            <pc:docMk/>
            <pc:sldMk cId="1073937120" sldId="2160"/>
            <ac:spMk id="35" creationId="{5DB60DCA-E97E-4CE1-BDE2-3F58612B673D}"/>
          </ac:spMkLst>
        </pc:spChg>
        <pc:spChg chg="add mod">
          <ac:chgData name="Aurelien Domont" userId="6da7715ce44349b3" providerId="LiveId" clId="{AFF9B0D5-CA7D-40FB-964A-23276295459E}" dt="2021-07-06T01:18:08.553" v="5766" actId="1037"/>
          <ac:spMkLst>
            <pc:docMk/>
            <pc:sldMk cId="1073937120" sldId="2160"/>
            <ac:spMk id="36" creationId="{F7C36D7A-1302-495A-B774-24A5AA9E12E9}"/>
          </ac:spMkLst>
        </pc:spChg>
        <pc:spChg chg="add mod">
          <ac:chgData name="Aurelien Domont" userId="6da7715ce44349b3" providerId="LiveId" clId="{AFF9B0D5-CA7D-40FB-964A-23276295459E}" dt="2021-07-06T01:18:08.553" v="5766" actId="1037"/>
          <ac:spMkLst>
            <pc:docMk/>
            <pc:sldMk cId="1073937120" sldId="2160"/>
            <ac:spMk id="37" creationId="{CD63437F-F6CC-47EB-B465-CD7C2718450E}"/>
          </ac:spMkLst>
        </pc:spChg>
        <pc:spChg chg="add mod">
          <ac:chgData name="Aurelien Domont" userId="6da7715ce44349b3" providerId="LiveId" clId="{AFF9B0D5-CA7D-40FB-964A-23276295459E}" dt="2021-07-06T01:18:08.553" v="5766" actId="1037"/>
          <ac:spMkLst>
            <pc:docMk/>
            <pc:sldMk cId="1073937120" sldId="2160"/>
            <ac:spMk id="38" creationId="{4C11F337-8F23-4C82-A3AC-E4155E5FF1FE}"/>
          </ac:spMkLst>
        </pc:spChg>
        <pc:spChg chg="add mod">
          <ac:chgData name="Aurelien Domont" userId="6da7715ce44349b3" providerId="LiveId" clId="{AFF9B0D5-CA7D-40FB-964A-23276295459E}" dt="2021-07-06T01:18:08.553" v="5766" actId="1037"/>
          <ac:spMkLst>
            <pc:docMk/>
            <pc:sldMk cId="1073937120" sldId="2160"/>
            <ac:spMk id="39" creationId="{7EFA4796-2F23-4499-ACA5-9E1468336A1C}"/>
          </ac:spMkLst>
        </pc:spChg>
        <pc:spChg chg="add mod">
          <ac:chgData name="Aurelien Domont" userId="6da7715ce44349b3" providerId="LiveId" clId="{AFF9B0D5-CA7D-40FB-964A-23276295459E}" dt="2021-07-06T01:18:08.553" v="5766" actId="1037"/>
          <ac:spMkLst>
            <pc:docMk/>
            <pc:sldMk cId="1073937120" sldId="2160"/>
            <ac:spMk id="40" creationId="{FB97BE99-9CA1-4E0F-8638-7537C1B51A33}"/>
          </ac:spMkLst>
        </pc:spChg>
        <pc:spChg chg="add mod">
          <ac:chgData name="Aurelien Domont" userId="6da7715ce44349b3" providerId="LiveId" clId="{AFF9B0D5-CA7D-40FB-964A-23276295459E}" dt="2021-07-06T01:18:08.553" v="5766" actId="1037"/>
          <ac:spMkLst>
            <pc:docMk/>
            <pc:sldMk cId="1073937120" sldId="2160"/>
            <ac:spMk id="41" creationId="{9659A567-73DB-4864-A2F9-26C32BFEA546}"/>
          </ac:spMkLst>
        </pc:spChg>
        <pc:spChg chg="add mod">
          <ac:chgData name="Aurelien Domont" userId="6da7715ce44349b3" providerId="LiveId" clId="{AFF9B0D5-CA7D-40FB-964A-23276295459E}" dt="2021-07-06T01:18:16.491" v="5767" actId="20577"/>
          <ac:spMkLst>
            <pc:docMk/>
            <pc:sldMk cId="1073937120" sldId="2160"/>
            <ac:spMk id="51" creationId="{7E31ED7F-C9D6-48C3-B1F3-EC53DABCBEF6}"/>
          </ac:spMkLst>
        </pc:spChg>
        <pc:grpChg chg="del">
          <ac:chgData name="Aurelien Domont" userId="6da7715ce44349b3" providerId="LiveId" clId="{AFF9B0D5-CA7D-40FB-964A-23276295459E}" dt="2021-07-02T06:10:08.170" v="2541" actId="478"/>
          <ac:grpSpMkLst>
            <pc:docMk/>
            <pc:sldMk cId="1073937120" sldId="2160"/>
            <ac:grpSpMk id="2" creationId="{CA5BE65C-4544-4880-A061-4D320C41F338}"/>
          </ac:grpSpMkLst>
        </pc:grpChg>
        <pc:grpChg chg="add mod">
          <ac:chgData name="Aurelien Domont" userId="6da7715ce44349b3" providerId="LiveId" clId="{AFF9B0D5-CA7D-40FB-964A-23276295459E}" dt="2021-07-06T01:18:08.553" v="5766" actId="1037"/>
          <ac:grpSpMkLst>
            <pc:docMk/>
            <pc:sldMk cId="1073937120" sldId="2160"/>
            <ac:grpSpMk id="4" creationId="{BD5EFEE5-15B1-4D1C-9CCE-C42E69F4F8C9}"/>
          </ac:grpSpMkLst>
        </pc:grpChg>
        <pc:picChg chg="add mod">
          <ac:chgData name="Aurelien Domont" userId="6da7715ce44349b3" providerId="LiveId" clId="{AFF9B0D5-CA7D-40FB-964A-23276295459E}" dt="2021-07-06T01:18:08.553" v="5766" actId="1037"/>
          <ac:picMkLst>
            <pc:docMk/>
            <pc:sldMk cId="1073937120" sldId="2160"/>
            <ac:picMk id="42" creationId="{31343271-C45F-467D-AA4A-4124839CA5E3}"/>
          </ac:picMkLst>
        </pc:picChg>
        <pc:picChg chg="add mod">
          <ac:chgData name="Aurelien Domont" userId="6da7715ce44349b3" providerId="LiveId" clId="{AFF9B0D5-CA7D-40FB-964A-23276295459E}" dt="2021-07-06T01:18:08.553" v="5766" actId="1037"/>
          <ac:picMkLst>
            <pc:docMk/>
            <pc:sldMk cId="1073937120" sldId="2160"/>
            <ac:picMk id="43" creationId="{50C1E75A-6425-4A9C-ABD3-BAFCF30AE0FC}"/>
          </ac:picMkLst>
        </pc:picChg>
        <pc:picChg chg="add mod">
          <ac:chgData name="Aurelien Domont" userId="6da7715ce44349b3" providerId="LiveId" clId="{AFF9B0D5-CA7D-40FB-964A-23276295459E}" dt="2021-07-06T01:18:08.553" v="5766" actId="1037"/>
          <ac:picMkLst>
            <pc:docMk/>
            <pc:sldMk cId="1073937120" sldId="2160"/>
            <ac:picMk id="44" creationId="{4D510F8B-D1F6-41E2-B9FD-D038A30AFC37}"/>
          </ac:picMkLst>
        </pc:picChg>
        <pc:picChg chg="add mod">
          <ac:chgData name="Aurelien Domont" userId="6da7715ce44349b3" providerId="LiveId" clId="{AFF9B0D5-CA7D-40FB-964A-23276295459E}" dt="2021-07-06T01:18:08.553" v="5766" actId="1037"/>
          <ac:picMkLst>
            <pc:docMk/>
            <pc:sldMk cId="1073937120" sldId="2160"/>
            <ac:picMk id="45" creationId="{18EBC665-B8FB-4DFC-B5CA-68E5E082DD4B}"/>
          </ac:picMkLst>
        </pc:picChg>
        <pc:picChg chg="add mod">
          <ac:chgData name="Aurelien Domont" userId="6da7715ce44349b3" providerId="LiveId" clId="{AFF9B0D5-CA7D-40FB-964A-23276295459E}" dt="2021-07-06T01:18:08.553" v="5766" actId="1037"/>
          <ac:picMkLst>
            <pc:docMk/>
            <pc:sldMk cId="1073937120" sldId="2160"/>
            <ac:picMk id="46" creationId="{DDD7D522-A1EE-4899-BEA4-A073505F8E80}"/>
          </ac:picMkLst>
        </pc:picChg>
        <pc:picChg chg="add mod">
          <ac:chgData name="Aurelien Domont" userId="6da7715ce44349b3" providerId="LiveId" clId="{AFF9B0D5-CA7D-40FB-964A-23276295459E}" dt="2021-07-06T01:18:08.553" v="5766" actId="1037"/>
          <ac:picMkLst>
            <pc:docMk/>
            <pc:sldMk cId="1073937120" sldId="2160"/>
            <ac:picMk id="47" creationId="{7099CF69-2587-4723-BDDC-C4F6D33AB3D2}"/>
          </ac:picMkLst>
        </pc:picChg>
        <pc:picChg chg="add mod">
          <ac:chgData name="Aurelien Domont" userId="6da7715ce44349b3" providerId="LiveId" clId="{AFF9B0D5-CA7D-40FB-964A-23276295459E}" dt="2021-07-06T01:18:08.553" v="5766" actId="1037"/>
          <ac:picMkLst>
            <pc:docMk/>
            <pc:sldMk cId="1073937120" sldId="2160"/>
            <ac:picMk id="48" creationId="{0FDD7080-CF55-4944-B213-9A68EF10F7F7}"/>
          </ac:picMkLst>
        </pc:picChg>
        <pc:picChg chg="add mod">
          <ac:chgData name="Aurelien Domont" userId="6da7715ce44349b3" providerId="LiveId" clId="{AFF9B0D5-CA7D-40FB-964A-23276295459E}" dt="2021-07-06T01:18:08.553" v="5766" actId="1037"/>
          <ac:picMkLst>
            <pc:docMk/>
            <pc:sldMk cId="1073937120" sldId="2160"/>
            <ac:picMk id="49" creationId="{9DAC47A1-5848-4981-80B4-EFBBC45F2565}"/>
          </ac:picMkLst>
        </pc:picChg>
        <pc:picChg chg="add mod">
          <ac:chgData name="Aurelien Domont" userId="6da7715ce44349b3" providerId="LiveId" clId="{AFF9B0D5-CA7D-40FB-964A-23276295459E}" dt="2021-07-06T01:18:08.553" v="5766" actId="1037"/>
          <ac:picMkLst>
            <pc:docMk/>
            <pc:sldMk cId="1073937120" sldId="2160"/>
            <ac:picMk id="50" creationId="{E2840E44-AE81-4EC8-A8F2-69A333075A70}"/>
          </ac:picMkLst>
        </pc:picChg>
      </pc:sldChg>
      <pc:sldChg chg="addSp delSp modSp add mod">
        <pc:chgData name="Aurelien Domont" userId="6da7715ce44349b3" providerId="LiveId" clId="{AFF9B0D5-CA7D-40FB-964A-23276295459E}" dt="2021-07-02T06:46:32.604" v="3988" actId="20577"/>
        <pc:sldMkLst>
          <pc:docMk/>
          <pc:sldMk cId="62308209" sldId="2161"/>
        </pc:sldMkLst>
        <pc:spChg chg="mod">
          <ac:chgData name="Aurelien Domont" userId="6da7715ce44349b3" providerId="LiveId" clId="{AFF9B0D5-CA7D-40FB-964A-23276295459E}" dt="2021-07-02T06:46:32.604" v="3988" actId="20577"/>
          <ac:spMkLst>
            <pc:docMk/>
            <pc:sldMk cId="62308209" sldId="2161"/>
            <ac:spMk id="16" creationId="{6C2BB713-9637-4B9B-938F-E9768876782A}"/>
          </ac:spMkLst>
        </pc:spChg>
        <pc:spChg chg="add mod">
          <ac:chgData name="Aurelien Domont" userId="6da7715ce44349b3" providerId="LiveId" clId="{AFF9B0D5-CA7D-40FB-964A-23276295459E}" dt="2021-07-02T06:40:58.844" v="3850" actId="404"/>
          <ac:spMkLst>
            <pc:docMk/>
            <pc:sldMk cId="62308209" sldId="2161"/>
            <ac:spMk id="26" creationId="{CA2E0E1F-11E9-4031-AA6D-14025F775F77}"/>
          </ac:spMkLst>
        </pc:spChg>
        <pc:spChg chg="add mod">
          <ac:chgData name="Aurelien Domont" userId="6da7715ce44349b3" providerId="LiveId" clId="{AFF9B0D5-CA7D-40FB-964A-23276295459E}" dt="2021-07-02T06:40:58.844" v="3850" actId="404"/>
          <ac:spMkLst>
            <pc:docMk/>
            <pc:sldMk cId="62308209" sldId="2161"/>
            <ac:spMk id="27" creationId="{196C8140-C22A-4B59-9D0E-7679D6D9A3E8}"/>
          </ac:spMkLst>
        </pc:spChg>
        <pc:spChg chg="add mod">
          <ac:chgData name="Aurelien Domont" userId="6da7715ce44349b3" providerId="LiveId" clId="{AFF9B0D5-CA7D-40FB-964A-23276295459E}" dt="2021-07-02T06:40:58.844" v="3850" actId="404"/>
          <ac:spMkLst>
            <pc:docMk/>
            <pc:sldMk cId="62308209" sldId="2161"/>
            <ac:spMk id="28" creationId="{32A2BFE8-85B3-4148-83BF-A51A301F6F94}"/>
          </ac:spMkLst>
        </pc:spChg>
        <pc:spChg chg="add mod">
          <ac:chgData name="Aurelien Domont" userId="6da7715ce44349b3" providerId="LiveId" clId="{AFF9B0D5-CA7D-40FB-964A-23276295459E}" dt="2021-07-02T06:40:58.844" v="3850" actId="404"/>
          <ac:spMkLst>
            <pc:docMk/>
            <pc:sldMk cId="62308209" sldId="2161"/>
            <ac:spMk id="29" creationId="{812B20EB-8ED9-486C-BDD9-E5ECC282D969}"/>
          </ac:spMkLst>
        </pc:spChg>
        <pc:spChg chg="add mod">
          <ac:chgData name="Aurelien Domont" userId="6da7715ce44349b3" providerId="LiveId" clId="{AFF9B0D5-CA7D-40FB-964A-23276295459E}" dt="2021-07-02T06:40:58.844" v="3850" actId="404"/>
          <ac:spMkLst>
            <pc:docMk/>
            <pc:sldMk cId="62308209" sldId="2161"/>
            <ac:spMk id="30" creationId="{97DDA4B4-EF57-42BB-898E-C548E3D6622E}"/>
          </ac:spMkLst>
        </pc:spChg>
        <pc:spChg chg="mod">
          <ac:chgData name="Aurelien Domont" userId="6da7715ce44349b3" providerId="LiveId" clId="{AFF9B0D5-CA7D-40FB-964A-23276295459E}" dt="2021-07-02T06:42:21.072" v="3900" actId="120"/>
          <ac:spMkLst>
            <pc:docMk/>
            <pc:sldMk cId="62308209" sldId="2161"/>
            <ac:spMk id="31" creationId="{80DB5C2A-CB4E-438A-8801-EB0869040D7B}"/>
          </ac:spMkLst>
        </pc:spChg>
        <pc:spChg chg="add mod">
          <ac:chgData name="Aurelien Domont" userId="6da7715ce44349b3" providerId="LiveId" clId="{AFF9B0D5-CA7D-40FB-964A-23276295459E}" dt="2021-07-02T06:40:58.844" v="3850" actId="404"/>
          <ac:spMkLst>
            <pc:docMk/>
            <pc:sldMk cId="62308209" sldId="2161"/>
            <ac:spMk id="32" creationId="{033F8E04-53E7-4A71-B4D6-FF10F98070ED}"/>
          </ac:spMkLst>
        </pc:spChg>
        <pc:spChg chg="del">
          <ac:chgData name="Aurelien Domont" userId="6da7715ce44349b3" providerId="LiveId" clId="{AFF9B0D5-CA7D-40FB-964A-23276295459E}" dt="2021-07-02T06:38:44.703" v="3846" actId="478"/>
          <ac:spMkLst>
            <pc:docMk/>
            <pc:sldMk cId="62308209" sldId="2161"/>
            <ac:spMk id="51" creationId="{7E31ED7F-C9D6-48C3-B1F3-EC53DABCBEF6}"/>
          </ac:spMkLst>
        </pc:spChg>
        <pc:spChg chg="add mod">
          <ac:chgData name="Aurelien Domont" userId="6da7715ce44349b3" providerId="LiveId" clId="{AFF9B0D5-CA7D-40FB-964A-23276295459E}" dt="2021-07-02T06:40:58.844" v="3850" actId="404"/>
          <ac:spMkLst>
            <pc:docMk/>
            <pc:sldMk cId="62308209" sldId="2161"/>
            <ac:spMk id="52" creationId="{B57B670F-66D2-4BBB-8ADD-DD425B918B4B}"/>
          </ac:spMkLst>
        </pc:spChg>
        <pc:spChg chg="add mod">
          <ac:chgData name="Aurelien Domont" userId="6da7715ce44349b3" providerId="LiveId" clId="{AFF9B0D5-CA7D-40FB-964A-23276295459E}" dt="2021-07-02T06:40:58.844" v="3850" actId="404"/>
          <ac:spMkLst>
            <pc:docMk/>
            <pc:sldMk cId="62308209" sldId="2161"/>
            <ac:spMk id="53" creationId="{8A071EFC-1A87-4FB3-A387-997200B32BCF}"/>
          </ac:spMkLst>
        </pc:spChg>
        <pc:spChg chg="add mod">
          <ac:chgData name="Aurelien Domont" userId="6da7715ce44349b3" providerId="LiveId" clId="{AFF9B0D5-CA7D-40FB-964A-23276295459E}" dt="2021-07-02T06:40:58.844" v="3850" actId="404"/>
          <ac:spMkLst>
            <pc:docMk/>
            <pc:sldMk cId="62308209" sldId="2161"/>
            <ac:spMk id="54" creationId="{E7D1A9F7-F376-48B5-ACD6-0ECF9A5D6033}"/>
          </ac:spMkLst>
        </pc:spChg>
        <pc:spChg chg="mod">
          <ac:chgData name="Aurelien Domont" userId="6da7715ce44349b3" providerId="LiveId" clId="{AFF9B0D5-CA7D-40FB-964A-23276295459E}" dt="2021-07-02T06:40:58.844" v="3850" actId="404"/>
          <ac:spMkLst>
            <pc:docMk/>
            <pc:sldMk cId="62308209" sldId="2161"/>
            <ac:spMk id="56" creationId="{8F580AAF-D82F-4402-8B8B-DF5D69E2E5AC}"/>
          </ac:spMkLst>
        </pc:spChg>
        <pc:spChg chg="mod">
          <ac:chgData name="Aurelien Domont" userId="6da7715ce44349b3" providerId="LiveId" clId="{AFF9B0D5-CA7D-40FB-964A-23276295459E}" dt="2021-07-02T06:40:58.844" v="3850" actId="404"/>
          <ac:spMkLst>
            <pc:docMk/>
            <pc:sldMk cId="62308209" sldId="2161"/>
            <ac:spMk id="57" creationId="{ED94E46C-75E5-4253-B48F-13AAF70595C9}"/>
          </ac:spMkLst>
        </pc:spChg>
        <pc:spChg chg="mod">
          <ac:chgData name="Aurelien Domont" userId="6da7715ce44349b3" providerId="LiveId" clId="{AFF9B0D5-CA7D-40FB-964A-23276295459E}" dt="2021-07-02T06:40:58.844" v="3850" actId="404"/>
          <ac:spMkLst>
            <pc:docMk/>
            <pc:sldMk cId="62308209" sldId="2161"/>
            <ac:spMk id="58" creationId="{91EFB211-2059-49C9-B55E-028664FF3920}"/>
          </ac:spMkLst>
        </pc:spChg>
        <pc:spChg chg="add mod">
          <ac:chgData name="Aurelien Domont" userId="6da7715ce44349b3" providerId="LiveId" clId="{AFF9B0D5-CA7D-40FB-964A-23276295459E}" dt="2021-07-02T06:42:28.885" v="3908" actId="1038"/>
          <ac:spMkLst>
            <pc:docMk/>
            <pc:sldMk cId="62308209" sldId="2161"/>
            <ac:spMk id="60" creationId="{6078E75A-95F9-4062-B971-DE37DF2475AE}"/>
          </ac:spMkLst>
        </pc:spChg>
        <pc:spChg chg="add mod">
          <ac:chgData name="Aurelien Domont" userId="6da7715ce44349b3" providerId="LiveId" clId="{AFF9B0D5-CA7D-40FB-964A-23276295459E}" dt="2021-07-02T06:42:42.024" v="3931" actId="1035"/>
          <ac:spMkLst>
            <pc:docMk/>
            <pc:sldMk cId="62308209" sldId="2161"/>
            <ac:spMk id="61" creationId="{EAB5CE94-774E-4911-BFC3-A660F1FCA6D3}"/>
          </ac:spMkLst>
        </pc:spChg>
        <pc:spChg chg="add mod">
          <ac:chgData name="Aurelien Domont" userId="6da7715ce44349b3" providerId="LiveId" clId="{AFF9B0D5-CA7D-40FB-964A-23276295459E}" dt="2021-07-02T06:42:33.856" v="3919" actId="1038"/>
          <ac:spMkLst>
            <pc:docMk/>
            <pc:sldMk cId="62308209" sldId="2161"/>
            <ac:spMk id="62" creationId="{ADE61CDA-E38F-4AB2-B7AD-D17F544B61C7}"/>
          </ac:spMkLst>
        </pc:spChg>
        <pc:spChg chg="add mod">
          <ac:chgData name="Aurelien Domont" userId="6da7715ce44349b3" providerId="LiveId" clId="{AFF9B0D5-CA7D-40FB-964A-23276295459E}" dt="2021-07-02T06:42:37.705" v="3924" actId="1038"/>
          <ac:spMkLst>
            <pc:docMk/>
            <pc:sldMk cId="62308209" sldId="2161"/>
            <ac:spMk id="63" creationId="{358A0373-39B5-474E-8421-DD6F0FB150FB}"/>
          </ac:spMkLst>
        </pc:spChg>
        <pc:spChg chg="add mod">
          <ac:chgData name="Aurelien Domont" userId="6da7715ce44349b3" providerId="LiveId" clId="{AFF9B0D5-CA7D-40FB-964A-23276295459E}" dt="2021-07-02T06:40:58.844" v="3850" actId="404"/>
          <ac:spMkLst>
            <pc:docMk/>
            <pc:sldMk cId="62308209" sldId="2161"/>
            <ac:spMk id="64" creationId="{9B3E9D2C-4278-4621-95A7-D27A6919FA86}"/>
          </ac:spMkLst>
        </pc:spChg>
        <pc:spChg chg="add mod">
          <ac:chgData name="Aurelien Domont" userId="6da7715ce44349b3" providerId="LiveId" clId="{AFF9B0D5-CA7D-40FB-964A-23276295459E}" dt="2021-07-02T06:42:47.446" v="3939" actId="1035"/>
          <ac:spMkLst>
            <pc:docMk/>
            <pc:sldMk cId="62308209" sldId="2161"/>
            <ac:spMk id="65" creationId="{B55073F2-1954-462C-A452-31F8233B9879}"/>
          </ac:spMkLst>
        </pc:spChg>
        <pc:spChg chg="add mod">
          <ac:chgData name="Aurelien Domont" userId="6da7715ce44349b3" providerId="LiveId" clId="{AFF9B0D5-CA7D-40FB-964A-23276295459E}" dt="2021-07-02T06:40:58.844" v="3850" actId="404"/>
          <ac:spMkLst>
            <pc:docMk/>
            <pc:sldMk cId="62308209" sldId="2161"/>
            <ac:spMk id="66" creationId="{796A31A2-C8F4-48B1-8462-32FD9A2EC610}"/>
          </ac:spMkLst>
        </pc:spChg>
        <pc:spChg chg="add mod">
          <ac:chgData name="Aurelien Domont" userId="6da7715ce44349b3" providerId="LiveId" clId="{AFF9B0D5-CA7D-40FB-964A-23276295459E}" dt="2021-07-02T06:40:58.844" v="3850" actId="404"/>
          <ac:spMkLst>
            <pc:docMk/>
            <pc:sldMk cId="62308209" sldId="2161"/>
            <ac:spMk id="72" creationId="{F3393F05-0676-4C98-8DAF-2DDEC3B3F675}"/>
          </ac:spMkLst>
        </pc:spChg>
        <pc:grpChg chg="add mod">
          <ac:chgData name="Aurelien Domont" userId="6da7715ce44349b3" providerId="LiveId" clId="{AFF9B0D5-CA7D-40FB-964A-23276295459E}" dt="2021-07-02T06:41:04.528" v="3851" actId="1076"/>
          <ac:grpSpMkLst>
            <pc:docMk/>
            <pc:sldMk cId="62308209" sldId="2161"/>
            <ac:grpSpMk id="2" creationId="{FFCD903C-2A8B-42A0-9428-7FD75FD8204A}"/>
          </ac:grpSpMkLst>
        </pc:grpChg>
        <pc:grpChg chg="del">
          <ac:chgData name="Aurelien Domont" userId="6da7715ce44349b3" providerId="LiveId" clId="{AFF9B0D5-CA7D-40FB-964A-23276295459E}" dt="2021-07-02T06:38:44.703" v="3846" actId="478"/>
          <ac:grpSpMkLst>
            <pc:docMk/>
            <pc:sldMk cId="62308209" sldId="2161"/>
            <ac:grpSpMk id="4" creationId="{BD5EFEE5-15B1-4D1C-9CCE-C42E69F4F8C9}"/>
          </ac:grpSpMkLst>
        </pc:grpChg>
        <pc:grpChg chg="add mod">
          <ac:chgData name="Aurelien Domont" userId="6da7715ce44349b3" providerId="LiveId" clId="{AFF9B0D5-CA7D-40FB-964A-23276295459E}" dt="2021-07-02T06:40:53.764" v="3848" actId="164"/>
          <ac:grpSpMkLst>
            <pc:docMk/>
            <pc:sldMk cId="62308209" sldId="2161"/>
            <ac:grpSpMk id="55" creationId="{5F173398-CF24-4A8B-BEFC-62A4F2CE4E3A}"/>
          </ac:grpSpMkLst>
        </pc:grpChg>
        <pc:picChg chg="add mod">
          <ac:chgData name="Aurelien Domont" userId="6da7715ce44349b3" providerId="LiveId" clId="{AFF9B0D5-CA7D-40FB-964A-23276295459E}" dt="2021-07-02T06:40:53.764" v="3848" actId="164"/>
          <ac:picMkLst>
            <pc:docMk/>
            <pc:sldMk cId="62308209" sldId="2161"/>
            <ac:picMk id="59" creationId="{92257B03-FF73-4623-89AC-5020CF4D5BC5}"/>
          </ac:picMkLst>
        </pc:picChg>
        <pc:picChg chg="add mod">
          <ac:chgData name="Aurelien Domont" userId="6da7715ce44349b3" providerId="LiveId" clId="{AFF9B0D5-CA7D-40FB-964A-23276295459E}" dt="2021-07-02T06:40:53.764" v="3848" actId="164"/>
          <ac:picMkLst>
            <pc:docMk/>
            <pc:sldMk cId="62308209" sldId="2161"/>
            <ac:picMk id="67" creationId="{59DE3361-E469-4F39-B393-EE897CA3545E}"/>
          </ac:picMkLst>
        </pc:picChg>
        <pc:picChg chg="add mod">
          <ac:chgData name="Aurelien Domont" userId="6da7715ce44349b3" providerId="LiveId" clId="{AFF9B0D5-CA7D-40FB-964A-23276295459E}" dt="2021-07-02T06:40:53.764" v="3848" actId="164"/>
          <ac:picMkLst>
            <pc:docMk/>
            <pc:sldMk cId="62308209" sldId="2161"/>
            <ac:picMk id="68" creationId="{E23B3C1A-4568-4858-A67F-5DB958054561}"/>
          </ac:picMkLst>
        </pc:picChg>
        <pc:picChg chg="add mod">
          <ac:chgData name="Aurelien Domont" userId="6da7715ce44349b3" providerId="LiveId" clId="{AFF9B0D5-CA7D-40FB-964A-23276295459E}" dt="2021-07-02T06:40:53.764" v="3848" actId="164"/>
          <ac:picMkLst>
            <pc:docMk/>
            <pc:sldMk cId="62308209" sldId="2161"/>
            <ac:picMk id="69" creationId="{427E90CE-7866-424A-B941-EF9E925D7355}"/>
          </ac:picMkLst>
        </pc:picChg>
        <pc:picChg chg="add mod">
          <ac:chgData name="Aurelien Domont" userId="6da7715ce44349b3" providerId="LiveId" clId="{AFF9B0D5-CA7D-40FB-964A-23276295459E}" dt="2021-07-02T06:40:53.764" v="3848" actId="164"/>
          <ac:picMkLst>
            <pc:docMk/>
            <pc:sldMk cId="62308209" sldId="2161"/>
            <ac:picMk id="70" creationId="{C9217D3E-347F-4A76-99E9-7D7CD95EF2C1}"/>
          </ac:picMkLst>
        </pc:picChg>
        <pc:picChg chg="add mod">
          <ac:chgData name="Aurelien Domont" userId="6da7715ce44349b3" providerId="LiveId" clId="{AFF9B0D5-CA7D-40FB-964A-23276295459E}" dt="2021-07-02T06:40:53.764" v="3848" actId="164"/>
          <ac:picMkLst>
            <pc:docMk/>
            <pc:sldMk cId="62308209" sldId="2161"/>
            <ac:picMk id="71" creationId="{F7AB70C5-DAFE-4354-8A89-D55658C61F19}"/>
          </ac:picMkLst>
        </pc:picChg>
      </pc:sldChg>
      <pc:sldChg chg="addSp delSp modSp add mod">
        <pc:chgData name="Aurelien Domont" userId="6da7715ce44349b3" providerId="LiveId" clId="{AFF9B0D5-CA7D-40FB-964A-23276295459E}" dt="2021-07-02T06:47:12.727" v="3991" actId="1036"/>
        <pc:sldMkLst>
          <pc:docMk/>
          <pc:sldMk cId="3272444503" sldId="2162"/>
        </pc:sldMkLst>
        <pc:spChg chg="mod">
          <ac:chgData name="Aurelien Domont" userId="6da7715ce44349b3" providerId="LiveId" clId="{AFF9B0D5-CA7D-40FB-964A-23276295459E}" dt="2021-07-02T06:43:36.925" v="3971" actId="20577"/>
          <ac:spMkLst>
            <pc:docMk/>
            <pc:sldMk cId="3272444503" sldId="2162"/>
            <ac:spMk id="16" creationId="{6C2BB713-9637-4B9B-938F-E9768876782A}"/>
          </ac:spMkLst>
        </pc:spChg>
        <pc:spChg chg="del">
          <ac:chgData name="Aurelien Domont" userId="6da7715ce44349b3" providerId="LiveId" clId="{AFF9B0D5-CA7D-40FB-964A-23276295459E}" dt="2021-07-02T06:43:47.718" v="3973" actId="478"/>
          <ac:spMkLst>
            <pc:docMk/>
            <pc:sldMk cId="3272444503" sldId="2162"/>
            <ac:spMk id="31" creationId="{80DB5C2A-CB4E-438A-8801-EB0869040D7B}"/>
          </ac:spMkLst>
        </pc:spChg>
        <pc:spChg chg="add mod">
          <ac:chgData name="Aurelien Domont" userId="6da7715ce44349b3" providerId="LiveId" clId="{AFF9B0D5-CA7D-40FB-964A-23276295459E}" dt="2021-07-02T06:47:12.727" v="3991" actId="1036"/>
          <ac:spMkLst>
            <pc:docMk/>
            <pc:sldMk cId="3272444503" sldId="2162"/>
            <ac:spMk id="34" creationId="{2B936149-E2A6-4141-A333-C5E1855245B1}"/>
          </ac:spMkLst>
        </pc:spChg>
        <pc:grpChg chg="del">
          <ac:chgData name="Aurelien Domont" userId="6da7715ce44349b3" providerId="LiveId" clId="{AFF9B0D5-CA7D-40FB-964A-23276295459E}" dt="2021-07-02T06:43:44.883" v="3972" actId="478"/>
          <ac:grpSpMkLst>
            <pc:docMk/>
            <pc:sldMk cId="3272444503" sldId="2162"/>
            <ac:grpSpMk id="2" creationId="{FFCD903C-2A8B-42A0-9428-7FD75FD8204A}"/>
          </ac:grpSpMkLst>
        </pc:grpChg>
      </pc:sldChg>
      <pc:sldChg chg="addSp modSp new del mod">
        <pc:chgData name="Aurelien Domont" userId="6da7715ce44349b3" providerId="LiveId" clId="{AFF9B0D5-CA7D-40FB-964A-23276295459E}" dt="2021-07-02T08:38:32.427" v="5616" actId="47"/>
        <pc:sldMkLst>
          <pc:docMk/>
          <pc:sldMk cId="2804548229" sldId="2163"/>
        </pc:sldMkLst>
        <pc:spChg chg="add mod">
          <ac:chgData name="Aurelien Domont" userId="6da7715ce44349b3" providerId="LiveId" clId="{AFF9B0D5-CA7D-40FB-964A-23276295459E}" dt="2021-07-02T06:47:42.087" v="3994" actId="207"/>
          <ac:spMkLst>
            <pc:docMk/>
            <pc:sldMk cId="2804548229" sldId="2163"/>
            <ac:spMk id="3" creationId="{A309BA6C-2CD1-4FF7-AEA6-6B4F4BAC4391}"/>
          </ac:spMkLst>
        </pc:spChg>
      </pc:sldChg>
      <pc:sldChg chg="addSp delSp modSp add mod">
        <pc:chgData name="Aurelien Domont" userId="6da7715ce44349b3" providerId="LiveId" clId="{AFF9B0D5-CA7D-40FB-964A-23276295459E}" dt="2021-07-06T01:53:34.327" v="6136" actId="20577"/>
        <pc:sldMkLst>
          <pc:docMk/>
          <pc:sldMk cId="3193088531" sldId="2164"/>
        </pc:sldMkLst>
        <pc:spChg chg="add mod">
          <ac:chgData name="Aurelien Domont" userId="6da7715ce44349b3" providerId="LiveId" clId="{AFF9B0D5-CA7D-40FB-964A-23276295459E}" dt="2021-07-02T06:54:01.482" v="4179"/>
          <ac:spMkLst>
            <pc:docMk/>
            <pc:sldMk cId="3193088531" sldId="2164"/>
            <ac:spMk id="6" creationId="{80C2FA24-C3FF-4F99-8694-BA262AB8070A}"/>
          </ac:spMkLst>
        </pc:spChg>
        <pc:spChg chg="add mod">
          <ac:chgData name="Aurelien Domont" userId="6da7715ce44349b3" providerId="LiveId" clId="{AFF9B0D5-CA7D-40FB-964A-23276295459E}" dt="2021-07-02T06:54:01.482" v="4179"/>
          <ac:spMkLst>
            <pc:docMk/>
            <pc:sldMk cId="3193088531" sldId="2164"/>
            <ac:spMk id="7" creationId="{AA474FA7-23F8-48D3-A4A1-46C7E7EF8CBF}"/>
          </ac:spMkLst>
        </pc:spChg>
        <pc:spChg chg="add mod">
          <ac:chgData name="Aurelien Domont" userId="6da7715ce44349b3" providerId="LiveId" clId="{AFF9B0D5-CA7D-40FB-964A-23276295459E}" dt="2021-07-02T06:54:01.482" v="4179"/>
          <ac:spMkLst>
            <pc:docMk/>
            <pc:sldMk cId="3193088531" sldId="2164"/>
            <ac:spMk id="8" creationId="{44D82846-5412-4854-9CE9-6BD4A4D3F201}"/>
          </ac:spMkLst>
        </pc:spChg>
        <pc:spChg chg="add mod">
          <ac:chgData name="Aurelien Domont" userId="6da7715ce44349b3" providerId="LiveId" clId="{AFF9B0D5-CA7D-40FB-964A-23276295459E}" dt="2021-07-02T06:54:01.482" v="4179"/>
          <ac:spMkLst>
            <pc:docMk/>
            <pc:sldMk cId="3193088531" sldId="2164"/>
            <ac:spMk id="10" creationId="{F6F130AE-016B-49E7-B056-02422308B35C}"/>
          </ac:spMkLst>
        </pc:spChg>
        <pc:spChg chg="add mod">
          <ac:chgData name="Aurelien Domont" userId="6da7715ce44349b3" providerId="LiveId" clId="{AFF9B0D5-CA7D-40FB-964A-23276295459E}" dt="2021-07-02T06:54:01.482" v="4179"/>
          <ac:spMkLst>
            <pc:docMk/>
            <pc:sldMk cId="3193088531" sldId="2164"/>
            <ac:spMk id="11" creationId="{381FC75F-03AC-4E06-95A5-77AA464D139B}"/>
          </ac:spMkLst>
        </pc:spChg>
        <pc:spChg chg="add mod">
          <ac:chgData name="Aurelien Domont" userId="6da7715ce44349b3" providerId="LiveId" clId="{AFF9B0D5-CA7D-40FB-964A-23276295459E}" dt="2021-07-02T06:54:01.482" v="4179"/>
          <ac:spMkLst>
            <pc:docMk/>
            <pc:sldMk cId="3193088531" sldId="2164"/>
            <ac:spMk id="12" creationId="{F22BF9F2-93B5-4D57-85D0-BA4BB3074ECE}"/>
          </ac:spMkLst>
        </pc:spChg>
        <pc:spChg chg="mod">
          <ac:chgData name="Aurelien Domont" userId="6da7715ce44349b3" providerId="LiveId" clId="{AFF9B0D5-CA7D-40FB-964A-23276295459E}" dt="2021-07-06T01:53:34.327" v="6136" actId="20577"/>
          <ac:spMkLst>
            <pc:docMk/>
            <pc:sldMk cId="3193088531" sldId="2164"/>
            <ac:spMk id="16" creationId="{6C2BB713-9637-4B9B-938F-E9768876782A}"/>
          </ac:spMkLst>
        </pc:spChg>
        <pc:spChg chg="del">
          <ac:chgData name="Aurelien Domont" userId="6da7715ce44349b3" providerId="LiveId" clId="{AFF9B0D5-CA7D-40FB-964A-23276295459E}" dt="2021-07-02T06:53:53.910" v="4178" actId="478"/>
          <ac:spMkLst>
            <pc:docMk/>
            <pc:sldMk cId="3193088531" sldId="2164"/>
            <ac:spMk id="34" creationId="{2B936149-E2A6-4141-A333-C5E1855245B1}"/>
          </ac:spMkLst>
        </pc:spChg>
        <pc:cxnChg chg="add mod">
          <ac:chgData name="Aurelien Domont" userId="6da7715ce44349b3" providerId="LiveId" clId="{AFF9B0D5-CA7D-40FB-964A-23276295459E}" dt="2021-07-02T06:54:01.482" v="4179"/>
          <ac:cxnSpMkLst>
            <pc:docMk/>
            <pc:sldMk cId="3193088531" sldId="2164"/>
            <ac:cxnSpMk id="9" creationId="{938E2F11-EEE6-4CE3-AA18-0A0EFEAFC83C}"/>
          </ac:cxnSpMkLst>
        </pc:cxnChg>
        <pc:cxnChg chg="add mod">
          <ac:chgData name="Aurelien Domont" userId="6da7715ce44349b3" providerId="LiveId" clId="{AFF9B0D5-CA7D-40FB-964A-23276295459E}" dt="2021-07-02T06:54:01.482" v="4179"/>
          <ac:cxnSpMkLst>
            <pc:docMk/>
            <pc:sldMk cId="3193088531" sldId="2164"/>
            <ac:cxnSpMk id="14" creationId="{BD538E77-947C-4FAE-B4B2-3DD1EF8F7624}"/>
          </ac:cxnSpMkLst>
        </pc:cxnChg>
      </pc:sldChg>
      <pc:sldChg chg="addSp delSp modSp add mod ord">
        <pc:chgData name="Aurelien Domont" userId="6da7715ce44349b3" providerId="LiveId" clId="{AFF9B0D5-CA7D-40FB-964A-23276295459E}" dt="2021-07-05T02:30:57.858" v="5704" actId="2085"/>
        <pc:sldMkLst>
          <pc:docMk/>
          <pc:sldMk cId="2400249224" sldId="2165"/>
        </pc:sldMkLst>
        <pc:spChg chg="add mod">
          <ac:chgData name="Aurelien Domont" userId="6da7715ce44349b3" providerId="LiveId" clId="{AFF9B0D5-CA7D-40FB-964A-23276295459E}" dt="2021-07-05T02:30:57.858" v="5704" actId="2085"/>
          <ac:spMkLst>
            <pc:docMk/>
            <pc:sldMk cId="2400249224" sldId="2165"/>
            <ac:spMk id="11" creationId="{C945D0E4-EB22-47D2-A223-70BD240B1835}"/>
          </ac:spMkLst>
        </pc:spChg>
        <pc:spChg chg="add mod">
          <ac:chgData name="Aurelien Domont" userId="6da7715ce44349b3" providerId="LiveId" clId="{AFF9B0D5-CA7D-40FB-964A-23276295459E}" dt="2021-07-02T08:08:32.337" v="5096" actId="1035"/>
          <ac:spMkLst>
            <pc:docMk/>
            <pc:sldMk cId="2400249224" sldId="2165"/>
            <ac:spMk id="12" creationId="{823B4944-65C4-4BB1-9DFE-E40E286EE30D}"/>
          </ac:spMkLst>
        </pc:spChg>
        <pc:spChg chg="mod">
          <ac:chgData name="Aurelien Domont" userId="6da7715ce44349b3" providerId="LiveId" clId="{AFF9B0D5-CA7D-40FB-964A-23276295459E}" dt="2021-07-02T08:06:29.897" v="5056"/>
          <ac:spMkLst>
            <pc:docMk/>
            <pc:sldMk cId="2400249224" sldId="2165"/>
            <ac:spMk id="16" creationId="{6C2BB713-9637-4B9B-938F-E9768876782A}"/>
          </ac:spMkLst>
        </pc:spChg>
        <pc:spChg chg="add mod">
          <ac:chgData name="Aurelien Domont" userId="6da7715ce44349b3" providerId="LiveId" clId="{AFF9B0D5-CA7D-40FB-964A-23276295459E}" dt="2021-07-05T02:30:57.858" v="5704" actId="2085"/>
          <ac:spMkLst>
            <pc:docMk/>
            <pc:sldMk cId="2400249224" sldId="2165"/>
            <ac:spMk id="18" creationId="{88429D78-7296-4BC5-B009-22D19FB81666}"/>
          </ac:spMkLst>
        </pc:spChg>
        <pc:spChg chg="add mod">
          <ac:chgData name="Aurelien Domont" userId="6da7715ce44349b3" providerId="LiveId" clId="{AFF9B0D5-CA7D-40FB-964A-23276295459E}" dt="2021-07-05T02:30:57.858" v="5704" actId="2085"/>
          <ac:spMkLst>
            <pc:docMk/>
            <pc:sldMk cId="2400249224" sldId="2165"/>
            <ac:spMk id="19" creationId="{D1342AC6-4D4C-4458-9891-9AB7B9818B31}"/>
          </ac:spMkLst>
        </pc:spChg>
        <pc:spChg chg="add mod">
          <ac:chgData name="Aurelien Domont" userId="6da7715ce44349b3" providerId="LiveId" clId="{AFF9B0D5-CA7D-40FB-964A-23276295459E}" dt="2021-07-05T02:30:57.858" v="5704" actId="2085"/>
          <ac:spMkLst>
            <pc:docMk/>
            <pc:sldMk cId="2400249224" sldId="2165"/>
            <ac:spMk id="20" creationId="{0C424759-6A53-4EB2-8AFA-918C5FBE1D15}"/>
          </ac:spMkLst>
        </pc:spChg>
        <pc:spChg chg="add del">
          <ac:chgData name="Aurelien Domont" userId="6da7715ce44349b3" providerId="LiveId" clId="{AFF9B0D5-CA7D-40FB-964A-23276295459E}" dt="2021-07-02T07:55:11.987" v="4633"/>
          <ac:spMkLst>
            <pc:docMk/>
            <pc:sldMk cId="2400249224" sldId="2165"/>
            <ac:spMk id="21" creationId="{15B7ADBE-C141-4946-B8B1-0AF5AA18ABAC}"/>
          </ac:spMkLst>
        </pc:spChg>
        <pc:spChg chg="add mod">
          <ac:chgData name="Aurelien Domont" userId="6da7715ce44349b3" providerId="LiveId" clId="{AFF9B0D5-CA7D-40FB-964A-23276295459E}" dt="2021-07-02T08:08:32.337" v="5096" actId="1035"/>
          <ac:spMkLst>
            <pc:docMk/>
            <pc:sldMk cId="2400249224" sldId="2165"/>
            <ac:spMk id="22" creationId="{2F78B30E-DA97-4E69-8F7E-6B67C7C7ACEC}"/>
          </ac:spMkLst>
        </pc:spChg>
        <pc:spChg chg="add mod">
          <ac:chgData name="Aurelien Domont" userId="6da7715ce44349b3" providerId="LiveId" clId="{AFF9B0D5-CA7D-40FB-964A-23276295459E}" dt="2021-07-02T08:08:32.337" v="5096" actId="1035"/>
          <ac:spMkLst>
            <pc:docMk/>
            <pc:sldMk cId="2400249224" sldId="2165"/>
            <ac:spMk id="23" creationId="{1EA029EC-6818-49F2-B572-01B2F5F20DEB}"/>
          </ac:spMkLst>
        </pc:spChg>
        <pc:spChg chg="add mod">
          <ac:chgData name="Aurelien Domont" userId="6da7715ce44349b3" providerId="LiveId" clId="{AFF9B0D5-CA7D-40FB-964A-23276295459E}" dt="2021-07-02T08:08:32.337" v="5096" actId="1035"/>
          <ac:spMkLst>
            <pc:docMk/>
            <pc:sldMk cId="2400249224" sldId="2165"/>
            <ac:spMk id="24" creationId="{C5DC413F-6B65-4481-B60E-C6DBB128152C}"/>
          </ac:spMkLst>
        </pc:spChg>
        <pc:spChg chg="add mod">
          <ac:chgData name="Aurelien Domont" userId="6da7715ce44349b3" providerId="LiveId" clId="{AFF9B0D5-CA7D-40FB-964A-23276295459E}" dt="2021-07-02T08:08:10.069" v="5081" actId="1036"/>
          <ac:spMkLst>
            <pc:docMk/>
            <pc:sldMk cId="2400249224" sldId="2165"/>
            <ac:spMk id="29" creationId="{29DBF3F6-943A-4401-86EA-08968460D530}"/>
          </ac:spMkLst>
        </pc:spChg>
        <pc:spChg chg="add mod">
          <ac:chgData name="Aurelien Domont" userId="6da7715ce44349b3" providerId="LiveId" clId="{AFF9B0D5-CA7D-40FB-964A-23276295459E}" dt="2021-07-02T08:08:10.069" v="5081" actId="1036"/>
          <ac:spMkLst>
            <pc:docMk/>
            <pc:sldMk cId="2400249224" sldId="2165"/>
            <ac:spMk id="30" creationId="{C38C2946-25FF-4699-86AA-50F5DEBCFD04}"/>
          </ac:spMkLst>
        </pc:spChg>
        <pc:spChg chg="add del">
          <ac:chgData name="Aurelien Domont" userId="6da7715ce44349b3" providerId="LiveId" clId="{AFF9B0D5-CA7D-40FB-964A-23276295459E}" dt="2021-07-02T07:57:50.851" v="4746" actId="478"/>
          <ac:spMkLst>
            <pc:docMk/>
            <pc:sldMk cId="2400249224" sldId="2165"/>
            <ac:spMk id="32" creationId="{FC195B7B-413E-45F8-B82B-FB042FA0BB43}"/>
          </ac:spMkLst>
        </pc:spChg>
        <pc:spChg chg="add del mod ord">
          <ac:chgData name="Aurelien Domont" userId="6da7715ce44349b3" providerId="LiveId" clId="{AFF9B0D5-CA7D-40FB-964A-23276295459E}" dt="2021-07-02T08:01:19.031" v="4891" actId="478"/>
          <ac:spMkLst>
            <pc:docMk/>
            <pc:sldMk cId="2400249224" sldId="2165"/>
            <ac:spMk id="33" creationId="{444D7D4A-170F-44FB-B38F-E61206D68C56}"/>
          </ac:spMkLst>
        </pc:spChg>
        <pc:spChg chg="del">
          <ac:chgData name="Aurelien Domont" userId="6da7715ce44349b3" providerId="LiveId" clId="{AFF9B0D5-CA7D-40FB-964A-23276295459E}" dt="2021-07-02T06:59:25.385" v="4284" actId="478"/>
          <ac:spMkLst>
            <pc:docMk/>
            <pc:sldMk cId="2400249224" sldId="2165"/>
            <ac:spMk id="34" creationId="{2B936149-E2A6-4141-A333-C5E1855245B1}"/>
          </ac:spMkLst>
        </pc:spChg>
        <pc:spChg chg="add del">
          <ac:chgData name="Aurelien Domont" userId="6da7715ce44349b3" providerId="LiveId" clId="{AFF9B0D5-CA7D-40FB-964A-23276295459E}" dt="2021-07-02T07:59:16.229" v="4864" actId="11529"/>
          <ac:spMkLst>
            <pc:docMk/>
            <pc:sldMk cId="2400249224" sldId="2165"/>
            <ac:spMk id="35" creationId="{9E5C7A3E-71D4-47F5-91B3-667217B31E98}"/>
          </ac:spMkLst>
        </pc:spChg>
        <pc:spChg chg="add del mod">
          <ac:chgData name="Aurelien Domont" userId="6da7715ce44349b3" providerId="LiveId" clId="{AFF9B0D5-CA7D-40FB-964A-23276295459E}" dt="2021-07-02T07:59:26.527" v="4867" actId="478"/>
          <ac:spMkLst>
            <pc:docMk/>
            <pc:sldMk cId="2400249224" sldId="2165"/>
            <ac:spMk id="36" creationId="{238A74CA-8FC4-45E2-BFB9-F2A11E0D838A}"/>
          </ac:spMkLst>
        </pc:spChg>
        <pc:spChg chg="add mod">
          <ac:chgData name="Aurelien Domont" userId="6da7715ce44349b3" providerId="LiveId" clId="{AFF9B0D5-CA7D-40FB-964A-23276295459E}" dt="2021-07-02T08:08:10.069" v="5081" actId="1036"/>
          <ac:spMkLst>
            <pc:docMk/>
            <pc:sldMk cId="2400249224" sldId="2165"/>
            <ac:spMk id="37" creationId="{E090C855-9260-479C-B65C-3952652E8DF4}"/>
          </ac:spMkLst>
        </pc:spChg>
        <pc:spChg chg="add del mod">
          <ac:chgData name="Aurelien Domont" userId="6da7715ce44349b3" providerId="LiveId" clId="{AFF9B0D5-CA7D-40FB-964A-23276295459E}" dt="2021-07-02T08:05:43.796" v="5041" actId="478"/>
          <ac:spMkLst>
            <pc:docMk/>
            <pc:sldMk cId="2400249224" sldId="2165"/>
            <ac:spMk id="50" creationId="{FED94474-2B2D-4855-8CBB-00860C129111}"/>
          </ac:spMkLst>
        </pc:spChg>
        <pc:spChg chg="add mod">
          <ac:chgData name="Aurelien Domont" userId="6da7715ce44349b3" providerId="LiveId" clId="{AFF9B0D5-CA7D-40FB-964A-23276295459E}" dt="2021-07-02T08:08:42.926" v="5098" actId="1036"/>
          <ac:spMkLst>
            <pc:docMk/>
            <pc:sldMk cId="2400249224" sldId="2165"/>
            <ac:spMk id="51" creationId="{89C21646-4673-48FC-8467-4C1C08EEAC56}"/>
          </ac:spMkLst>
        </pc:spChg>
        <pc:spChg chg="add mod">
          <ac:chgData name="Aurelien Domont" userId="6da7715ce44349b3" providerId="LiveId" clId="{AFF9B0D5-CA7D-40FB-964A-23276295459E}" dt="2021-07-02T08:08:42.926" v="5098" actId="1036"/>
          <ac:spMkLst>
            <pc:docMk/>
            <pc:sldMk cId="2400249224" sldId="2165"/>
            <ac:spMk id="54" creationId="{207750B2-0729-4BB5-BFF3-873815BFFE7B}"/>
          </ac:spMkLst>
        </pc:spChg>
        <pc:spChg chg="add mod">
          <ac:chgData name="Aurelien Domont" userId="6da7715ce44349b3" providerId="LiveId" clId="{AFF9B0D5-CA7D-40FB-964A-23276295459E}" dt="2021-07-02T08:08:42.926" v="5098" actId="1036"/>
          <ac:spMkLst>
            <pc:docMk/>
            <pc:sldMk cId="2400249224" sldId="2165"/>
            <ac:spMk id="55" creationId="{D510DCA3-5B46-483C-A161-635432637180}"/>
          </ac:spMkLst>
        </pc:spChg>
        <pc:spChg chg="add mod">
          <ac:chgData name="Aurelien Domont" userId="6da7715ce44349b3" providerId="LiveId" clId="{AFF9B0D5-CA7D-40FB-964A-23276295459E}" dt="2021-07-02T08:08:42.926" v="5098" actId="1036"/>
          <ac:spMkLst>
            <pc:docMk/>
            <pc:sldMk cId="2400249224" sldId="2165"/>
            <ac:spMk id="56" creationId="{149F8417-C82B-4D73-84CD-1D791D410559}"/>
          </ac:spMkLst>
        </pc:spChg>
        <pc:spChg chg="add mod ord">
          <ac:chgData name="Aurelien Domont" userId="6da7715ce44349b3" providerId="LiveId" clId="{AFF9B0D5-CA7D-40FB-964A-23276295459E}" dt="2021-07-02T08:08:10.069" v="5081" actId="1036"/>
          <ac:spMkLst>
            <pc:docMk/>
            <pc:sldMk cId="2400249224" sldId="2165"/>
            <ac:spMk id="57" creationId="{6881C0D3-7F7F-4F87-A07A-1B0585F319D1}"/>
          </ac:spMkLst>
        </pc:spChg>
        <pc:picChg chg="add mod">
          <ac:chgData name="Aurelien Domont" userId="6da7715ce44349b3" providerId="LiveId" clId="{AFF9B0D5-CA7D-40FB-964A-23276295459E}" dt="2021-07-05T02:29:59.750" v="5698" actId="207"/>
          <ac:picMkLst>
            <pc:docMk/>
            <pc:sldMk cId="2400249224" sldId="2165"/>
            <ac:picMk id="3" creationId="{71758693-EE1D-4F29-A184-12C0424C4705}"/>
          </ac:picMkLst>
        </pc:picChg>
        <pc:picChg chg="add del mod">
          <ac:chgData name="Aurelien Domont" userId="6da7715ce44349b3" providerId="LiveId" clId="{AFF9B0D5-CA7D-40FB-964A-23276295459E}" dt="2021-07-02T07:08:05.450" v="4316" actId="478"/>
          <ac:picMkLst>
            <pc:docMk/>
            <pc:sldMk cId="2400249224" sldId="2165"/>
            <ac:picMk id="6" creationId="{68AF59FD-3FDC-409A-A1AF-EA4C0C2E64DE}"/>
          </ac:picMkLst>
        </pc:picChg>
        <pc:picChg chg="add del mod">
          <ac:chgData name="Aurelien Domont" userId="6da7715ce44349b3" providerId="LiveId" clId="{AFF9B0D5-CA7D-40FB-964A-23276295459E}" dt="2021-07-02T07:07:56.221" v="4313" actId="478"/>
          <ac:picMkLst>
            <pc:docMk/>
            <pc:sldMk cId="2400249224" sldId="2165"/>
            <ac:picMk id="8" creationId="{8DD36EE1-7030-49BA-BB4D-CCA7286A4374}"/>
          </ac:picMkLst>
        </pc:picChg>
        <pc:picChg chg="add del mod">
          <ac:chgData name="Aurelien Domont" userId="6da7715ce44349b3" providerId="LiveId" clId="{AFF9B0D5-CA7D-40FB-964A-23276295459E}" dt="2021-07-02T07:08:56.841" v="4325" actId="478"/>
          <ac:picMkLst>
            <pc:docMk/>
            <pc:sldMk cId="2400249224" sldId="2165"/>
            <ac:picMk id="10" creationId="{85F68A0B-00ED-4E65-9593-2D230B1D8EEE}"/>
          </ac:picMkLst>
        </pc:picChg>
        <pc:picChg chg="add mod">
          <ac:chgData name="Aurelien Domont" userId="6da7715ce44349b3" providerId="LiveId" clId="{AFF9B0D5-CA7D-40FB-964A-23276295459E}" dt="2021-07-05T02:29:59.750" v="5698" actId="207"/>
          <ac:picMkLst>
            <pc:docMk/>
            <pc:sldMk cId="2400249224" sldId="2165"/>
            <ac:picMk id="14" creationId="{74CA0334-E7F2-4E00-8F48-A0C54D7E9AC0}"/>
          </ac:picMkLst>
        </pc:picChg>
        <pc:picChg chg="add mod">
          <ac:chgData name="Aurelien Domont" userId="6da7715ce44349b3" providerId="LiveId" clId="{AFF9B0D5-CA7D-40FB-964A-23276295459E}" dt="2021-07-05T02:29:59.750" v="5698" actId="207"/>
          <ac:picMkLst>
            <pc:docMk/>
            <pc:sldMk cId="2400249224" sldId="2165"/>
            <ac:picMk id="15" creationId="{70E9EE01-614F-4CDA-95D1-0894D8A6384F}"/>
          </ac:picMkLst>
        </pc:picChg>
        <pc:picChg chg="add mod">
          <ac:chgData name="Aurelien Domont" userId="6da7715ce44349b3" providerId="LiveId" clId="{AFF9B0D5-CA7D-40FB-964A-23276295459E}" dt="2021-07-05T02:29:59.750" v="5698" actId="207"/>
          <ac:picMkLst>
            <pc:docMk/>
            <pc:sldMk cId="2400249224" sldId="2165"/>
            <ac:picMk id="17" creationId="{2D239190-B59B-474E-8796-CC98D3CA8AC1}"/>
          </ac:picMkLst>
        </pc:picChg>
        <pc:picChg chg="add del">
          <ac:chgData name="Aurelien Domont" userId="6da7715ce44349b3" providerId="LiveId" clId="{AFF9B0D5-CA7D-40FB-964A-23276295459E}" dt="2021-07-02T07:55:13.760" v="4635"/>
          <ac:picMkLst>
            <pc:docMk/>
            <pc:sldMk cId="2400249224" sldId="2165"/>
            <ac:picMk id="25" creationId="{26A399CD-A245-4DA9-BECE-1559DC266587}"/>
          </ac:picMkLst>
        </pc:picChg>
        <pc:picChg chg="add del mod">
          <ac:chgData name="Aurelien Domont" userId="6da7715ce44349b3" providerId="LiveId" clId="{AFF9B0D5-CA7D-40FB-964A-23276295459E}" dt="2021-07-05T02:28:48.248" v="5694"/>
          <ac:picMkLst>
            <pc:docMk/>
            <pc:sldMk cId="2400249224" sldId="2165"/>
            <ac:picMk id="27" creationId="{11BF715A-C0A1-4715-8BF3-B03BF93E3FFA}"/>
          </ac:picMkLst>
        </pc:picChg>
        <pc:picChg chg="add mod">
          <ac:chgData name="Aurelien Domont" userId="6da7715ce44349b3" providerId="LiveId" clId="{AFF9B0D5-CA7D-40FB-964A-23276295459E}" dt="2021-07-02T08:08:10.069" v="5081" actId="1036"/>
          <ac:picMkLst>
            <pc:docMk/>
            <pc:sldMk cId="2400249224" sldId="2165"/>
            <ac:picMk id="3074" creationId="{0AC0D32F-D87D-4B83-8BFC-E6D05DAEC117}"/>
          </ac:picMkLst>
        </pc:picChg>
        <pc:picChg chg="add mod">
          <ac:chgData name="Aurelien Domont" userId="6da7715ce44349b3" providerId="LiveId" clId="{AFF9B0D5-CA7D-40FB-964A-23276295459E}" dt="2021-07-02T08:08:10.069" v="5081" actId="1036"/>
          <ac:picMkLst>
            <pc:docMk/>
            <pc:sldMk cId="2400249224" sldId="2165"/>
            <ac:picMk id="3078" creationId="{C3956BAD-05A7-4E7C-B3FC-6E893538FA78}"/>
          </ac:picMkLst>
        </pc:picChg>
        <pc:cxnChg chg="add del mod">
          <ac:chgData name="Aurelien Domont" userId="6da7715ce44349b3" providerId="LiveId" clId="{AFF9B0D5-CA7D-40FB-964A-23276295459E}" dt="2021-07-02T07:57:25.564" v="4736" actId="478"/>
          <ac:cxnSpMkLst>
            <pc:docMk/>
            <pc:sldMk cId="2400249224" sldId="2165"/>
            <ac:cxnSpMk id="27" creationId="{B7A3B84A-2CEC-4A7A-A610-139D3635DDB5}"/>
          </ac:cxnSpMkLst>
        </pc:cxnChg>
        <pc:cxnChg chg="add del mod">
          <ac:chgData name="Aurelien Domont" userId="6da7715ce44349b3" providerId="LiveId" clId="{AFF9B0D5-CA7D-40FB-964A-23276295459E}" dt="2021-07-02T07:57:25.564" v="4736" actId="478"/>
          <ac:cxnSpMkLst>
            <pc:docMk/>
            <pc:sldMk cId="2400249224" sldId="2165"/>
            <ac:cxnSpMk id="31" creationId="{FDA8CC01-A41B-4047-B592-7D020AFE2FFC}"/>
          </ac:cxnSpMkLst>
        </pc:cxnChg>
        <pc:cxnChg chg="add del mod">
          <ac:chgData name="Aurelien Domont" userId="6da7715ce44349b3" providerId="LiveId" clId="{AFF9B0D5-CA7D-40FB-964A-23276295459E}" dt="2021-07-02T08:01:25.443" v="4892" actId="478"/>
          <ac:cxnSpMkLst>
            <pc:docMk/>
            <pc:sldMk cId="2400249224" sldId="2165"/>
            <ac:cxnSpMk id="39" creationId="{0476287B-115F-4DFC-B17B-AAA1C5E7E386}"/>
          </ac:cxnSpMkLst>
        </pc:cxnChg>
        <pc:cxnChg chg="add del mod">
          <ac:chgData name="Aurelien Domont" userId="6da7715ce44349b3" providerId="LiveId" clId="{AFF9B0D5-CA7D-40FB-964A-23276295459E}" dt="2021-07-02T08:01:25.443" v="4892" actId="478"/>
          <ac:cxnSpMkLst>
            <pc:docMk/>
            <pc:sldMk cId="2400249224" sldId="2165"/>
            <ac:cxnSpMk id="41" creationId="{05928C74-AF54-46EB-892B-273FDA88C507}"/>
          </ac:cxnSpMkLst>
        </pc:cxnChg>
        <pc:cxnChg chg="add del mod">
          <ac:chgData name="Aurelien Domont" userId="6da7715ce44349b3" providerId="LiveId" clId="{AFF9B0D5-CA7D-40FB-964A-23276295459E}" dt="2021-07-02T08:01:25.443" v="4892" actId="478"/>
          <ac:cxnSpMkLst>
            <pc:docMk/>
            <pc:sldMk cId="2400249224" sldId="2165"/>
            <ac:cxnSpMk id="43" creationId="{2E0CAC20-5F97-4E91-93F7-E518B417FF6D}"/>
          </ac:cxnSpMkLst>
        </pc:cxnChg>
        <pc:cxnChg chg="add del mod">
          <ac:chgData name="Aurelien Domont" userId="6da7715ce44349b3" providerId="LiveId" clId="{AFF9B0D5-CA7D-40FB-964A-23276295459E}" dt="2021-07-02T08:01:25.443" v="4892" actId="478"/>
          <ac:cxnSpMkLst>
            <pc:docMk/>
            <pc:sldMk cId="2400249224" sldId="2165"/>
            <ac:cxnSpMk id="45" creationId="{6B6DD873-1562-4340-86C2-B2C023DEA74C}"/>
          </ac:cxnSpMkLst>
        </pc:cxnChg>
      </pc:sldChg>
      <pc:sldChg chg="add del">
        <pc:chgData name="Aurelien Domont" userId="6da7715ce44349b3" providerId="LiveId" clId="{AFF9B0D5-CA7D-40FB-964A-23276295459E}" dt="2021-07-02T08:38:32.427" v="5616" actId="47"/>
        <pc:sldMkLst>
          <pc:docMk/>
          <pc:sldMk cId="3057889348" sldId="2166"/>
        </pc:sldMkLst>
      </pc:sldChg>
      <pc:sldChg chg="addSp delSp modSp add mod">
        <pc:chgData name="Aurelien Domont" userId="6da7715ce44349b3" providerId="LiveId" clId="{AFF9B0D5-CA7D-40FB-964A-23276295459E}" dt="2021-07-06T01:59:26.933" v="6194" actId="478"/>
        <pc:sldMkLst>
          <pc:docMk/>
          <pc:sldMk cId="2369505737" sldId="2167"/>
        </pc:sldMkLst>
        <pc:spChg chg="add mod">
          <ac:chgData name="Aurelien Domont" userId="6da7715ce44349b3" providerId="LiveId" clId="{AFF9B0D5-CA7D-40FB-964A-23276295459E}" dt="2021-07-06T01:47:45.575" v="6014" actId="108"/>
          <ac:spMkLst>
            <pc:docMk/>
            <pc:sldMk cId="2369505737" sldId="2167"/>
            <ac:spMk id="6" creationId="{61BD4388-6F9D-4C31-90C2-680E7FD1FB33}"/>
          </ac:spMkLst>
        </pc:spChg>
        <pc:spChg chg="del">
          <ac:chgData name="Aurelien Domont" userId="6da7715ce44349b3" providerId="LiveId" clId="{AFF9B0D5-CA7D-40FB-964A-23276295459E}" dt="2021-07-02T07:53:15.492" v="4628" actId="478"/>
          <ac:spMkLst>
            <pc:docMk/>
            <pc:sldMk cId="2369505737" sldId="2167"/>
            <ac:spMk id="6" creationId="{80C2FA24-C3FF-4F99-8694-BA262AB8070A}"/>
          </ac:spMkLst>
        </pc:spChg>
        <pc:spChg chg="add mod">
          <ac:chgData name="Aurelien Domont" userId="6da7715ce44349b3" providerId="LiveId" clId="{AFF9B0D5-CA7D-40FB-964A-23276295459E}" dt="2021-07-02T08:36:17.101" v="5512"/>
          <ac:spMkLst>
            <pc:docMk/>
            <pc:sldMk cId="2369505737" sldId="2167"/>
            <ac:spMk id="7" creationId="{058165D9-C6C5-41CE-8E4E-2D521B573407}"/>
          </ac:spMkLst>
        </pc:spChg>
        <pc:spChg chg="del">
          <ac:chgData name="Aurelien Domont" userId="6da7715ce44349b3" providerId="LiveId" clId="{AFF9B0D5-CA7D-40FB-964A-23276295459E}" dt="2021-07-02T07:53:15.492" v="4628" actId="478"/>
          <ac:spMkLst>
            <pc:docMk/>
            <pc:sldMk cId="2369505737" sldId="2167"/>
            <ac:spMk id="7" creationId="{AA474FA7-23F8-48D3-A4A1-46C7E7EF8CBF}"/>
          </ac:spMkLst>
        </pc:spChg>
        <pc:spChg chg="del">
          <ac:chgData name="Aurelien Domont" userId="6da7715ce44349b3" providerId="LiveId" clId="{AFF9B0D5-CA7D-40FB-964A-23276295459E}" dt="2021-07-02T07:53:15.492" v="4628" actId="478"/>
          <ac:spMkLst>
            <pc:docMk/>
            <pc:sldMk cId="2369505737" sldId="2167"/>
            <ac:spMk id="8" creationId="{44D82846-5412-4854-9CE9-6BD4A4D3F201}"/>
          </ac:spMkLst>
        </pc:spChg>
        <pc:spChg chg="add mod">
          <ac:chgData name="Aurelien Domont" userId="6da7715ce44349b3" providerId="LiveId" clId="{AFF9B0D5-CA7D-40FB-964A-23276295459E}" dt="2021-07-02T08:36:17.101" v="5512"/>
          <ac:spMkLst>
            <pc:docMk/>
            <pc:sldMk cId="2369505737" sldId="2167"/>
            <ac:spMk id="8" creationId="{5E265501-976D-4DCF-A6F8-A1059EF162B8}"/>
          </ac:spMkLst>
        </pc:spChg>
        <pc:spChg chg="add mod">
          <ac:chgData name="Aurelien Domont" userId="6da7715ce44349b3" providerId="LiveId" clId="{AFF9B0D5-CA7D-40FB-964A-23276295459E}" dt="2021-07-02T08:36:17.101" v="5512"/>
          <ac:spMkLst>
            <pc:docMk/>
            <pc:sldMk cId="2369505737" sldId="2167"/>
            <ac:spMk id="10" creationId="{B4598AEF-78F8-475E-AC7D-E8372096BAB2}"/>
          </ac:spMkLst>
        </pc:spChg>
        <pc:spChg chg="del">
          <ac:chgData name="Aurelien Domont" userId="6da7715ce44349b3" providerId="LiveId" clId="{AFF9B0D5-CA7D-40FB-964A-23276295459E}" dt="2021-07-02T07:53:15.492" v="4628" actId="478"/>
          <ac:spMkLst>
            <pc:docMk/>
            <pc:sldMk cId="2369505737" sldId="2167"/>
            <ac:spMk id="10" creationId="{F6F130AE-016B-49E7-B056-02422308B35C}"/>
          </ac:spMkLst>
        </pc:spChg>
        <pc:spChg chg="del">
          <ac:chgData name="Aurelien Domont" userId="6da7715ce44349b3" providerId="LiveId" clId="{AFF9B0D5-CA7D-40FB-964A-23276295459E}" dt="2021-07-02T07:53:15.492" v="4628" actId="478"/>
          <ac:spMkLst>
            <pc:docMk/>
            <pc:sldMk cId="2369505737" sldId="2167"/>
            <ac:spMk id="11" creationId="{381FC75F-03AC-4E06-95A5-77AA464D139B}"/>
          </ac:spMkLst>
        </pc:spChg>
        <pc:spChg chg="add mod">
          <ac:chgData name="Aurelien Domont" userId="6da7715ce44349b3" providerId="LiveId" clId="{AFF9B0D5-CA7D-40FB-964A-23276295459E}" dt="2021-07-02T08:36:17.101" v="5512"/>
          <ac:spMkLst>
            <pc:docMk/>
            <pc:sldMk cId="2369505737" sldId="2167"/>
            <ac:spMk id="11" creationId="{45404312-C950-45DC-812F-5152B826E641}"/>
          </ac:spMkLst>
        </pc:spChg>
        <pc:spChg chg="add mod">
          <ac:chgData name="Aurelien Domont" userId="6da7715ce44349b3" providerId="LiveId" clId="{AFF9B0D5-CA7D-40FB-964A-23276295459E}" dt="2021-07-02T08:36:17.101" v="5512"/>
          <ac:spMkLst>
            <pc:docMk/>
            <pc:sldMk cId="2369505737" sldId="2167"/>
            <ac:spMk id="12" creationId="{19A483B2-8F29-40FE-8DE1-64429566E02B}"/>
          </ac:spMkLst>
        </pc:spChg>
        <pc:spChg chg="del">
          <ac:chgData name="Aurelien Domont" userId="6da7715ce44349b3" providerId="LiveId" clId="{AFF9B0D5-CA7D-40FB-964A-23276295459E}" dt="2021-07-02T07:53:15.492" v="4628" actId="478"/>
          <ac:spMkLst>
            <pc:docMk/>
            <pc:sldMk cId="2369505737" sldId="2167"/>
            <ac:spMk id="12" creationId="{F22BF9F2-93B5-4D57-85D0-BA4BB3074ECE}"/>
          </ac:spMkLst>
        </pc:spChg>
        <pc:spChg chg="add del mod ord">
          <ac:chgData name="Aurelien Domont" userId="6da7715ce44349b3" providerId="LiveId" clId="{AFF9B0D5-CA7D-40FB-964A-23276295459E}" dt="2021-07-06T01:59:26.933" v="6194" actId="478"/>
          <ac:spMkLst>
            <pc:docMk/>
            <pc:sldMk cId="2369505737" sldId="2167"/>
            <ac:spMk id="15" creationId="{173F3409-5225-450B-9E19-0E199D73E9FA}"/>
          </ac:spMkLst>
        </pc:spChg>
        <pc:spChg chg="mod">
          <ac:chgData name="Aurelien Domont" userId="6da7715ce44349b3" providerId="LiveId" clId="{AFF9B0D5-CA7D-40FB-964A-23276295459E}" dt="2021-07-06T01:47:52.453" v="6024" actId="20577"/>
          <ac:spMkLst>
            <pc:docMk/>
            <pc:sldMk cId="2369505737" sldId="2167"/>
            <ac:spMk id="16" creationId="{6C2BB713-9637-4B9B-938F-E9768876782A}"/>
          </ac:spMkLst>
        </pc:spChg>
        <pc:cxnChg chg="add mod">
          <ac:chgData name="Aurelien Domont" userId="6da7715ce44349b3" providerId="LiveId" clId="{AFF9B0D5-CA7D-40FB-964A-23276295459E}" dt="2021-07-02T08:36:17.101" v="5512"/>
          <ac:cxnSpMkLst>
            <pc:docMk/>
            <pc:sldMk cId="2369505737" sldId="2167"/>
            <ac:cxnSpMk id="9" creationId="{29940A68-0B12-4DB4-B6BF-26CE87860A62}"/>
          </ac:cxnSpMkLst>
        </pc:cxnChg>
        <pc:cxnChg chg="del">
          <ac:chgData name="Aurelien Domont" userId="6da7715ce44349b3" providerId="LiveId" clId="{AFF9B0D5-CA7D-40FB-964A-23276295459E}" dt="2021-07-02T07:53:15.492" v="4628" actId="478"/>
          <ac:cxnSpMkLst>
            <pc:docMk/>
            <pc:sldMk cId="2369505737" sldId="2167"/>
            <ac:cxnSpMk id="9" creationId="{938E2F11-EEE6-4CE3-AA18-0A0EFEAFC83C}"/>
          </ac:cxnSpMkLst>
        </pc:cxnChg>
        <pc:cxnChg chg="add mod">
          <ac:chgData name="Aurelien Domont" userId="6da7715ce44349b3" providerId="LiveId" clId="{AFF9B0D5-CA7D-40FB-964A-23276295459E}" dt="2021-07-02T08:36:17.101" v="5512"/>
          <ac:cxnSpMkLst>
            <pc:docMk/>
            <pc:sldMk cId="2369505737" sldId="2167"/>
            <ac:cxnSpMk id="14" creationId="{14CD9B99-0907-4DB9-B10F-F0E0E658423E}"/>
          </ac:cxnSpMkLst>
        </pc:cxnChg>
        <pc:cxnChg chg="del">
          <ac:chgData name="Aurelien Domont" userId="6da7715ce44349b3" providerId="LiveId" clId="{AFF9B0D5-CA7D-40FB-964A-23276295459E}" dt="2021-07-02T07:53:15.492" v="4628" actId="478"/>
          <ac:cxnSpMkLst>
            <pc:docMk/>
            <pc:sldMk cId="2369505737" sldId="2167"/>
            <ac:cxnSpMk id="14" creationId="{BD538E77-947C-4FAE-B4B2-3DD1EF8F7624}"/>
          </ac:cxnSpMkLst>
        </pc:cxnChg>
      </pc:sldChg>
      <pc:sldChg chg="delSp modSp add del mod">
        <pc:chgData name="Aurelien Domont" userId="6da7715ce44349b3" providerId="LiveId" clId="{AFF9B0D5-CA7D-40FB-964A-23276295459E}" dt="2021-07-06T02:00:42.042" v="6200" actId="47"/>
        <pc:sldMkLst>
          <pc:docMk/>
          <pc:sldMk cId="13669963" sldId="2168"/>
        </pc:sldMkLst>
        <pc:spChg chg="del">
          <ac:chgData name="Aurelien Domont" userId="6da7715ce44349b3" providerId="LiveId" clId="{AFF9B0D5-CA7D-40FB-964A-23276295459E}" dt="2021-07-02T08:37:15.437" v="5586" actId="478"/>
          <ac:spMkLst>
            <pc:docMk/>
            <pc:sldMk cId="13669963" sldId="2168"/>
            <ac:spMk id="6" creationId="{61BD4388-6F9D-4C31-90C2-680E7FD1FB33}"/>
          </ac:spMkLst>
        </pc:spChg>
        <pc:spChg chg="del">
          <ac:chgData name="Aurelien Domont" userId="6da7715ce44349b3" providerId="LiveId" clId="{AFF9B0D5-CA7D-40FB-964A-23276295459E}" dt="2021-07-02T08:37:15.437" v="5586" actId="478"/>
          <ac:spMkLst>
            <pc:docMk/>
            <pc:sldMk cId="13669963" sldId="2168"/>
            <ac:spMk id="7" creationId="{058165D9-C6C5-41CE-8E4E-2D521B573407}"/>
          </ac:spMkLst>
        </pc:spChg>
        <pc:spChg chg="del">
          <ac:chgData name="Aurelien Domont" userId="6da7715ce44349b3" providerId="LiveId" clId="{AFF9B0D5-CA7D-40FB-964A-23276295459E}" dt="2021-07-02T08:37:15.437" v="5586" actId="478"/>
          <ac:spMkLst>
            <pc:docMk/>
            <pc:sldMk cId="13669963" sldId="2168"/>
            <ac:spMk id="8" creationId="{5E265501-976D-4DCF-A6F8-A1059EF162B8}"/>
          </ac:spMkLst>
        </pc:spChg>
        <pc:spChg chg="del">
          <ac:chgData name="Aurelien Domont" userId="6da7715ce44349b3" providerId="LiveId" clId="{AFF9B0D5-CA7D-40FB-964A-23276295459E}" dt="2021-07-02T08:37:15.437" v="5586" actId="478"/>
          <ac:spMkLst>
            <pc:docMk/>
            <pc:sldMk cId="13669963" sldId="2168"/>
            <ac:spMk id="10" creationId="{B4598AEF-78F8-475E-AC7D-E8372096BAB2}"/>
          </ac:spMkLst>
        </pc:spChg>
        <pc:spChg chg="del">
          <ac:chgData name="Aurelien Domont" userId="6da7715ce44349b3" providerId="LiveId" clId="{AFF9B0D5-CA7D-40FB-964A-23276295459E}" dt="2021-07-02T08:37:15.437" v="5586" actId="478"/>
          <ac:spMkLst>
            <pc:docMk/>
            <pc:sldMk cId="13669963" sldId="2168"/>
            <ac:spMk id="11" creationId="{45404312-C950-45DC-812F-5152B826E641}"/>
          </ac:spMkLst>
        </pc:spChg>
        <pc:spChg chg="del">
          <ac:chgData name="Aurelien Domont" userId="6da7715ce44349b3" providerId="LiveId" clId="{AFF9B0D5-CA7D-40FB-964A-23276295459E}" dt="2021-07-02T08:37:15.437" v="5586" actId="478"/>
          <ac:spMkLst>
            <pc:docMk/>
            <pc:sldMk cId="13669963" sldId="2168"/>
            <ac:spMk id="12" creationId="{19A483B2-8F29-40FE-8DE1-64429566E02B}"/>
          </ac:spMkLst>
        </pc:spChg>
        <pc:spChg chg="mod">
          <ac:chgData name="Aurelien Domont" userId="6da7715ce44349b3" providerId="LiveId" clId="{AFF9B0D5-CA7D-40FB-964A-23276295459E}" dt="2021-07-02T08:37:54.411" v="5615" actId="20577"/>
          <ac:spMkLst>
            <pc:docMk/>
            <pc:sldMk cId="13669963" sldId="2168"/>
            <ac:spMk id="16" creationId="{6C2BB713-9637-4B9B-938F-E9768876782A}"/>
          </ac:spMkLst>
        </pc:spChg>
        <pc:cxnChg chg="del">
          <ac:chgData name="Aurelien Domont" userId="6da7715ce44349b3" providerId="LiveId" clId="{AFF9B0D5-CA7D-40FB-964A-23276295459E}" dt="2021-07-02T08:37:15.437" v="5586" actId="478"/>
          <ac:cxnSpMkLst>
            <pc:docMk/>
            <pc:sldMk cId="13669963" sldId="2168"/>
            <ac:cxnSpMk id="9" creationId="{29940A68-0B12-4DB4-B6BF-26CE87860A62}"/>
          </ac:cxnSpMkLst>
        </pc:cxnChg>
        <pc:cxnChg chg="del">
          <ac:chgData name="Aurelien Domont" userId="6da7715ce44349b3" providerId="LiveId" clId="{AFF9B0D5-CA7D-40FB-964A-23276295459E}" dt="2021-07-02T08:37:15.437" v="5586" actId="478"/>
          <ac:cxnSpMkLst>
            <pc:docMk/>
            <pc:sldMk cId="13669963" sldId="2168"/>
            <ac:cxnSpMk id="14" creationId="{14CD9B99-0907-4DB9-B10F-F0E0E658423E}"/>
          </ac:cxnSpMkLst>
        </pc:cxnChg>
      </pc:sldChg>
      <pc:sldChg chg="add del">
        <pc:chgData name="Aurelien Domont" userId="6da7715ce44349b3" providerId="LiveId" clId="{AFF9B0D5-CA7D-40FB-964A-23276295459E}" dt="2021-07-02T08:08:59.746" v="5100" actId="47"/>
        <pc:sldMkLst>
          <pc:docMk/>
          <pc:sldMk cId="2135055012" sldId="2168"/>
        </pc:sldMkLst>
      </pc:sldChg>
      <pc:sldChg chg="add del">
        <pc:chgData name="Aurelien Domont" userId="6da7715ce44349b3" providerId="LiveId" clId="{AFF9B0D5-CA7D-40FB-964A-23276295459E}" dt="2021-07-02T08:04:53.695" v="5034" actId="47"/>
        <pc:sldMkLst>
          <pc:docMk/>
          <pc:sldMk cId="2939201030" sldId="2169"/>
        </pc:sldMkLst>
      </pc:sldChg>
      <pc:sldChg chg="add del">
        <pc:chgData name="Aurelien Domont" userId="6da7715ce44349b3" providerId="LiveId" clId="{AFF9B0D5-CA7D-40FB-964A-23276295459E}" dt="2021-07-02T08:08:58.802" v="5099" actId="47"/>
        <pc:sldMkLst>
          <pc:docMk/>
          <pc:sldMk cId="3735244596" sldId="2169"/>
        </pc:sldMkLst>
      </pc:sldChg>
      <pc:sldChg chg="addSp delSp modSp add mod">
        <pc:chgData name="Aurelien Domont" userId="6da7715ce44349b3" providerId="LiveId" clId="{AFF9B0D5-CA7D-40FB-964A-23276295459E}" dt="2021-07-06T03:56:46.026" v="6365" actId="20577"/>
        <pc:sldMkLst>
          <pc:docMk/>
          <pc:sldMk cId="4178836903" sldId="2169"/>
        </pc:sldMkLst>
        <pc:spChg chg="del">
          <ac:chgData name="Aurelien Domont" userId="6da7715ce44349b3" providerId="LiveId" clId="{AFF9B0D5-CA7D-40FB-964A-23276295459E}" dt="2021-07-02T08:39:20.765" v="5618" actId="478"/>
          <ac:spMkLst>
            <pc:docMk/>
            <pc:sldMk cId="4178836903" sldId="2169"/>
            <ac:spMk id="6" creationId="{61BD4388-6F9D-4C31-90C2-680E7FD1FB33}"/>
          </ac:spMkLst>
        </pc:spChg>
        <pc:spChg chg="del">
          <ac:chgData name="Aurelien Domont" userId="6da7715ce44349b3" providerId="LiveId" clId="{AFF9B0D5-CA7D-40FB-964A-23276295459E}" dt="2021-07-02T08:39:20.765" v="5618" actId="478"/>
          <ac:spMkLst>
            <pc:docMk/>
            <pc:sldMk cId="4178836903" sldId="2169"/>
            <ac:spMk id="7" creationId="{058165D9-C6C5-41CE-8E4E-2D521B573407}"/>
          </ac:spMkLst>
        </pc:spChg>
        <pc:spChg chg="mod">
          <ac:chgData name="Aurelien Domont" userId="6da7715ce44349b3" providerId="LiveId" clId="{AFF9B0D5-CA7D-40FB-964A-23276295459E}" dt="2021-07-06T01:49:58.373" v="6025"/>
          <ac:spMkLst>
            <pc:docMk/>
            <pc:sldMk cId="4178836903" sldId="2169"/>
            <ac:spMk id="7" creationId="{586EBA78-DFE9-49C7-BB2A-CBE2EE9B7FA1}"/>
          </ac:spMkLst>
        </pc:spChg>
        <pc:spChg chg="mod">
          <ac:chgData name="Aurelien Domont" userId="6da7715ce44349b3" providerId="LiveId" clId="{AFF9B0D5-CA7D-40FB-964A-23276295459E}" dt="2021-07-06T01:50:06.776" v="6038" actId="20577"/>
          <ac:spMkLst>
            <pc:docMk/>
            <pc:sldMk cId="4178836903" sldId="2169"/>
            <ac:spMk id="8" creationId="{349A5370-D44D-4891-B58A-A16D74C07572}"/>
          </ac:spMkLst>
        </pc:spChg>
        <pc:spChg chg="del">
          <ac:chgData name="Aurelien Domont" userId="6da7715ce44349b3" providerId="LiveId" clId="{AFF9B0D5-CA7D-40FB-964A-23276295459E}" dt="2021-07-02T08:39:20.765" v="5618" actId="478"/>
          <ac:spMkLst>
            <pc:docMk/>
            <pc:sldMk cId="4178836903" sldId="2169"/>
            <ac:spMk id="8" creationId="{5E265501-976D-4DCF-A6F8-A1059EF162B8}"/>
          </ac:spMkLst>
        </pc:spChg>
        <pc:spChg chg="del">
          <ac:chgData name="Aurelien Domont" userId="6da7715ce44349b3" providerId="LiveId" clId="{AFF9B0D5-CA7D-40FB-964A-23276295459E}" dt="2021-07-02T08:39:20.765" v="5618" actId="478"/>
          <ac:spMkLst>
            <pc:docMk/>
            <pc:sldMk cId="4178836903" sldId="2169"/>
            <ac:spMk id="10" creationId="{B4598AEF-78F8-475E-AC7D-E8372096BAB2}"/>
          </ac:spMkLst>
        </pc:spChg>
        <pc:spChg chg="del">
          <ac:chgData name="Aurelien Domont" userId="6da7715ce44349b3" providerId="LiveId" clId="{AFF9B0D5-CA7D-40FB-964A-23276295459E}" dt="2021-07-02T08:39:23.713" v="5619" actId="478"/>
          <ac:spMkLst>
            <pc:docMk/>
            <pc:sldMk cId="4178836903" sldId="2169"/>
            <ac:spMk id="11" creationId="{45404312-C950-45DC-812F-5152B826E641}"/>
          </ac:spMkLst>
        </pc:spChg>
        <pc:spChg chg="del">
          <ac:chgData name="Aurelien Domont" userId="6da7715ce44349b3" providerId="LiveId" clId="{AFF9B0D5-CA7D-40FB-964A-23276295459E}" dt="2021-07-02T08:39:20.765" v="5618" actId="478"/>
          <ac:spMkLst>
            <pc:docMk/>
            <pc:sldMk cId="4178836903" sldId="2169"/>
            <ac:spMk id="12" creationId="{19A483B2-8F29-40FE-8DE1-64429566E02B}"/>
          </ac:spMkLst>
        </pc:spChg>
        <pc:spChg chg="mod">
          <ac:chgData name="Aurelien Domont" userId="6da7715ce44349b3" providerId="LiveId" clId="{AFF9B0D5-CA7D-40FB-964A-23276295459E}" dt="2021-07-06T03:56:46.026" v="6365" actId="20577"/>
          <ac:spMkLst>
            <pc:docMk/>
            <pc:sldMk cId="4178836903" sldId="2169"/>
            <ac:spMk id="16" creationId="{6C2BB713-9637-4B9B-938F-E9768876782A}"/>
          </ac:spMkLst>
        </pc:spChg>
        <pc:grpChg chg="add mod">
          <ac:chgData name="Aurelien Domont" userId="6da7715ce44349b3" providerId="LiveId" clId="{AFF9B0D5-CA7D-40FB-964A-23276295459E}" dt="2021-07-06T01:49:58.373" v="6025"/>
          <ac:grpSpMkLst>
            <pc:docMk/>
            <pc:sldMk cId="4178836903" sldId="2169"/>
            <ac:grpSpMk id="6" creationId="{33747CCF-50E7-4EB5-9B4D-8E887AE145E7}"/>
          </ac:grpSpMkLst>
        </pc:grpChg>
        <pc:picChg chg="add mod">
          <ac:chgData name="Aurelien Domont" userId="6da7715ce44349b3" providerId="LiveId" clId="{AFF9B0D5-CA7D-40FB-964A-23276295459E}" dt="2021-07-06T01:57:47.260" v="6193" actId="1038"/>
          <ac:picMkLst>
            <pc:docMk/>
            <pc:sldMk cId="4178836903" sldId="2169"/>
            <ac:picMk id="2" creationId="{84E5CC93-D5AA-458E-BB87-714F1E53178E}"/>
          </ac:picMkLst>
        </pc:picChg>
        <pc:picChg chg="add mod">
          <ac:chgData name="Aurelien Domont" userId="6da7715ce44349b3" providerId="LiveId" clId="{AFF9B0D5-CA7D-40FB-964A-23276295459E}" dt="2021-07-06T01:57:39.076" v="6176" actId="1038"/>
          <ac:picMkLst>
            <pc:docMk/>
            <pc:sldMk cId="4178836903" sldId="2169"/>
            <ac:picMk id="3" creationId="{097ECFA8-B152-4816-9DCE-7FB11FD32803}"/>
          </ac:picMkLst>
        </pc:picChg>
        <pc:picChg chg="add mod">
          <ac:chgData name="Aurelien Domont" userId="6da7715ce44349b3" providerId="LiveId" clId="{AFF9B0D5-CA7D-40FB-964A-23276295459E}" dt="2021-07-06T01:57:39.076" v="6176" actId="1038"/>
          <ac:picMkLst>
            <pc:docMk/>
            <pc:sldMk cId="4178836903" sldId="2169"/>
            <ac:picMk id="4" creationId="{71090539-4853-42C0-8BB5-619FDF372F84}"/>
          </ac:picMkLst>
        </pc:picChg>
        <pc:picChg chg="add mod">
          <ac:chgData name="Aurelien Domont" userId="6da7715ce44349b3" providerId="LiveId" clId="{AFF9B0D5-CA7D-40FB-964A-23276295459E}" dt="2021-07-06T01:57:47.260" v="6193" actId="1038"/>
          <ac:picMkLst>
            <pc:docMk/>
            <pc:sldMk cId="4178836903" sldId="2169"/>
            <ac:picMk id="11" creationId="{F7A9918B-B7CD-4643-8B6A-74AEBFA4B2C2}"/>
          </ac:picMkLst>
        </pc:picChg>
        <pc:cxnChg chg="mod">
          <ac:chgData name="Aurelien Domont" userId="6da7715ce44349b3" providerId="LiveId" clId="{AFF9B0D5-CA7D-40FB-964A-23276295459E}" dt="2021-07-06T01:49:58.373" v="6025"/>
          <ac:cxnSpMkLst>
            <pc:docMk/>
            <pc:sldMk cId="4178836903" sldId="2169"/>
            <ac:cxnSpMk id="9" creationId="{14BBF9DD-58F2-49E1-9965-CAD08C2777D2}"/>
          </ac:cxnSpMkLst>
        </pc:cxnChg>
        <pc:cxnChg chg="del">
          <ac:chgData name="Aurelien Domont" userId="6da7715ce44349b3" providerId="LiveId" clId="{AFF9B0D5-CA7D-40FB-964A-23276295459E}" dt="2021-07-02T08:39:20.765" v="5618" actId="478"/>
          <ac:cxnSpMkLst>
            <pc:docMk/>
            <pc:sldMk cId="4178836903" sldId="2169"/>
            <ac:cxnSpMk id="9" creationId="{29940A68-0B12-4DB4-B6BF-26CE87860A62}"/>
          </ac:cxnSpMkLst>
        </pc:cxnChg>
        <pc:cxnChg chg="mod">
          <ac:chgData name="Aurelien Domont" userId="6da7715ce44349b3" providerId="LiveId" clId="{AFF9B0D5-CA7D-40FB-964A-23276295459E}" dt="2021-07-06T01:49:58.373" v="6025"/>
          <ac:cxnSpMkLst>
            <pc:docMk/>
            <pc:sldMk cId="4178836903" sldId="2169"/>
            <ac:cxnSpMk id="10" creationId="{88BB188B-1F6D-450B-8387-5364B3DC1A89}"/>
          </ac:cxnSpMkLst>
        </pc:cxnChg>
        <pc:cxnChg chg="del">
          <ac:chgData name="Aurelien Domont" userId="6da7715ce44349b3" providerId="LiveId" clId="{AFF9B0D5-CA7D-40FB-964A-23276295459E}" dt="2021-07-02T08:39:20.765" v="5618" actId="478"/>
          <ac:cxnSpMkLst>
            <pc:docMk/>
            <pc:sldMk cId="4178836903" sldId="2169"/>
            <ac:cxnSpMk id="14" creationId="{14CD9B99-0907-4DB9-B10F-F0E0E658423E}"/>
          </ac:cxnSpMkLst>
        </pc:cxnChg>
      </pc:sldChg>
      <pc:sldChg chg="add del">
        <pc:chgData name="Aurelien Domont" userId="6da7715ce44349b3" providerId="LiveId" clId="{AFF9B0D5-CA7D-40FB-964A-23276295459E}" dt="2021-07-05T02:29:39.938" v="5697" actId="47"/>
        <pc:sldMkLst>
          <pc:docMk/>
          <pc:sldMk cId="2294969423" sldId="2170"/>
        </pc:sldMkLst>
      </pc:sldChg>
      <pc:sldChg chg="addSp modSp add mod">
        <pc:chgData name="Aurelien Domont" userId="6da7715ce44349b3" providerId="LiveId" clId="{AFF9B0D5-CA7D-40FB-964A-23276295459E}" dt="2021-07-06T02:07:33.780" v="6238" actId="1036"/>
        <pc:sldMkLst>
          <pc:docMk/>
          <pc:sldMk cId="2678382071" sldId="2170"/>
        </pc:sldMkLst>
        <pc:spChg chg="mod">
          <ac:chgData name="Aurelien Domont" userId="6da7715ce44349b3" providerId="LiveId" clId="{AFF9B0D5-CA7D-40FB-964A-23276295459E}" dt="2021-07-06T02:07:33.780" v="6238" actId="1036"/>
          <ac:spMkLst>
            <pc:docMk/>
            <pc:sldMk cId="2678382071" sldId="2170"/>
            <ac:spMk id="20" creationId="{4B145E06-1CE4-4D20-9711-8C167F887A82}"/>
          </ac:spMkLst>
        </pc:spChg>
        <pc:spChg chg="mod">
          <ac:chgData name="Aurelien Domont" userId="6da7715ce44349b3" providerId="LiveId" clId="{AFF9B0D5-CA7D-40FB-964A-23276295459E}" dt="2021-07-06T01:39:21.490" v="5937"/>
          <ac:spMkLst>
            <pc:docMk/>
            <pc:sldMk cId="2678382071" sldId="2170"/>
            <ac:spMk id="22" creationId="{4DE672E0-B848-4704-8674-02BC1CC880B4}"/>
          </ac:spMkLst>
        </pc:spChg>
        <pc:spChg chg="mod">
          <ac:chgData name="Aurelien Domont" userId="6da7715ce44349b3" providerId="LiveId" clId="{AFF9B0D5-CA7D-40FB-964A-23276295459E}" dt="2021-07-06T01:45:08.378" v="5992" actId="20577"/>
          <ac:spMkLst>
            <pc:docMk/>
            <pc:sldMk cId="2678382071" sldId="2170"/>
            <ac:spMk id="36" creationId="{9CA6E787-8E7B-4BDD-94D3-93BAF40CAFD4}"/>
          </ac:spMkLst>
        </pc:spChg>
        <pc:grpChg chg="add mod">
          <ac:chgData name="Aurelien Domont" userId="6da7715ce44349b3" providerId="LiveId" clId="{AFF9B0D5-CA7D-40FB-964A-23276295459E}" dt="2021-07-06T01:39:21.490" v="5937"/>
          <ac:grpSpMkLst>
            <pc:docMk/>
            <pc:sldMk cId="2678382071" sldId="2170"/>
            <ac:grpSpMk id="21" creationId="{ABE541F4-E3F1-4AC5-8ABF-F3169156ADCA}"/>
          </ac:grpSpMkLst>
        </pc:grpChg>
        <pc:cxnChg chg="mod">
          <ac:chgData name="Aurelien Domont" userId="6da7715ce44349b3" providerId="LiveId" clId="{AFF9B0D5-CA7D-40FB-964A-23276295459E}" dt="2021-07-06T01:39:21.490" v="5937"/>
          <ac:cxnSpMkLst>
            <pc:docMk/>
            <pc:sldMk cId="2678382071" sldId="2170"/>
            <ac:cxnSpMk id="37" creationId="{33E38237-CD78-4D4D-BF52-D7C7F2269871}"/>
          </ac:cxnSpMkLst>
        </pc:cxnChg>
        <pc:cxnChg chg="mod">
          <ac:chgData name="Aurelien Domont" userId="6da7715ce44349b3" providerId="LiveId" clId="{AFF9B0D5-CA7D-40FB-964A-23276295459E}" dt="2021-07-06T01:39:21.490" v="5937"/>
          <ac:cxnSpMkLst>
            <pc:docMk/>
            <pc:sldMk cId="2678382071" sldId="2170"/>
            <ac:cxnSpMk id="38" creationId="{F8230E22-3B9C-4AC7-BA54-E01C7A116954}"/>
          </ac:cxnSpMkLst>
        </pc:cxnChg>
      </pc:sldChg>
      <pc:sldChg chg="addSp delSp modSp add mod">
        <pc:chgData name="Aurelien Domont" userId="6da7715ce44349b3" providerId="LiveId" clId="{AFF9B0D5-CA7D-40FB-964A-23276295459E}" dt="2021-07-06T02:07:06.680" v="6233" actId="1036"/>
        <pc:sldMkLst>
          <pc:docMk/>
          <pc:sldMk cId="4258618140" sldId="2187"/>
        </pc:sldMkLst>
        <pc:spChg chg="mod">
          <ac:chgData name="Aurelien Domont" userId="6da7715ce44349b3" providerId="LiveId" clId="{AFF9B0D5-CA7D-40FB-964A-23276295459E}" dt="2021-07-06T01:43:35.136" v="5964" actId="20577"/>
          <ac:spMkLst>
            <pc:docMk/>
            <pc:sldMk cId="4258618140" sldId="2187"/>
            <ac:spMk id="6" creationId="{58640601-4D44-4B49-A731-7641730D8799}"/>
          </ac:spMkLst>
        </pc:spChg>
        <pc:spChg chg="mod">
          <ac:chgData name="Aurelien Domont" userId="6da7715ce44349b3" providerId="LiveId" clId="{AFF9B0D5-CA7D-40FB-964A-23276295459E}" dt="2021-07-06T02:07:06.680" v="6233" actId="1036"/>
          <ac:spMkLst>
            <pc:docMk/>
            <pc:sldMk cId="4258618140" sldId="2187"/>
            <ac:spMk id="20" creationId="{4B145E06-1CE4-4D20-9711-8C167F887A82}"/>
          </ac:spMkLst>
        </pc:spChg>
        <pc:spChg chg="mod">
          <ac:chgData name="Aurelien Domont" userId="6da7715ce44349b3" providerId="LiveId" clId="{AFF9B0D5-CA7D-40FB-964A-23276295459E}" dt="2021-07-06T01:39:23.224" v="5938"/>
          <ac:spMkLst>
            <pc:docMk/>
            <pc:sldMk cId="4258618140" sldId="2187"/>
            <ac:spMk id="26" creationId="{89B9D8FA-055B-4786-9119-343B9A4FA83C}"/>
          </ac:spMkLst>
        </pc:spChg>
        <pc:spChg chg="mod">
          <ac:chgData name="Aurelien Domont" userId="6da7715ce44349b3" providerId="LiveId" clId="{AFF9B0D5-CA7D-40FB-964A-23276295459E}" dt="2021-07-06T01:45:14.140" v="5999" actId="20577"/>
          <ac:spMkLst>
            <pc:docMk/>
            <pc:sldMk cId="4258618140" sldId="2187"/>
            <ac:spMk id="27" creationId="{1F307364-06D1-4C5B-80F7-6F3566DCF013}"/>
          </ac:spMkLst>
        </pc:spChg>
        <pc:spChg chg="add mod">
          <ac:chgData name="Aurelien Domont" userId="6da7715ce44349b3" providerId="LiveId" clId="{AFF9B0D5-CA7D-40FB-964A-23276295459E}" dt="2021-07-06T02:06:57.812" v="6227"/>
          <ac:spMkLst>
            <pc:docMk/>
            <pc:sldMk cId="4258618140" sldId="2187"/>
            <ac:spMk id="30" creationId="{AE6119AB-6883-4169-8370-D3A496514CD1}"/>
          </ac:spMkLst>
        </pc:spChg>
        <pc:spChg chg="add mod">
          <ac:chgData name="Aurelien Domont" userId="6da7715ce44349b3" providerId="LiveId" clId="{AFF9B0D5-CA7D-40FB-964A-23276295459E}" dt="2021-07-06T02:06:57.812" v="6227"/>
          <ac:spMkLst>
            <pc:docMk/>
            <pc:sldMk cId="4258618140" sldId="2187"/>
            <ac:spMk id="33" creationId="{5BC7619B-12EE-45EC-90CD-328D07D4451F}"/>
          </ac:spMkLst>
        </pc:spChg>
        <pc:spChg chg="del">
          <ac:chgData name="Aurelien Domont" userId="6da7715ce44349b3" providerId="LiveId" clId="{AFF9B0D5-CA7D-40FB-964A-23276295459E}" dt="2021-07-06T02:06:57.421" v="6226" actId="478"/>
          <ac:spMkLst>
            <pc:docMk/>
            <pc:sldMk cId="4258618140" sldId="2187"/>
            <ac:spMk id="39" creationId="{69D38A31-7087-4BC6-A749-CE3E92C5E5AC}"/>
          </ac:spMkLst>
        </pc:spChg>
        <pc:spChg chg="del">
          <ac:chgData name="Aurelien Domont" userId="6da7715ce44349b3" providerId="LiveId" clId="{AFF9B0D5-CA7D-40FB-964A-23276295459E}" dt="2021-07-06T02:06:57.421" v="6226" actId="478"/>
          <ac:spMkLst>
            <pc:docMk/>
            <pc:sldMk cId="4258618140" sldId="2187"/>
            <ac:spMk id="42" creationId="{541AAE88-AB15-4CF5-907E-50289267AA28}"/>
          </ac:spMkLst>
        </pc:spChg>
        <pc:grpChg chg="add mod">
          <ac:chgData name="Aurelien Domont" userId="6da7715ce44349b3" providerId="LiveId" clId="{AFF9B0D5-CA7D-40FB-964A-23276295459E}" dt="2021-07-06T01:39:23.224" v="5938"/>
          <ac:grpSpMkLst>
            <pc:docMk/>
            <pc:sldMk cId="4258618140" sldId="2187"/>
            <ac:grpSpMk id="25" creationId="{580D2986-90B8-49CB-9D7C-E3CD562E7128}"/>
          </ac:grpSpMkLst>
        </pc:grpChg>
        <pc:cxnChg chg="mod">
          <ac:chgData name="Aurelien Domont" userId="6da7715ce44349b3" providerId="LiveId" clId="{AFF9B0D5-CA7D-40FB-964A-23276295459E}" dt="2021-07-06T01:39:23.224" v="5938"/>
          <ac:cxnSpMkLst>
            <pc:docMk/>
            <pc:sldMk cId="4258618140" sldId="2187"/>
            <ac:cxnSpMk id="28" creationId="{B6436C00-3644-4C3F-A09C-F58808116780}"/>
          </ac:cxnSpMkLst>
        </pc:cxnChg>
        <pc:cxnChg chg="mod">
          <ac:chgData name="Aurelien Domont" userId="6da7715ce44349b3" providerId="LiveId" clId="{AFF9B0D5-CA7D-40FB-964A-23276295459E}" dt="2021-07-06T01:39:23.224" v="5938"/>
          <ac:cxnSpMkLst>
            <pc:docMk/>
            <pc:sldMk cId="4258618140" sldId="2187"/>
            <ac:cxnSpMk id="29" creationId="{B053B582-54F5-4610-B47A-710CBEAF9720}"/>
          </ac:cxnSpMkLst>
        </pc:cxnChg>
      </pc:sldChg>
      <pc:sldChg chg="modSp add mod">
        <pc:chgData name="Aurelien Domont" userId="6da7715ce44349b3" providerId="LiveId" clId="{AFF9B0D5-CA7D-40FB-964A-23276295459E}" dt="2021-07-06T02:00:05.018" v="6199" actId="108"/>
        <pc:sldMkLst>
          <pc:docMk/>
          <pc:sldMk cId="1390113814" sldId="2188"/>
        </pc:sldMkLst>
        <pc:spChg chg="mod">
          <ac:chgData name="Aurelien Domont" userId="6da7715ce44349b3" providerId="LiveId" clId="{AFF9B0D5-CA7D-40FB-964A-23276295459E}" dt="2021-07-06T02:00:05.018" v="6199" actId="108"/>
          <ac:spMkLst>
            <pc:docMk/>
            <pc:sldMk cId="1390113814" sldId="2188"/>
            <ac:spMk id="6" creationId="{61BD4388-6F9D-4C31-90C2-680E7FD1FB33}"/>
          </ac:spMkLst>
        </pc:spChg>
        <pc:spChg chg="mod">
          <ac:chgData name="Aurelien Domont" userId="6da7715ce44349b3" providerId="LiveId" clId="{AFF9B0D5-CA7D-40FB-964A-23276295459E}" dt="2021-07-06T02:00:01.591" v="6198" actId="108"/>
          <ac:spMkLst>
            <pc:docMk/>
            <pc:sldMk cId="1390113814" sldId="2188"/>
            <ac:spMk id="7" creationId="{058165D9-C6C5-41CE-8E4E-2D521B573407}"/>
          </ac:spMkLst>
        </pc:spChg>
        <pc:spChg chg="mod">
          <ac:chgData name="Aurelien Domont" userId="6da7715ce44349b3" providerId="LiveId" clId="{AFF9B0D5-CA7D-40FB-964A-23276295459E}" dt="2021-07-06T01:59:58.054" v="6197" actId="20577"/>
          <ac:spMkLst>
            <pc:docMk/>
            <pc:sldMk cId="1390113814" sldId="2188"/>
            <ac:spMk id="16" creationId="{6C2BB713-9637-4B9B-938F-E9768876782A}"/>
          </ac:spMkLst>
        </pc:spChg>
      </pc:sldChg>
      <pc:sldChg chg="modSp add mod">
        <pc:chgData name="Aurelien Domont" userId="6da7715ce44349b3" providerId="LiveId" clId="{AFF9B0D5-CA7D-40FB-964A-23276295459E}" dt="2021-07-06T02:03:39.483" v="6225" actId="20577"/>
        <pc:sldMkLst>
          <pc:docMk/>
          <pc:sldMk cId="1002747840" sldId="2189"/>
        </pc:sldMkLst>
        <pc:spChg chg="mod">
          <ac:chgData name="Aurelien Domont" userId="6da7715ce44349b3" providerId="LiveId" clId="{AFF9B0D5-CA7D-40FB-964A-23276295459E}" dt="2021-07-06T02:03:37.384" v="6223" actId="108"/>
          <ac:spMkLst>
            <pc:docMk/>
            <pc:sldMk cId="1002747840" sldId="2189"/>
            <ac:spMk id="7" creationId="{058165D9-C6C5-41CE-8E4E-2D521B573407}"/>
          </ac:spMkLst>
        </pc:spChg>
        <pc:spChg chg="mod">
          <ac:chgData name="Aurelien Domont" userId="6da7715ce44349b3" providerId="LiveId" clId="{AFF9B0D5-CA7D-40FB-964A-23276295459E}" dt="2021-07-06T02:03:34.241" v="6222" actId="108"/>
          <ac:spMkLst>
            <pc:docMk/>
            <pc:sldMk cId="1002747840" sldId="2189"/>
            <ac:spMk id="8" creationId="{5E265501-976D-4DCF-A6F8-A1059EF162B8}"/>
          </ac:spMkLst>
        </pc:spChg>
        <pc:spChg chg="mod">
          <ac:chgData name="Aurelien Domont" userId="6da7715ce44349b3" providerId="LiveId" clId="{AFF9B0D5-CA7D-40FB-964A-23276295459E}" dt="2021-07-06T02:03:39.483" v="6225" actId="20577"/>
          <ac:spMkLst>
            <pc:docMk/>
            <pc:sldMk cId="1002747840" sldId="2189"/>
            <ac:spMk id="16" creationId="{6C2BB713-9637-4B9B-938F-E9768876782A}"/>
          </ac:spMkLst>
        </pc:spChg>
      </pc:sldChg>
      <pc:sldChg chg="addSp delSp modSp add mod">
        <pc:chgData name="Aurelien Domont" userId="6da7715ce44349b3" providerId="LiveId" clId="{AFF9B0D5-CA7D-40FB-964A-23276295459E}" dt="2021-07-06T03:57:00.268" v="6367" actId="20577"/>
        <pc:sldMkLst>
          <pc:docMk/>
          <pc:sldMk cId="2349979947" sldId="2190"/>
        </pc:sldMkLst>
        <pc:spChg chg="mod">
          <ac:chgData name="Aurelien Domont" userId="6da7715ce44349b3" providerId="LiveId" clId="{AFF9B0D5-CA7D-40FB-964A-23276295459E}" dt="2021-07-06T03:57:00.268" v="6367" actId="20577"/>
          <ac:spMkLst>
            <pc:docMk/>
            <pc:sldMk cId="2349979947" sldId="2190"/>
            <ac:spMk id="16" creationId="{6C2BB713-9637-4B9B-938F-E9768876782A}"/>
          </ac:spMkLst>
        </pc:spChg>
        <pc:picChg chg="del">
          <ac:chgData name="Aurelien Domont" userId="6da7715ce44349b3" providerId="LiveId" clId="{AFF9B0D5-CA7D-40FB-964A-23276295459E}" dt="2021-07-06T03:34:06.580" v="6275" actId="478"/>
          <ac:picMkLst>
            <pc:docMk/>
            <pc:sldMk cId="2349979947" sldId="2190"/>
            <ac:picMk id="2" creationId="{84E5CC93-D5AA-458E-BB87-714F1E53178E}"/>
          </ac:picMkLst>
        </pc:picChg>
        <pc:picChg chg="del">
          <ac:chgData name="Aurelien Domont" userId="6da7715ce44349b3" providerId="LiveId" clId="{AFF9B0D5-CA7D-40FB-964A-23276295459E}" dt="2021-07-06T03:34:06.580" v="6275" actId="478"/>
          <ac:picMkLst>
            <pc:docMk/>
            <pc:sldMk cId="2349979947" sldId="2190"/>
            <ac:picMk id="3" creationId="{097ECFA8-B152-4816-9DCE-7FB11FD32803}"/>
          </ac:picMkLst>
        </pc:picChg>
        <pc:picChg chg="del">
          <ac:chgData name="Aurelien Domont" userId="6da7715ce44349b3" providerId="LiveId" clId="{AFF9B0D5-CA7D-40FB-964A-23276295459E}" dt="2021-07-06T03:34:06.580" v="6275" actId="478"/>
          <ac:picMkLst>
            <pc:docMk/>
            <pc:sldMk cId="2349979947" sldId="2190"/>
            <ac:picMk id="4" creationId="{71090539-4853-42C0-8BB5-619FDF372F84}"/>
          </ac:picMkLst>
        </pc:picChg>
        <pc:picChg chg="del">
          <ac:chgData name="Aurelien Domont" userId="6da7715ce44349b3" providerId="LiveId" clId="{AFF9B0D5-CA7D-40FB-964A-23276295459E}" dt="2021-07-06T03:34:06.580" v="6275" actId="478"/>
          <ac:picMkLst>
            <pc:docMk/>
            <pc:sldMk cId="2349979947" sldId="2190"/>
            <ac:picMk id="11" creationId="{F7A9918B-B7CD-4643-8B6A-74AEBFA4B2C2}"/>
          </ac:picMkLst>
        </pc:picChg>
        <pc:picChg chg="add mod ord">
          <ac:chgData name="Aurelien Domont" userId="6da7715ce44349b3" providerId="LiveId" clId="{AFF9B0D5-CA7D-40FB-964A-23276295459E}" dt="2021-07-06T03:34:02.278" v="6274" actId="167"/>
          <ac:picMkLst>
            <pc:docMk/>
            <pc:sldMk cId="2349979947" sldId="2190"/>
            <ac:picMk id="12" creationId="{FE9B9E94-357E-4B04-9B76-B64A2AD3319C}"/>
          </ac:picMkLst>
        </pc:picChg>
        <pc:picChg chg="add mod ord">
          <ac:chgData name="Aurelien Domont" userId="6da7715ce44349b3" providerId="LiveId" clId="{AFF9B0D5-CA7D-40FB-964A-23276295459E}" dt="2021-07-06T03:34:02.278" v="6274" actId="167"/>
          <ac:picMkLst>
            <pc:docMk/>
            <pc:sldMk cId="2349979947" sldId="2190"/>
            <ac:picMk id="14" creationId="{4D3A6F3A-8786-441E-90A3-61E8C8D72553}"/>
          </ac:picMkLst>
        </pc:picChg>
        <pc:picChg chg="add mod ord">
          <ac:chgData name="Aurelien Domont" userId="6da7715ce44349b3" providerId="LiveId" clId="{AFF9B0D5-CA7D-40FB-964A-23276295459E}" dt="2021-07-06T03:34:02.278" v="6274" actId="167"/>
          <ac:picMkLst>
            <pc:docMk/>
            <pc:sldMk cId="2349979947" sldId="2190"/>
            <ac:picMk id="15" creationId="{659A23D5-65DD-4CEA-855D-90A0B5E2BE2A}"/>
          </ac:picMkLst>
        </pc:picChg>
        <pc:picChg chg="add del mod ord">
          <ac:chgData name="Aurelien Domont" userId="6da7715ce44349b3" providerId="LiveId" clId="{AFF9B0D5-CA7D-40FB-964A-23276295459E}" dt="2021-07-06T03:37:32.824" v="6293" actId="167"/>
          <ac:picMkLst>
            <pc:docMk/>
            <pc:sldMk cId="2349979947" sldId="2190"/>
            <ac:picMk id="17" creationId="{3A1116B0-8834-4AD7-B5A9-FC56ADD00397}"/>
          </ac:picMkLst>
        </pc:picChg>
        <pc:picChg chg="add del mod ord">
          <ac:chgData name="Aurelien Domont" userId="6da7715ce44349b3" providerId="LiveId" clId="{AFF9B0D5-CA7D-40FB-964A-23276295459E}" dt="2021-07-06T03:37:53.470" v="6299" actId="478"/>
          <ac:picMkLst>
            <pc:docMk/>
            <pc:sldMk cId="2349979947" sldId="2190"/>
            <ac:picMk id="19" creationId="{510380BB-04DC-414E-AEA0-0A102EFB8B64}"/>
          </ac:picMkLst>
        </pc:picChg>
      </pc:sldChg>
      <pc:sldChg chg="addSp delSp modSp add mod">
        <pc:chgData name="Aurelien Domont" userId="6da7715ce44349b3" providerId="LiveId" clId="{AFF9B0D5-CA7D-40FB-964A-23276295459E}" dt="2021-07-06T03:56:34.192" v="6363" actId="20577"/>
        <pc:sldMkLst>
          <pc:docMk/>
          <pc:sldMk cId="3340324934" sldId="2191"/>
        </pc:sldMkLst>
        <pc:spChg chg="mod">
          <ac:chgData name="Aurelien Domont" userId="6da7715ce44349b3" providerId="LiveId" clId="{AFF9B0D5-CA7D-40FB-964A-23276295459E}" dt="2021-07-06T03:56:34.192" v="6363" actId="20577"/>
          <ac:spMkLst>
            <pc:docMk/>
            <pc:sldMk cId="3340324934" sldId="2191"/>
            <ac:spMk id="16" creationId="{6C2BB713-9637-4B9B-938F-E9768876782A}"/>
          </ac:spMkLst>
        </pc:spChg>
        <pc:picChg chg="add mod ord">
          <ac:chgData name="Aurelien Domont" userId="6da7715ce44349b3" providerId="LiveId" clId="{AFF9B0D5-CA7D-40FB-964A-23276295459E}" dt="2021-07-06T03:44:15.886" v="6353" actId="108"/>
          <ac:picMkLst>
            <pc:docMk/>
            <pc:sldMk cId="3340324934" sldId="2191"/>
            <ac:picMk id="3" creationId="{15370C7C-145F-4349-AE96-1E50E9582145}"/>
          </ac:picMkLst>
        </pc:picChg>
        <pc:picChg chg="add mod ord">
          <ac:chgData name="Aurelien Domont" userId="6da7715ce44349b3" providerId="LiveId" clId="{AFF9B0D5-CA7D-40FB-964A-23276295459E}" dt="2021-07-06T03:44:16.372" v="6354" actId="108"/>
          <ac:picMkLst>
            <pc:docMk/>
            <pc:sldMk cId="3340324934" sldId="2191"/>
            <ac:picMk id="11" creationId="{25D5DDB8-F1BB-4113-A087-0C0A746C7EB2}"/>
          </ac:picMkLst>
        </pc:picChg>
        <pc:picChg chg="del ord">
          <ac:chgData name="Aurelien Domont" userId="6da7715ce44349b3" providerId="LiveId" clId="{AFF9B0D5-CA7D-40FB-964A-23276295459E}" dt="2021-07-06T03:44:09.620" v="6352" actId="478"/>
          <ac:picMkLst>
            <pc:docMk/>
            <pc:sldMk cId="3340324934" sldId="2191"/>
            <ac:picMk id="12" creationId="{FE9B9E94-357E-4B04-9B76-B64A2AD3319C}"/>
          </ac:picMkLst>
        </pc:picChg>
        <pc:picChg chg="del ord">
          <ac:chgData name="Aurelien Domont" userId="6da7715ce44349b3" providerId="LiveId" clId="{AFF9B0D5-CA7D-40FB-964A-23276295459E}" dt="2021-07-06T03:44:09.620" v="6352" actId="478"/>
          <ac:picMkLst>
            <pc:docMk/>
            <pc:sldMk cId="3340324934" sldId="2191"/>
            <ac:picMk id="14" creationId="{4D3A6F3A-8786-441E-90A3-61E8C8D72553}"/>
          </ac:picMkLst>
        </pc:picChg>
        <pc:picChg chg="del ord">
          <ac:chgData name="Aurelien Domont" userId="6da7715ce44349b3" providerId="LiveId" clId="{AFF9B0D5-CA7D-40FB-964A-23276295459E}" dt="2021-07-06T03:44:09.620" v="6352" actId="478"/>
          <ac:picMkLst>
            <pc:docMk/>
            <pc:sldMk cId="3340324934" sldId="2191"/>
            <ac:picMk id="15" creationId="{659A23D5-65DD-4CEA-855D-90A0B5E2BE2A}"/>
          </ac:picMkLst>
        </pc:picChg>
        <pc:picChg chg="del">
          <ac:chgData name="Aurelien Domont" userId="6da7715ce44349b3" providerId="LiveId" clId="{AFF9B0D5-CA7D-40FB-964A-23276295459E}" dt="2021-07-06T03:38:00.537" v="6301" actId="478"/>
          <ac:picMkLst>
            <pc:docMk/>
            <pc:sldMk cId="3340324934" sldId="2191"/>
            <ac:picMk id="17" creationId="{3A1116B0-8834-4AD7-B5A9-FC56ADD00397}"/>
          </ac:picMkLst>
        </pc:picChg>
        <pc:picChg chg="mod ord">
          <ac:chgData name="Aurelien Domont" userId="6da7715ce44349b3" providerId="LiveId" clId="{AFF9B0D5-CA7D-40FB-964A-23276295459E}" dt="2021-07-06T03:44:06.370" v="6351" actId="171"/>
          <ac:picMkLst>
            <pc:docMk/>
            <pc:sldMk cId="3340324934" sldId="2191"/>
            <ac:picMk id="19" creationId="{510380BB-04DC-414E-AEA0-0A102EFB8B64}"/>
          </ac:picMkLst>
        </pc:picChg>
        <pc:picChg chg="add mod ord">
          <ac:chgData name="Aurelien Domont" userId="6da7715ce44349b3" providerId="LiveId" clId="{AFF9B0D5-CA7D-40FB-964A-23276295459E}" dt="2021-07-06T03:44:16.877" v="6355" actId="108"/>
          <ac:picMkLst>
            <pc:docMk/>
            <pc:sldMk cId="3340324934" sldId="2191"/>
            <ac:picMk id="20" creationId="{6A38595B-0C20-4D15-AA90-C5B669693A38}"/>
          </ac:picMkLst>
        </pc:picChg>
      </pc:sldChg>
      <pc:sldChg chg="addSp delSp modSp add del mod">
        <pc:chgData name="Aurelien Domont" userId="6da7715ce44349b3" providerId="LiveId" clId="{AFF9B0D5-CA7D-40FB-964A-23276295459E}" dt="2021-07-06T05:45:33.756" v="7160" actId="47"/>
        <pc:sldMkLst>
          <pc:docMk/>
          <pc:sldMk cId="3379055426" sldId="2192"/>
        </pc:sldMkLst>
        <pc:spChg chg="mod">
          <ac:chgData name="Aurelien Domont" userId="6da7715ce44349b3" providerId="LiveId" clId="{AFF9B0D5-CA7D-40FB-964A-23276295459E}" dt="2021-07-06T04:49:53.743" v="6421" actId="20577"/>
          <ac:spMkLst>
            <pc:docMk/>
            <pc:sldMk cId="3379055426" sldId="2192"/>
            <ac:spMk id="16" creationId="{6C2BB713-9637-4B9B-938F-E9768876782A}"/>
          </ac:spMkLst>
        </pc:spChg>
        <pc:spChg chg="mod topLvl">
          <ac:chgData name="Aurelien Domont" userId="6da7715ce44349b3" providerId="LiveId" clId="{AFF9B0D5-CA7D-40FB-964A-23276295459E}" dt="2021-07-06T04:50:43.896" v="6426" actId="165"/>
          <ac:spMkLst>
            <pc:docMk/>
            <pc:sldMk cId="3379055426" sldId="2192"/>
            <ac:spMk id="18" creationId="{B771EFD1-480A-49D1-8311-D1631ADDCAE0}"/>
          </ac:spMkLst>
        </pc:spChg>
        <pc:spChg chg="mod topLvl">
          <ac:chgData name="Aurelien Domont" userId="6da7715ce44349b3" providerId="LiveId" clId="{AFF9B0D5-CA7D-40FB-964A-23276295459E}" dt="2021-07-06T04:50:43.896" v="6426" actId="165"/>
          <ac:spMkLst>
            <pc:docMk/>
            <pc:sldMk cId="3379055426" sldId="2192"/>
            <ac:spMk id="22" creationId="{65469F66-D281-4ED1-A6A4-53FB0256ADF0}"/>
          </ac:spMkLst>
        </pc:spChg>
        <pc:spChg chg="mod topLvl">
          <ac:chgData name="Aurelien Domont" userId="6da7715ce44349b3" providerId="LiveId" clId="{AFF9B0D5-CA7D-40FB-964A-23276295459E}" dt="2021-07-06T04:50:43.896" v="6426" actId="165"/>
          <ac:spMkLst>
            <pc:docMk/>
            <pc:sldMk cId="3379055426" sldId="2192"/>
            <ac:spMk id="23" creationId="{23E57CB2-F110-433B-8E68-828A876E73FC}"/>
          </ac:spMkLst>
        </pc:spChg>
        <pc:spChg chg="mod topLvl">
          <ac:chgData name="Aurelien Domont" userId="6da7715ce44349b3" providerId="LiveId" clId="{AFF9B0D5-CA7D-40FB-964A-23276295459E}" dt="2021-07-06T04:50:43.896" v="6426" actId="165"/>
          <ac:spMkLst>
            <pc:docMk/>
            <pc:sldMk cId="3379055426" sldId="2192"/>
            <ac:spMk id="24" creationId="{74E6FD3E-697E-437E-BCCF-D4036C531968}"/>
          </ac:spMkLst>
        </pc:spChg>
        <pc:spChg chg="mod topLvl">
          <ac:chgData name="Aurelien Domont" userId="6da7715ce44349b3" providerId="LiveId" clId="{AFF9B0D5-CA7D-40FB-964A-23276295459E}" dt="2021-07-06T04:50:43.896" v="6426" actId="165"/>
          <ac:spMkLst>
            <pc:docMk/>
            <pc:sldMk cId="3379055426" sldId="2192"/>
            <ac:spMk id="25" creationId="{92AABBE3-B444-4BEC-82DD-5644BBA7A771}"/>
          </ac:spMkLst>
        </pc:spChg>
        <pc:spChg chg="mod topLvl">
          <ac:chgData name="Aurelien Domont" userId="6da7715ce44349b3" providerId="LiveId" clId="{AFF9B0D5-CA7D-40FB-964A-23276295459E}" dt="2021-07-06T04:50:43.896" v="6426" actId="165"/>
          <ac:spMkLst>
            <pc:docMk/>
            <pc:sldMk cId="3379055426" sldId="2192"/>
            <ac:spMk id="26" creationId="{97B58A29-1D94-499B-8733-3910F9AD6F4A}"/>
          </ac:spMkLst>
        </pc:spChg>
        <pc:spChg chg="mod topLvl">
          <ac:chgData name="Aurelien Domont" userId="6da7715ce44349b3" providerId="LiveId" clId="{AFF9B0D5-CA7D-40FB-964A-23276295459E}" dt="2021-07-06T04:50:43.896" v="6426" actId="165"/>
          <ac:spMkLst>
            <pc:docMk/>
            <pc:sldMk cId="3379055426" sldId="2192"/>
            <ac:spMk id="27" creationId="{5D999E87-6D47-44EB-AA80-FAB1044E50B3}"/>
          </ac:spMkLst>
        </pc:spChg>
        <pc:spChg chg="mod topLvl">
          <ac:chgData name="Aurelien Domont" userId="6da7715ce44349b3" providerId="LiveId" clId="{AFF9B0D5-CA7D-40FB-964A-23276295459E}" dt="2021-07-06T04:50:43.896" v="6426" actId="165"/>
          <ac:spMkLst>
            <pc:docMk/>
            <pc:sldMk cId="3379055426" sldId="2192"/>
            <ac:spMk id="29" creationId="{3C06A61B-7951-49EC-954F-20BCE045D88C}"/>
          </ac:spMkLst>
        </pc:spChg>
        <pc:spChg chg="mod topLvl">
          <ac:chgData name="Aurelien Domont" userId="6da7715ce44349b3" providerId="LiveId" clId="{AFF9B0D5-CA7D-40FB-964A-23276295459E}" dt="2021-07-06T04:50:43.896" v="6426" actId="165"/>
          <ac:spMkLst>
            <pc:docMk/>
            <pc:sldMk cId="3379055426" sldId="2192"/>
            <ac:spMk id="30" creationId="{CEF0D8C1-C31C-434B-AE35-55B3471F9C9D}"/>
          </ac:spMkLst>
        </pc:spChg>
        <pc:spChg chg="mod topLvl">
          <ac:chgData name="Aurelien Domont" userId="6da7715ce44349b3" providerId="LiveId" clId="{AFF9B0D5-CA7D-40FB-964A-23276295459E}" dt="2021-07-06T04:50:43.896" v="6426" actId="165"/>
          <ac:spMkLst>
            <pc:docMk/>
            <pc:sldMk cId="3379055426" sldId="2192"/>
            <ac:spMk id="31" creationId="{811A9C04-9509-4F96-B5E1-2683FDB0AA62}"/>
          </ac:spMkLst>
        </pc:spChg>
        <pc:spChg chg="mod topLvl">
          <ac:chgData name="Aurelien Domont" userId="6da7715ce44349b3" providerId="LiveId" clId="{AFF9B0D5-CA7D-40FB-964A-23276295459E}" dt="2021-07-06T04:50:43.896" v="6426" actId="165"/>
          <ac:spMkLst>
            <pc:docMk/>
            <pc:sldMk cId="3379055426" sldId="2192"/>
            <ac:spMk id="33" creationId="{7C047B58-FCD5-4D1B-B651-61CF38F9DD85}"/>
          </ac:spMkLst>
        </pc:spChg>
        <pc:spChg chg="mod topLvl">
          <ac:chgData name="Aurelien Domont" userId="6da7715ce44349b3" providerId="LiveId" clId="{AFF9B0D5-CA7D-40FB-964A-23276295459E}" dt="2021-07-06T04:50:43.896" v="6426" actId="165"/>
          <ac:spMkLst>
            <pc:docMk/>
            <pc:sldMk cId="3379055426" sldId="2192"/>
            <ac:spMk id="34" creationId="{2E14BF7D-6F99-4D98-A8DA-8EB723F87710}"/>
          </ac:spMkLst>
        </pc:spChg>
        <pc:spChg chg="mod topLvl">
          <ac:chgData name="Aurelien Domont" userId="6da7715ce44349b3" providerId="LiveId" clId="{AFF9B0D5-CA7D-40FB-964A-23276295459E}" dt="2021-07-06T04:50:43.896" v="6426" actId="165"/>
          <ac:spMkLst>
            <pc:docMk/>
            <pc:sldMk cId="3379055426" sldId="2192"/>
            <ac:spMk id="35" creationId="{3882020F-C56B-44AB-8637-035FEE81CF3D}"/>
          </ac:spMkLst>
        </pc:spChg>
        <pc:spChg chg="mod topLvl">
          <ac:chgData name="Aurelien Domont" userId="6da7715ce44349b3" providerId="LiveId" clId="{AFF9B0D5-CA7D-40FB-964A-23276295459E}" dt="2021-07-06T04:50:43.896" v="6426" actId="165"/>
          <ac:spMkLst>
            <pc:docMk/>
            <pc:sldMk cId="3379055426" sldId="2192"/>
            <ac:spMk id="37" creationId="{BD423BD5-6D69-49BE-A67A-B9649D95191D}"/>
          </ac:spMkLst>
        </pc:spChg>
        <pc:spChg chg="mod topLvl">
          <ac:chgData name="Aurelien Domont" userId="6da7715ce44349b3" providerId="LiveId" clId="{AFF9B0D5-CA7D-40FB-964A-23276295459E}" dt="2021-07-06T04:50:43.896" v="6426" actId="165"/>
          <ac:spMkLst>
            <pc:docMk/>
            <pc:sldMk cId="3379055426" sldId="2192"/>
            <ac:spMk id="38" creationId="{E0BF46F7-A9D8-4C09-978A-75A9D4B5E441}"/>
          </ac:spMkLst>
        </pc:spChg>
        <pc:spChg chg="mod topLvl">
          <ac:chgData name="Aurelien Domont" userId="6da7715ce44349b3" providerId="LiveId" clId="{AFF9B0D5-CA7D-40FB-964A-23276295459E}" dt="2021-07-06T04:50:43.896" v="6426" actId="165"/>
          <ac:spMkLst>
            <pc:docMk/>
            <pc:sldMk cId="3379055426" sldId="2192"/>
            <ac:spMk id="39" creationId="{0C3749C6-D983-40E9-B6FE-9E314EE56A35}"/>
          </ac:spMkLst>
        </pc:spChg>
        <pc:spChg chg="mod topLvl">
          <ac:chgData name="Aurelien Domont" userId="6da7715ce44349b3" providerId="LiveId" clId="{AFF9B0D5-CA7D-40FB-964A-23276295459E}" dt="2021-07-06T04:50:43.896" v="6426" actId="165"/>
          <ac:spMkLst>
            <pc:docMk/>
            <pc:sldMk cId="3379055426" sldId="2192"/>
            <ac:spMk id="40" creationId="{1CE55E94-F6B3-43A5-8C94-74729058DAFB}"/>
          </ac:spMkLst>
        </pc:spChg>
        <pc:spChg chg="mod topLvl">
          <ac:chgData name="Aurelien Domont" userId="6da7715ce44349b3" providerId="LiveId" clId="{AFF9B0D5-CA7D-40FB-964A-23276295459E}" dt="2021-07-06T04:50:43.896" v="6426" actId="165"/>
          <ac:spMkLst>
            <pc:docMk/>
            <pc:sldMk cId="3379055426" sldId="2192"/>
            <ac:spMk id="41" creationId="{6EBB98D6-908A-4551-B26F-10C6768274FA}"/>
          </ac:spMkLst>
        </pc:spChg>
        <pc:spChg chg="mod topLvl">
          <ac:chgData name="Aurelien Domont" userId="6da7715ce44349b3" providerId="LiveId" clId="{AFF9B0D5-CA7D-40FB-964A-23276295459E}" dt="2021-07-06T04:50:43.896" v="6426" actId="165"/>
          <ac:spMkLst>
            <pc:docMk/>
            <pc:sldMk cId="3379055426" sldId="2192"/>
            <ac:spMk id="42" creationId="{E4CBA9D9-791A-4B6D-A6F5-C58BC1196434}"/>
          </ac:spMkLst>
        </pc:spChg>
        <pc:spChg chg="mod topLvl">
          <ac:chgData name="Aurelien Domont" userId="6da7715ce44349b3" providerId="LiveId" clId="{AFF9B0D5-CA7D-40FB-964A-23276295459E}" dt="2021-07-06T04:50:43.896" v="6426" actId="165"/>
          <ac:spMkLst>
            <pc:docMk/>
            <pc:sldMk cId="3379055426" sldId="2192"/>
            <ac:spMk id="44" creationId="{2324D931-C446-4406-A3B2-7EEF109E1330}"/>
          </ac:spMkLst>
        </pc:spChg>
        <pc:spChg chg="mod topLvl">
          <ac:chgData name="Aurelien Domont" userId="6da7715ce44349b3" providerId="LiveId" clId="{AFF9B0D5-CA7D-40FB-964A-23276295459E}" dt="2021-07-06T04:50:43.896" v="6426" actId="165"/>
          <ac:spMkLst>
            <pc:docMk/>
            <pc:sldMk cId="3379055426" sldId="2192"/>
            <ac:spMk id="47" creationId="{066BFCAB-9359-47E6-85A9-6446EEE47684}"/>
          </ac:spMkLst>
        </pc:spChg>
        <pc:spChg chg="mod topLvl">
          <ac:chgData name="Aurelien Domont" userId="6da7715ce44349b3" providerId="LiveId" clId="{AFF9B0D5-CA7D-40FB-964A-23276295459E}" dt="2021-07-06T04:50:43.896" v="6426" actId="165"/>
          <ac:spMkLst>
            <pc:docMk/>
            <pc:sldMk cId="3379055426" sldId="2192"/>
            <ac:spMk id="48" creationId="{596BEE1A-9790-483E-96EB-CDEEB9ED8E4A}"/>
          </ac:spMkLst>
        </pc:spChg>
        <pc:spChg chg="mod topLvl">
          <ac:chgData name="Aurelien Domont" userId="6da7715ce44349b3" providerId="LiveId" clId="{AFF9B0D5-CA7D-40FB-964A-23276295459E}" dt="2021-07-06T04:50:43.896" v="6426" actId="165"/>
          <ac:spMkLst>
            <pc:docMk/>
            <pc:sldMk cId="3379055426" sldId="2192"/>
            <ac:spMk id="49" creationId="{6C51E034-D463-40F4-A6FE-1AD0EECC2E18}"/>
          </ac:spMkLst>
        </pc:spChg>
        <pc:spChg chg="mod topLvl">
          <ac:chgData name="Aurelien Domont" userId="6da7715ce44349b3" providerId="LiveId" clId="{AFF9B0D5-CA7D-40FB-964A-23276295459E}" dt="2021-07-06T04:50:43.896" v="6426" actId="165"/>
          <ac:spMkLst>
            <pc:docMk/>
            <pc:sldMk cId="3379055426" sldId="2192"/>
            <ac:spMk id="50" creationId="{4DB629D9-D3D7-42A5-B2E5-376B2910CE6E}"/>
          </ac:spMkLst>
        </pc:spChg>
        <pc:spChg chg="mod topLvl">
          <ac:chgData name="Aurelien Domont" userId="6da7715ce44349b3" providerId="LiveId" clId="{AFF9B0D5-CA7D-40FB-964A-23276295459E}" dt="2021-07-06T04:50:43.896" v="6426" actId="165"/>
          <ac:spMkLst>
            <pc:docMk/>
            <pc:sldMk cId="3379055426" sldId="2192"/>
            <ac:spMk id="51" creationId="{0508A820-EDC6-4023-B09A-569DACAA89BC}"/>
          </ac:spMkLst>
        </pc:spChg>
        <pc:spChg chg="mod topLvl">
          <ac:chgData name="Aurelien Domont" userId="6da7715ce44349b3" providerId="LiveId" clId="{AFF9B0D5-CA7D-40FB-964A-23276295459E}" dt="2021-07-06T04:50:43.896" v="6426" actId="165"/>
          <ac:spMkLst>
            <pc:docMk/>
            <pc:sldMk cId="3379055426" sldId="2192"/>
            <ac:spMk id="52" creationId="{0598C82B-5B19-4ECD-A9F9-210E620301CE}"/>
          </ac:spMkLst>
        </pc:spChg>
        <pc:spChg chg="mod topLvl">
          <ac:chgData name="Aurelien Domont" userId="6da7715ce44349b3" providerId="LiveId" clId="{AFF9B0D5-CA7D-40FB-964A-23276295459E}" dt="2021-07-06T04:50:43.896" v="6426" actId="165"/>
          <ac:spMkLst>
            <pc:docMk/>
            <pc:sldMk cId="3379055426" sldId="2192"/>
            <ac:spMk id="53" creationId="{69AA8412-F4FC-49E9-8098-BA5431F25AEC}"/>
          </ac:spMkLst>
        </pc:spChg>
        <pc:spChg chg="mod topLvl">
          <ac:chgData name="Aurelien Domont" userId="6da7715ce44349b3" providerId="LiveId" clId="{AFF9B0D5-CA7D-40FB-964A-23276295459E}" dt="2021-07-06T04:50:43.896" v="6426" actId="165"/>
          <ac:spMkLst>
            <pc:docMk/>
            <pc:sldMk cId="3379055426" sldId="2192"/>
            <ac:spMk id="54" creationId="{FD10D8C9-608D-4706-9C95-87B692F7BC52}"/>
          </ac:spMkLst>
        </pc:spChg>
        <pc:spChg chg="mod topLvl">
          <ac:chgData name="Aurelien Domont" userId="6da7715ce44349b3" providerId="LiveId" clId="{AFF9B0D5-CA7D-40FB-964A-23276295459E}" dt="2021-07-06T04:50:43.896" v="6426" actId="165"/>
          <ac:spMkLst>
            <pc:docMk/>
            <pc:sldMk cId="3379055426" sldId="2192"/>
            <ac:spMk id="55" creationId="{F96E8F5D-13F7-4F5F-B0C7-43F495BBE507}"/>
          </ac:spMkLst>
        </pc:spChg>
        <pc:spChg chg="mod topLvl">
          <ac:chgData name="Aurelien Domont" userId="6da7715ce44349b3" providerId="LiveId" clId="{AFF9B0D5-CA7D-40FB-964A-23276295459E}" dt="2021-07-06T04:50:43.896" v="6426" actId="165"/>
          <ac:spMkLst>
            <pc:docMk/>
            <pc:sldMk cId="3379055426" sldId="2192"/>
            <ac:spMk id="56" creationId="{1944C13D-7976-4FFF-9C1A-50B916EBC481}"/>
          </ac:spMkLst>
        </pc:spChg>
        <pc:spChg chg="mod topLvl">
          <ac:chgData name="Aurelien Domont" userId="6da7715ce44349b3" providerId="LiveId" clId="{AFF9B0D5-CA7D-40FB-964A-23276295459E}" dt="2021-07-06T04:50:43.896" v="6426" actId="165"/>
          <ac:spMkLst>
            <pc:docMk/>
            <pc:sldMk cId="3379055426" sldId="2192"/>
            <ac:spMk id="57" creationId="{596979FA-5547-40C5-9D2D-03C54409A1FB}"/>
          </ac:spMkLst>
        </pc:spChg>
        <pc:spChg chg="mod topLvl">
          <ac:chgData name="Aurelien Domont" userId="6da7715ce44349b3" providerId="LiveId" clId="{AFF9B0D5-CA7D-40FB-964A-23276295459E}" dt="2021-07-06T04:50:43.896" v="6426" actId="165"/>
          <ac:spMkLst>
            <pc:docMk/>
            <pc:sldMk cId="3379055426" sldId="2192"/>
            <ac:spMk id="58" creationId="{E2562560-CC9C-4394-9A98-D6C4F0C35DF1}"/>
          </ac:spMkLst>
        </pc:spChg>
        <pc:spChg chg="mod topLvl">
          <ac:chgData name="Aurelien Domont" userId="6da7715ce44349b3" providerId="LiveId" clId="{AFF9B0D5-CA7D-40FB-964A-23276295459E}" dt="2021-07-06T04:50:43.896" v="6426" actId="165"/>
          <ac:spMkLst>
            <pc:docMk/>
            <pc:sldMk cId="3379055426" sldId="2192"/>
            <ac:spMk id="59" creationId="{FBF447C9-790F-4E87-A5F0-245B9CBB2C5C}"/>
          </ac:spMkLst>
        </pc:spChg>
        <pc:spChg chg="mod topLvl">
          <ac:chgData name="Aurelien Domont" userId="6da7715ce44349b3" providerId="LiveId" clId="{AFF9B0D5-CA7D-40FB-964A-23276295459E}" dt="2021-07-06T04:50:43.896" v="6426" actId="165"/>
          <ac:spMkLst>
            <pc:docMk/>
            <pc:sldMk cId="3379055426" sldId="2192"/>
            <ac:spMk id="60" creationId="{70CE53DD-117C-493D-AD1D-1AB8E2D5511C}"/>
          </ac:spMkLst>
        </pc:spChg>
        <pc:spChg chg="mod topLvl">
          <ac:chgData name="Aurelien Domont" userId="6da7715ce44349b3" providerId="LiveId" clId="{AFF9B0D5-CA7D-40FB-964A-23276295459E}" dt="2021-07-06T04:50:43.896" v="6426" actId="165"/>
          <ac:spMkLst>
            <pc:docMk/>
            <pc:sldMk cId="3379055426" sldId="2192"/>
            <ac:spMk id="62" creationId="{4656F7B9-B091-4F59-B888-6DEA15CF287B}"/>
          </ac:spMkLst>
        </pc:spChg>
        <pc:spChg chg="mod topLvl">
          <ac:chgData name="Aurelien Domont" userId="6da7715ce44349b3" providerId="LiveId" clId="{AFF9B0D5-CA7D-40FB-964A-23276295459E}" dt="2021-07-06T04:50:43.896" v="6426" actId="165"/>
          <ac:spMkLst>
            <pc:docMk/>
            <pc:sldMk cId="3379055426" sldId="2192"/>
            <ac:spMk id="63" creationId="{F743838F-4369-4298-8BDF-24B1A81D7CC9}"/>
          </ac:spMkLst>
        </pc:spChg>
        <pc:spChg chg="mod topLvl">
          <ac:chgData name="Aurelien Domont" userId="6da7715ce44349b3" providerId="LiveId" clId="{AFF9B0D5-CA7D-40FB-964A-23276295459E}" dt="2021-07-06T04:50:43.896" v="6426" actId="165"/>
          <ac:spMkLst>
            <pc:docMk/>
            <pc:sldMk cId="3379055426" sldId="2192"/>
            <ac:spMk id="64" creationId="{84D7C36D-FE20-4E88-8829-94E2EC4CEE79}"/>
          </ac:spMkLst>
        </pc:spChg>
        <pc:spChg chg="mod topLvl">
          <ac:chgData name="Aurelien Domont" userId="6da7715ce44349b3" providerId="LiveId" clId="{AFF9B0D5-CA7D-40FB-964A-23276295459E}" dt="2021-07-06T04:50:43.896" v="6426" actId="165"/>
          <ac:spMkLst>
            <pc:docMk/>
            <pc:sldMk cId="3379055426" sldId="2192"/>
            <ac:spMk id="65" creationId="{8AA055DE-5DEA-480F-9D58-EB35AB60A4AF}"/>
          </ac:spMkLst>
        </pc:spChg>
        <pc:spChg chg="mod topLvl">
          <ac:chgData name="Aurelien Domont" userId="6da7715ce44349b3" providerId="LiveId" clId="{AFF9B0D5-CA7D-40FB-964A-23276295459E}" dt="2021-07-06T04:50:43.896" v="6426" actId="165"/>
          <ac:spMkLst>
            <pc:docMk/>
            <pc:sldMk cId="3379055426" sldId="2192"/>
            <ac:spMk id="66" creationId="{5B305A7E-46F5-43B2-ACBF-71567A90F965}"/>
          </ac:spMkLst>
        </pc:spChg>
        <pc:spChg chg="mod topLvl">
          <ac:chgData name="Aurelien Domont" userId="6da7715ce44349b3" providerId="LiveId" clId="{AFF9B0D5-CA7D-40FB-964A-23276295459E}" dt="2021-07-06T04:50:43.896" v="6426" actId="165"/>
          <ac:spMkLst>
            <pc:docMk/>
            <pc:sldMk cId="3379055426" sldId="2192"/>
            <ac:spMk id="67" creationId="{7455C64C-AFC5-4C29-93D3-4332E1BAEE9C}"/>
          </ac:spMkLst>
        </pc:spChg>
        <pc:spChg chg="mod topLvl">
          <ac:chgData name="Aurelien Domont" userId="6da7715ce44349b3" providerId="LiveId" clId="{AFF9B0D5-CA7D-40FB-964A-23276295459E}" dt="2021-07-06T04:50:43.896" v="6426" actId="165"/>
          <ac:spMkLst>
            <pc:docMk/>
            <pc:sldMk cId="3379055426" sldId="2192"/>
            <ac:spMk id="68" creationId="{5E8A23BD-D375-4967-ACA7-E1CCA49242EA}"/>
          </ac:spMkLst>
        </pc:spChg>
        <pc:spChg chg="mod topLvl">
          <ac:chgData name="Aurelien Domont" userId="6da7715ce44349b3" providerId="LiveId" clId="{AFF9B0D5-CA7D-40FB-964A-23276295459E}" dt="2021-07-06T04:50:43.896" v="6426" actId="165"/>
          <ac:spMkLst>
            <pc:docMk/>
            <pc:sldMk cId="3379055426" sldId="2192"/>
            <ac:spMk id="69" creationId="{4030F0B9-06DB-4A6A-968B-33EF931731CE}"/>
          </ac:spMkLst>
        </pc:spChg>
        <pc:spChg chg="mod topLvl">
          <ac:chgData name="Aurelien Domont" userId="6da7715ce44349b3" providerId="LiveId" clId="{AFF9B0D5-CA7D-40FB-964A-23276295459E}" dt="2021-07-06T04:50:43.896" v="6426" actId="165"/>
          <ac:spMkLst>
            <pc:docMk/>
            <pc:sldMk cId="3379055426" sldId="2192"/>
            <ac:spMk id="70" creationId="{A2C60355-D617-4490-8E3E-1D6F4CB8A214}"/>
          </ac:spMkLst>
        </pc:spChg>
        <pc:spChg chg="mod topLvl">
          <ac:chgData name="Aurelien Domont" userId="6da7715ce44349b3" providerId="LiveId" clId="{AFF9B0D5-CA7D-40FB-964A-23276295459E}" dt="2021-07-06T04:50:43.896" v="6426" actId="165"/>
          <ac:spMkLst>
            <pc:docMk/>
            <pc:sldMk cId="3379055426" sldId="2192"/>
            <ac:spMk id="71" creationId="{CA9EB5AA-76BB-4143-A0DE-34A4DC0010AC}"/>
          </ac:spMkLst>
        </pc:spChg>
        <pc:spChg chg="mod topLvl">
          <ac:chgData name="Aurelien Domont" userId="6da7715ce44349b3" providerId="LiveId" clId="{AFF9B0D5-CA7D-40FB-964A-23276295459E}" dt="2021-07-06T04:50:43.896" v="6426" actId="165"/>
          <ac:spMkLst>
            <pc:docMk/>
            <pc:sldMk cId="3379055426" sldId="2192"/>
            <ac:spMk id="72" creationId="{966691BF-5126-4A33-8916-C81706F25C90}"/>
          </ac:spMkLst>
        </pc:spChg>
        <pc:spChg chg="mod topLvl">
          <ac:chgData name="Aurelien Domont" userId="6da7715ce44349b3" providerId="LiveId" clId="{AFF9B0D5-CA7D-40FB-964A-23276295459E}" dt="2021-07-06T04:50:43.896" v="6426" actId="165"/>
          <ac:spMkLst>
            <pc:docMk/>
            <pc:sldMk cId="3379055426" sldId="2192"/>
            <ac:spMk id="73" creationId="{5390EC5E-7055-4804-84A3-7E70E3904E93}"/>
          </ac:spMkLst>
        </pc:spChg>
        <pc:spChg chg="mod topLvl">
          <ac:chgData name="Aurelien Domont" userId="6da7715ce44349b3" providerId="LiveId" clId="{AFF9B0D5-CA7D-40FB-964A-23276295459E}" dt="2021-07-06T04:50:43.896" v="6426" actId="165"/>
          <ac:spMkLst>
            <pc:docMk/>
            <pc:sldMk cId="3379055426" sldId="2192"/>
            <ac:spMk id="74" creationId="{E65D02F2-FDEC-478F-8C7C-EF6B6E889CDF}"/>
          </ac:spMkLst>
        </pc:spChg>
        <pc:spChg chg="mod topLvl">
          <ac:chgData name="Aurelien Domont" userId="6da7715ce44349b3" providerId="LiveId" clId="{AFF9B0D5-CA7D-40FB-964A-23276295459E}" dt="2021-07-06T04:50:43.896" v="6426" actId="165"/>
          <ac:spMkLst>
            <pc:docMk/>
            <pc:sldMk cId="3379055426" sldId="2192"/>
            <ac:spMk id="75" creationId="{10C7DD6A-EDF4-4E97-BF30-74BFFFD36441}"/>
          </ac:spMkLst>
        </pc:spChg>
        <pc:spChg chg="mod topLvl">
          <ac:chgData name="Aurelien Domont" userId="6da7715ce44349b3" providerId="LiveId" clId="{AFF9B0D5-CA7D-40FB-964A-23276295459E}" dt="2021-07-06T04:50:43.896" v="6426" actId="165"/>
          <ac:spMkLst>
            <pc:docMk/>
            <pc:sldMk cId="3379055426" sldId="2192"/>
            <ac:spMk id="76" creationId="{12F4E801-8132-4F0C-B8DA-A36568ECCC40}"/>
          </ac:spMkLst>
        </pc:spChg>
        <pc:spChg chg="mod topLvl">
          <ac:chgData name="Aurelien Domont" userId="6da7715ce44349b3" providerId="LiveId" clId="{AFF9B0D5-CA7D-40FB-964A-23276295459E}" dt="2021-07-06T04:50:43.896" v="6426" actId="165"/>
          <ac:spMkLst>
            <pc:docMk/>
            <pc:sldMk cId="3379055426" sldId="2192"/>
            <ac:spMk id="77" creationId="{C5615F12-CE48-4C91-BA28-3C8B3DDC3F58}"/>
          </ac:spMkLst>
        </pc:spChg>
        <pc:spChg chg="mod topLvl">
          <ac:chgData name="Aurelien Domont" userId="6da7715ce44349b3" providerId="LiveId" clId="{AFF9B0D5-CA7D-40FB-964A-23276295459E}" dt="2021-07-06T04:50:43.896" v="6426" actId="165"/>
          <ac:spMkLst>
            <pc:docMk/>
            <pc:sldMk cId="3379055426" sldId="2192"/>
            <ac:spMk id="78" creationId="{22A89C04-5EB4-44E9-A32D-27408ED8CB56}"/>
          </ac:spMkLst>
        </pc:spChg>
        <pc:spChg chg="mod topLvl">
          <ac:chgData name="Aurelien Domont" userId="6da7715ce44349b3" providerId="LiveId" clId="{AFF9B0D5-CA7D-40FB-964A-23276295459E}" dt="2021-07-06T04:50:43.896" v="6426" actId="165"/>
          <ac:spMkLst>
            <pc:docMk/>
            <pc:sldMk cId="3379055426" sldId="2192"/>
            <ac:spMk id="79" creationId="{56A025F8-D352-4D26-97E8-71FDE85A31BB}"/>
          </ac:spMkLst>
        </pc:spChg>
        <pc:spChg chg="mod topLvl">
          <ac:chgData name="Aurelien Domont" userId="6da7715ce44349b3" providerId="LiveId" clId="{AFF9B0D5-CA7D-40FB-964A-23276295459E}" dt="2021-07-06T04:50:43.896" v="6426" actId="165"/>
          <ac:spMkLst>
            <pc:docMk/>
            <pc:sldMk cId="3379055426" sldId="2192"/>
            <ac:spMk id="80" creationId="{9A3331CC-8CC9-46B2-B479-BF612DE96A49}"/>
          </ac:spMkLst>
        </pc:spChg>
        <pc:spChg chg="mod topLvl">
          <ac:chgData name="Aurelien Domont" userId="6da7715ce44349b3" providerId="LiveId" clId="{AFF9B0D5-CA7D-40FB-964A-23276295459E}" dt="2021-07-06T04:50:43.896" v="6426" actId="165"/>
          <ac:spMkLst>
            <pc:docMk/>
            <pc:sldMk cId="3379055426" sldId="2192"/>
            <ac:spMk id="81" creationId="{AE32AB5F-2BE3-4D9C-A624-18BF13205C37}"/>
          </ac:spMkLst>
        </pc:spChg>
        <pc:spChg chg="mod topLvl">
          <ac:chgData name="Aurelien Domont" userId="6da7715ce44349b3" providerId="LiveId" clId="{AFF9B0D5-CA7D-40FB-964A-23276295459E}" dt="2021-07-06T04:50:43.896" v="6426" actId="165"/>
          <ac:spMkLst>
            <pc:docMk/>
            <pc:sldMk cId="3379055426" sldId="2192"/>
            <ac:spMk id="82" creationId="{3F3D471F-019C-499B-849A-3C0555B66D7C}"/>
          </ac:spMkLst>
        </pc:spChg>
        <pc:spChg chg="mod topLvl">
          <ac:chgData name="Aurelien Domont" userId="6da7715ce44349b3" providerId="LiveId" clId="{AFF9B0D5-CA7D-40FB-964A-23276295459E}" dt="2021-07-06T04:50:43.896" v="6426" actId="165"/>
          <ac:spMkLst>
            <pc:docMk/>
            <pc:sldMk cId="3379055426" sldId="2192"/>
            <ac:spMk id="83" creationId="{89794A8E-92B0-4F14-BCC8-8E09C4E8EB7B}"/>
          </ac:spMkLst>
        </pc:spChg>
        <pc:spChg chg="mod topLvl">
          <ac:chgData name="Aurelien Domont" userId="6da7715ce44349b3" providerId="LiveId" clId="{AFF9B0D5-CA7D-40FB-964A-23276295459E}" dt="2021-07-06T04:50:43.896" v="6426" actId="165"/>
          <ac:spMkLst>
            <pc:docMk/>
            <pc:sldMk cId="3379055426" sldId="2192"/>
            <ac:spMk id="84" creationId="{7CD25A7C-1C59-4AF8-8A24-ADDD1091CAA3}"/>
          </ac:spMkLst>
        </pc:spChg>
        <pc:spChg chg="mod topLvl">
          <ac:chgData name="Aurelien Domont" userId="6da7715ce44349b3" providerId="LiveId" clId="{AFF9B0D5-CA7D-40FB-964A-23276295459E}" dt="2021-07-06T04:50:43.896" v="6426" actId="165"/>
          <ac:spMkLst>
            <pc:docMk/>
            <pc:sldMk cId="3379055426" sldId="2192"/>
            <ac:spMk id="85" creationId="{C4050E01-DB91-4148-825F-4017F471C329}"/>
          </ac:spMkLst>
        </pc:spChg>
        <pc:spChg chg="mod topLvl">
          <ac:chgData name="Aurelien Domont" userId="6da7715ce44349b3" providerId="LiveId" clId="{AFF9B0D5-CA7D-40FB-964A-23276295459E}" dt="2021-07-06T04:50:43.896" v="6426" actId="165"/>
          <ac:spMkLst>
            <pc:docMk/>
            <pc:sldMk cId="3379055426" sldId="2192"/>
            <ac:spMk id="86" creationId="{7EA15ED6-46A5-43A0-B67C-11BDD4BF88EB}"/>
          </ac:spMkLst>
        </pc:spChg>
        <pc:spChg chg="mod topLvl">
          <ac:chgData name="Aurelien Domont" userId="6da7715ce44349b3" providerId="LiveId" clId="{AFF9B0D5-CA7D-40FB-964A-23276295459E}" dt="2021-07-06T04:50:43.896" v="6426" actId="165"/>
          <ac:spMkLst>
            <pc:docMk/>
            <pc:sldMk cId="3379055426" sldId="2192"/>
            <ac:spMk id="87" creationId="{FC2D8D47-DCE8-41DC-B4D8-D14FEC5472C2}"/>
          </ac:spMkLst>
        </pc:spChg>
        <pc:spChg chg="mod topLvl">
          <ac:chgData name="Aurelien Domont" userId="6da7715ce44349b3" providerId="LiveId" clId="{AFF9B0D5-CA7D-40FB-964A-23276295459E}" dt="2021-07-06T04:50:43.896" v="6426" actId="165"/>
          <ac:spMkLst>
            <pc:docMk/>
            <pc:sldMk cId="3379055426" sldId="2192"/>
            <ac:spMk id="88" creationId="{4C383830-3025-4A26-80CA-D9DD9FFC4366}"/>
          </ac:spMkLst>
        </pc:spChg>
        <pc:spChg chg="mod topLvl">
          <ac:chgData name="Aurelien Domont" userId="6da7715ce44349b3" providerId="LiveId" clId="{AFF9B0D5-CA7D-40FB-964A-23276295459E}" dt="2021-07-06T04:50:43.896" v="6426" actId="165"/>
          <ac:spMkLst>
            <pc:docMk/>
            <pc:sldMk cId="3379055426" sldId="2192"/>
            <ac:spMk id="89" creationId="{0A9438A0-9A3F-408D-8570-5955D7D53414}"/>
          </ac:spMkLst>
        </pc:spChg>
        <pc:spChg chg="mod topLvl">
          <ac:chgData name="Aurelien Domont" userId="6da7715ce44349b3" providerId="LiveId" clId="{AFF9B0D5-CA7D-40FB-964A-23276295459E}" dt="2021-07-06T04:50:43.896" v="6426" actId="165"/>
          <ac:spMkLst>
            <pc:docMk/>
            <pc:sldMk cId="3379055426" sldId="2192"/>
            <ac:spMk id="90" creationId="{CCF6A828-CC27-43AB-81DC-A5E4A45B8030}"/>
          </ac:spMkLst>
        </pc:spChg>
        <pc:spChg chg="mod topLvl">
          <ac:chgData name="Aurelien Domont" userId="6da7715ce44349b3" providerId="LiveId" clId="{AFF9B0D5-CA7D-40FB-964A-23276295459E}" dt="2021-07-06T04:50:43.896" v="6426" actId="165"/>
          <ac:spMkLst>
            <pc:docMk/>
            <pc:sldMk cId="3379055426" sldId="2192"/>
            <ac:spMk id="91" creationId="{EDB86CFC-23D4-4473-B846-3DA806F5108D}"/>
          </ac:spMkLst>
        </pc:spChg>
        <pc:spChg chg="mod topLvl">
          <ac:chgData name="Aurelien Domont" userId="6da7715ce44349b3" providerId="LiveId" clId="{AFF9B0D5-CA7D-40FB-964A-23276295459E}" dt="2021-07-06T04:50:43.896" v="6426" actId="165"/>
          <ac:spMkLst>
            <pc:docMk/>
            <pc:sldMk cId="3379055426" sldId="2192"/>
            <ac:spMk id="92" creationId="{9E27841A-5BBF-4869-8CB3-6677215968FD}"/>
          </ac:spMkLst>
        </pc:spChg>
        <pc:spChg chg="mod topLvl">
          <ac:chgData name="Aurelien Domont" userId="6da7715ce44349b3" providerId="LiveId" clId="{AFF9B0D5-CA7D-40FB-964A-23276295459E}" dt="2021-07-06T04:50:43.896" v="6426" actId="165"/>
          <ac:spMkLst>
            <pc:docMk/>
            <pc:sldMk cId="3379055426" sldId="2192"/>
            <ac:spMk id="93" creationId="{848846B1-BA0C-4806-B1DC-2FCF6F3B46EF}"/>
          </ac:spMkLst>
        </pc:spChg>
        <pc:spChg chg="mod topLvl">
          <ac:chgData name="Aurelien Domont" userId="6da7715ce44349b3" providerId="LiveId" clId="{AFF9B0D5-CA7D-40FB-964A-23276295459E}" dt="2021-07-06T04:50:43.896" v="6426" actId="165"/>
          <ac:spMkLst>
            <pc:docMk/>
            <pc:sldMk cId="3379055426" sldId="2192"/>
            <ac:spMk id="94" creationId="{B32F85AD-308E-4382-B339-9D0E3532E3B1}"/>
          </ac:spMkLst>
        </pc:spChg>
        <pc:spChg chg="mod topLvl">
          <ac:chgData name="Aurelien Domont" userId="6da7715ce44349b3" providerId="LiveId" clId="{AFF9B0D5-CA7D-40FB-964A-23276295459E}" dt="2021-07-06T04:50:43.896" v="6426" actId="165"/>
          <ac:spMkLst>
            <pc:docMk/>
            <pc:sldMk cId="3379055426" sldId="2192"/>
            <ac:spMk id="95" creationId="{F081A304-2C8F-4778-8EC0-5DCF78B4211E}"/>
          </ac:spMkLst>
        </pc:spChg>
        <pc:spChg chg="mod topLvl">
          <ac:chgData name="Aurelien Domont" userId="6da7715ce44349b3" providerId="LiveId" clId="{AFF9B0D5-CA7D-40FB-964A-23276295459E}" dt="2021-07-06T04:50:43.896" v="6426" actId="165"/>
          <ac:spMkLst>
            <pc:docMk/>
            <pc:sldMk cId="3379055426" sldId="2192"/>
            <ac:spMk id="96" creationId="{5B9E9E35-688A-4E46-AD17-958B53B2A9BD}"/>
          </ac:spMkLst>
        </pc:spChg>
        <pc:spChg chg="mod topLvl">
          <ac:chgData name="Aurelien Domont" userId="6da7715ce44349b3" providerId="LiveId" clId="{AFF9B0D5-CA7D-40FB-964A-23276295459E}" dt="2021-07-06T04:50:43.896" v="6426" actId="165"/>
          <ac:spMkLst>
            <pc:docMk/>
            <pc:sldMk cId="3379055426" sldId="2192"/>
            <ac:spMk id="97" creationId="{A76194B1-A38E-4BB8-8B3F-AE4835F7AC4E}"/>
          </ac:spMkLst>
        </pc:spChg>
        <pc:spChg chg="mod topLvl">
          <ac:chgData name="Aurelien Domont" userId="6da7715ce44349b3" providerId="LiveId" clId="{AFF9B0D5-CA7D-40FB-964A-23276295459E}" dt="2021-07-06T04:50:43.896" v="6426" actId="165"/>
          <ac:spMkLst>
            <pc:docMk/>
            <pc:sldMk cId="3379055426" sldId="2192"/>
            <ac:spMk id="98" creationId="{55792372-BB82-4ECA-8C77-C82715CC6A14}"/>
          </ac:spMkLst>
        </pc:spChg>
        <pc:spChg chg="mod topLvl">
          <ac:chgData name="Aurelien Domont" userId="6da7715ce44349b3" providerId="LiveId" clId="{AFF9B0D5-CA7D-40FB-964A-23276295459E}" dt="2021-07-06T04:50:43.896" v="6426" actId="165"/>
          <ac:spMkLst>
            <pc:docMk/>
            <pc:sldMk cId="3379055426" sldId="2192"/>
            <ac:spMk id="99" creationId="{90896AAA-AEDF-49B2-8503-7CA2DF421D32}"/>
          </ac:spMkLst>
        </pc:spChg>
        <pc:spChg chg="mod topLvl">
          <ac:chgData name="Aurelien Domont" userId="6da7715ce44349b3" providerId="LiveId" clId="{AFF9B0D5-CA7D-40FB-964A-23276295459E}" dt="2021-07-06T04:50:43.896" v="6426" actId="165"/>
          <ac:spMkLst>
            <pc:docMk/>
            <pc:sldMk cId="3379055426" sldId="2192"/>
            <ac:spMk id="100" creationId="{4E419948-B362-4317-B94F-EB6EEF93D5F8}"/>
          </ac:spMkLst>
        </pc:spChg>
        <pc:spChg chg="mod topLvl">
          <ac:chgData name="Aurelien Domont" userId="6da7715ce44349b3" providerId="LiveId" clId="{AFF9B0D5-CA7D-40FB-964A-23276295459E}" dt="2021-07-06T04:50:43.896" v="6426" actId="165"/>
          <ac:spMkLst>
            <pc:docMk/>
            <pc:sldMk cId="3379055426" sldId="2192"/>
            <ac:spMk id="101" creationId="{F0E0088D-D528-4463-A7EF-0CD7ED8D8194}"/>
          </ac:spMkLst>
        </pc:spChg>
        <pc:spChg chg="mod topLvl">
          <ac:chgData name="Aurelien Domont" userId="6da7715ce44349b3" providerId="LiveId" clId="{AFF9B0D5-CA7D-40FB-964A-23276295459E}" dt="2021-07-06T04:50:43.896" v="6426" actId="165"/>
          <ac:spMkLst>
            <pc:docMk/>
            <pc:sldMk cId="3379055426" sldId="2192"/>
            <ac:spMk id="102" creationId="{75C95256-B79D-4118-9B21-A8859DCC2637}"/>
          </ac:spMkLst>
        </pc:spChg>
        <pc:spChg chg="mod topLvl">
          <ac:chgData name="Aurelien Domont" userId="6da7715ce44349b3" providerId="LiveId" clId="{AFF9B0D5-CA7D-40FB-964A-23276295459E}" dt="2021-07-06T04:50:43.896" v="6426" actId="165"/>
          <ac:spMkLst>
            <pc:docMk/>
            <pc:sldMk cId="3379055426" sldId="2192"/>
            <ac:spMk id="103" creationId="{65BF41B5-CFC3-43AD-A8E2-6B26904CC06B}"/>
          </ac:spMkLst>
        </pc:spChg>
        <pc:spChg chg="mod topLvl">
          <ac:chgData name="Aurelien Domont" userId="6da7715ce44349b3" providerId="LiveId" clId="{AFF9B0D5-CA7D-40FB-964A-23276295459E}" dt="2021-07-06T04:50:43.896" v="6426" actId="165"/>
          <ac:spMkLst>
            <pc:docMk/>
            <pc:sldMk cId="3379055426" sldId="2192"/>
            <ac:spMk id="104" creationId="{E1AE7574-E20A-43ED-86E1-67FF47EE59E9}"/>
          </ac:spMkLst>
        </pc:spChg>
        <pc:spChg chg="mod topLvl">
          <ac:chgData name="Aurelien Domont" userId="6da7715ce44349b3" providerId="LiveId" clId="{AFF9B0D5-CA7D-40FB-964A-23276295459E}" dt="2021-07-06T04:50:43.896" v="6426" actId="165"/>
          <ac:spMkLst>
            <pc:docMk/>
            <pc:sldMk cId="3379055426" sldId="2192"/>
            <ac:spMk id="105" creationId="{1CA686F3-4B48-4FCA-9990-4A687AED190F}"/>
          </ac:spMkLst>
        </pc:spChg>
        <pc:spChg chg="mod topLvl">
          <ac:chgData name="Aurelien Domont" userId="6da7715ce44349b3" providerId="LiveId" clId="{AFF9B0D5-CA7D-40FB-964A-23276295459E}" dt="2021-07-06T04:50:43.896" v="6426" actId="165"/>
          <ac:spMkLst>
            <pc:docMk/>
            <pc:sldMk cId="3379055426" sldId="2192"/>
            <ac:spMk id="106" creationId="{230C6DFA-375D-4416-9E4E-067C619F1BFF}"/>
          </ac:spMkLst>
        </pc:spChg>
        <pc:spChg chg="mod topLvl">
          <ac:chgData name="Aurelien Domont" userId="6da7715ce44349b3" providerId="LiveId" clId="{AFF9B0D5-CA7D-40FB-964A-23276295459E}" dt="2021-07-06T04:50:43.896" v="6426" actId="165"/>
          <ac:spMkLst>
            <pc:docMk/>
            <pc:sldMk cId="3379055426" sldId="2192"/>
            <ac:spMk id="107" creationId="{77E2697D-9897-4A3B-A255-C96C05DFB65E}"/>
          </ac:spMkLst>
        </pc:spChg>
        <pc:spChg chg="mod topLvl">
          <ac:chgData name="Aurelien Domont" userId="6da7715ce44349b3" providerId="LiveId" clId="{AFF9B0D5-CA7D-40FB-964A-23276295459E}" dt="2021-07-06T04:50:43.896" v="6426" actId="165"/>
          <ac:spMkLst>
            <pc:docMk/>
            <pc:sldMk cId="3379055426" sldId="2192"/>
            <ac:spMk id="108" creationId="{FC706995-E8AA-43E2-8476-DA80D70E249C}"/>
          </ac:spMkLst>
        </pc:spChg>
        <pc:spChg chg="mod topLvl">
          <ac:chgData name="Aurelien Domont" userId="6da7715ce44349b3" providerId="LiveId" clId="{AFF9B0D5-CA7D-40FB-964A-23276295459E}" dt="2021-07-06T04:50:43.896" v="6426" actId="165"/>
          <ac:spMkLst>
            <pc:docMk/>
            <pc:sldMk cId="3379055426" sldId="2192"/>
            <ac:spMk id="109" creationId="{2B07D6D4-194B-4146-A1AE-508C73D392A6}"/>
          </ac:spMkLst>
        </pc:spChg>
        <pc:spChg chg="mod topLvl">
          <ac:chgData name="Aurelien Domont" userId="6da7715ce44349b3" providerId="LiveId" clId="{AFF9B0D5-CA7D-40FB-964A-23276295459E}" dt="2021-07-06T04:50:43.896" v="6426" actId="165"/>
          <ac:spMkLst>
            <pc:docMk/>
            <pc:sldMk cId="3379055426" sldId="2192"/>
            <ac:spMk id="110" creationId="{C5A5E31E-BC3F-4031-B4BD-96322C581A05}"/>
          </ac:spMkLst>
        </pc:spChg>
        <pc:spChg chg="mod topLvl">
          <ac:chgData name="Aurelien Domont" userId="6da7715ce44349b3" providerId="LiveId" clId="{AFF9B0D5-CA7D-40FB-964A-23276295459E}" dt="2021-07-06T04:50:43.896" v="6426" actId="165"/>
          <ac:spMkLst>
            <pc:docMk/>
            <pc:sldMk cId="3379055426" sldId="2192"/>
            <ac:spMk id="111" creationId="{632D5824-AD44-4E4F-AF47-F307A1FA0E2C}"/>
          </ac:spMkLst>
        </pc:spChg>
        <pc:spChg chg="mod topLvl">
          <ac:chgData name="Aurelien Domont" userId="6da7715ce44349b3" providerId="LiveId" clId="{AFF9B0D5-CA7D-40FB-964A-23276295459E}" dt="2021-07-06T04:50:43.896" v="6426" actId="165"/>
          <ac:spMkLst>
            <pc:docMk/>
            <pc:sldMk cId="3379055426" sldId="2192"/>
            <ac:spMk id="112" creationId="{6F83E090-B402-410D-AFC1-C419C6F8E4CB}"/>
          </ac:spMkLst>
        </pc:spChg>
        <pc:spChg chg="mod topLvl">
          <ac:chgData name="Aurelien Domont" userId="6da7715ce44349b3" providerId="LiveId" clId="{AFF9B0D5-CA7D-40FB-964A-23276295459E}" dt="2021-07-06T04:50:43.896" v="6426" actId="165"/>
          <ac:spMkLst>
            <pc:docMk/>
            <pc:sldMk cId="3379055426" sldId="2192"/>
            <ac:spMk id="113" creationId="{651407DE-861B-4C05-842D-A44085EFF369}"/>
          </ac:spMkLst>
        </pc:spChg>
        <pc:spChg chg="mod topLvl">
          <ac:chgData name="Aurelien Domont" userId="6da7715ce44349b3" providerId="LiveId" clId="{AFF9B0D5-CA7D-40FB-964A-23276295459E}" dt="2021-07-06T04:50:43.896" v="6426" actId="165"/>
          <ac:spMkLst>
            <pc:docMk/>
            <pc:sldMk cId="3379055426" sldId="2192"/>
            <ac:spMk id="114" creationId="{783A9BBE-48DB-4AE1-8421-30B47ED6B068}"/>
          </ac:spMkLst>
        </pc:spChg>
        <pc:spChg chg="mod topLvl">
          <ac:chgData name="Aurelien Domont" userId="6da7715ce44349b3" providerId="LiveId" clId="{AFF9B0D5-CA7D-40FB-964A-23276295459E}" dt="2021-07-06T04:50:43.896" v="6426" actId="165"/>
          <ac:spMkLst>
            <pc:docMk/>
            <pc:sldMk cId="3379055426" sldId="2192"/>
            <ac:spMk id="115" creationId="{BF2EC1BE-F8C3-4855-8D2E-4C26D0C250BD}"/>
          </ac:spMkLst>
        </pc:spChg>
        <pc:spChg chg="mod topLvl">
          <ac:chgData name="Aurelien Domont" userId="6da7715ce44349b3" providerId="LiveId" clId="{AFF9B0D5-CA7D-40FB-964A-23276295459E}" dt="2021-07-06T04:50:43.896" v="6426" actId="165"/>
          <ac:spMkLst>
            <pc:docMk/>
            <pc:sldMk cId="3379055426" sldId="2192"/>
            <ac:spMk id="116" creationId="{3B25F4FD-B5EE-4E5D-A3A5-1ABDEAD5F06B}"/>
          </ac:spMkLst>
        </pc:spChg>
        <pc:spChg chg="mod topLvl">
          <ac:chgData name="Aurelien Domont" userId="6da7715ce44349b3" providerId="LiveId" clId="{AFF9B0D5-CA7D-40FB-964A-23276295459E}" dt="2021-07-06T04:50:43.896" v="6426" actId="165"/>
          <ac:spMkLst>
            <pc:docMk/>
            <pc:sldMk cId="3379055426" sldId="2192"/>
            <ac:spMk id="117" creationId="{4150CB89-F485-436E-97D1-4FB1609F4986}"/>
          </ac:spMkLst>
        </pc:spChg>
        <pc:spChg chg="mod topLvl">
          <ac:chgData name="Aurelien Domont" userId="6da7715ce44349b3" providerId="LiveId" clId="{AFF9B0D5-CA7D-40FB-964A-23276295459E}" dt="2021-07-06T04:50:43.896" v="6426" actId="165"/>
          <ac:spMkLst>
            <pc:docMk/>
            <pc:sldMk cId="3379055426" sldId="2192"/>
            <ac:spMk id="118" creationId="{49E8AE7E-7F5A-4A11-9512-6C7079D464A2}"/>
          </ac:spMkLst>
        </pc:spChg>
        <pc:spChg chg="mod topLvl">
          <ac:chgData name="Aurelien Domont" userId="6da7715ce44349b3" providerId="LiveId" clId="{AFF9B0D5-CA7D-40FB-964A-23276295459E}" dt="2021-07-06T04:50:43.896" v="6426" actId="165"/>
          <ac:spMkLst>
            <pc:docMk/>
            <pc:sldMk cId="3379055426" sldId="2192"/>
            <ac:spMk id="119" creationId="{82534475-B316-4ED5-BDD3-1061DFF13294}"/>
          </ac:spMkLst>
        </pc:spChg>
        <pc:spChg chg="mod topLvl">
          <ac:chgData name="Aurelien Domont" userId="6da7715ce44349b3" providerId="LiveId" clId="{AFF9B0D5-CA7D-40FB-964A-23276295459E}" dt="2021-07-06T04:50:43.896" v="6426" actId="165"/>
          <ac:spMkLst>
            <pc:docMk/>
            <pc:sldMk cId="3379055426" sldId="2192"/>
            <ac:spMk id="120" creationId="{894A3104-C61D-488C-BD9D-15689C082991}"/>
          </ac:spMkLst>
        </pc:spChg>
        <pc:spChg chg="mod topLvl">
          <ac:chgData name="Aurelien Domont" userId="6da7715ce44349b3" providerId="LiveId" clId="{AFF9B0D5-CA7D-40FB-964A-23276295459E}" dt="2021-07-06T04:50:43.896" v="6426" actId="165"/>
          <ac:spMkLst>
            <pc:docMk/>
            <pc:sldMk cId="3379055426" sldId="2192"/>
            <ac:spMk id="121" creationId="{19010C2B-F3E6-484A-A3F9-6592B0831B41}"/>
          </ac:spMkLst>
        </pc:spChg>
        <pc:spChg chg="mod topLvl">
          <ac:chgData name="Aurelien Domont" userId="6da7715ce44349b3" providerId="LiveId" clId="{AFF9B0D5-CA7D-40FB-964A-23276295459E}" dt="2021-07-06T04:50:43.896" v="6426" actId="165"/>
          <ac:spMkLst>
            <pc:docMk/>
            <pc:sldMk cId="3379055426" sldId="2192"/>
            <ac:spMk id="122" creationId="{39FEB8F0-3332-4428-AEEA-741658E4FDC4}"/>
          </ac:spMkLst>
        </pc:spChg>
        <pc:spChg chg="mod topLvl">
          <ac:chgData name="Aurelien Domont" userId="6da7715ce44349b3" providerId="LiveId" clId="{AFF9B0D5-CA7D-40FB-964A-23276295459E}" dt="2021-07-06T04:50:43.896" v="6426" actId="165"/>
          <ac:spMkLst>
            <pc:docMk/>
            <pc:sldMk cId="3379055426" sldId="2192"/>
            <ac:spMk id="123" creationId="{7499BFA2-541F-43A4-8B7D-28E1FABD6E23}"/>
          </ac:spMkLst>
        </pc:spChg>
        <pc:spChg chg="mod topLvl">
          <ac:chgData name="Aurelien Domont" userId="6da7715ce44349b3" providerId="LiveId" clId="{AFF9B0D5-CA7D-40FB-964A-23276295459E}" dt="2021-07-06T04:50:43.896" v="6426" actId="165"/>
          <ac:spMkLst>
            <pc:docMk/>
            <pc:sldMk cId="3379055426" sldId="2192"/>
            <ac:spMk id="125" creationId="{2C9E90AE-B1D5-4F9C-BFCF-DCC3E4BCD4E2}"/>
          </ac:spMkLst>
        </pc:spChg>
        <pc:spChg chg="mod topLvl">
          <ac:chgData name="Aurelien Domont" userId="6da7715ce44349b3" providerId="LiveId" clId="{AFF9B0D5-CA7D-40FB-964A-23276295459E}" dt="2021-07-06T04:50:43.896" v="6426" actId="165"/>
          <ac:spMkLst>
            <pc:docMk/>
            <pc:sldMk cId="3379055426" sldId="2192"/>
            <ac:spMk id="127" creationId="{378FBEAB-0A9B-4243-98E7-1FEF1F9571B3}"/>
          </ac:spMkLst>
        </pc:spChg>
        <pc:spChg chg="mod topLvl">
          <ac:chgData name="Aurelien Domont" userId="6da7715ce44349b3" providerId="LiveId" clId="{AFF9B0D5-CA7D-40FB-964A-23276295459E}" dt="2021-07-06T04:50:43.896" v="6426" actId="165"/>
          <ac:spMkLst>
            <pc:docMk/>
            <pc:sldMk cId="3379055426" sldId="2192"/>
            <ac:spMk id="129" creationId="{C5A5F10F-556A-4AE1-A4ED-861F2945FF0C}"/>
          </ac:spMkLst>
        </pc:spChg>
        <pc:spChg chg="mod topLvl">
          <ac:chgData name="Aurelien Domont" userId="6da7715ce44349b3" providerId="LiveId" clId="{AFF9B0D5-CA7D-40FB-964A-23276295459E}" dt="2021-07-06T04:50:43.896" v="6426" actId="165"/>
          <ac:spMkLst>
            <pc:docMk/>
            <pc:sldMk cId="3379055426" sldId="2192"/>
            <ac:spMk id="131" creationId="{350273C7-56F8-484A-88FB-9CC9C5B030D4}"/>
          </ac:spMkLst>
        </pc:spChg>
        <pc:spChg chg="mod topLvl">
          <ac:chgData name="Aurelien Domont" userId="6da7715ce44349b3" providerId="LiveId" clId="{AFF9B0D5-CA7D-40FB-964A-23276295459E}" dt="2021-07-06T04:50:43.896" v="6426" actId="165"/>
          <ac:spMkLst>
            <pc:docMk/>
            <pc:sldMk cId="3379055426" sldId="2192"/>
            <ac:spMk id="132" creationId="{BC6174EC-1DA5-446D-880E-B7EA6E2BB114}"/>
          </ac:spMkLst>
        </pc:spChg>
        <pc:spChg chg="mod topLvl">
          <ac:chgData name="Aurelien Domont" userId="6da7715ce44349b3" providerId="LiveId" clId="{AFF9B0D5-CA7D-40FB-964A-23276295459E}" dt="2021-07-06T04:50:43.896" v="6426" actId="165"/>
          <ac:spMkLst>
            <pc:docMk/>
            <pc:sldMk cId="3379055426" sldId="2192"/>
            <ac:spMk id="133" creationId="{512FA95D-9A9C-4659-B363-4DC368AFFBCF}"/>
          </ac:spMkLst>
        </pc:spChg>
        <pc:spChg chg="mod topLvl">
          <ac:chgData name="Aurelien Domont" userId="6da7715ce44349b3" providerId="LiveId" clId="{AFF9B0D5-CA7D-40FB-964A-23276295459E}" dt="2021-07-06T04:50:43.896" v="6426" actId="165"/>
          <ac:spMkLst>
            <pc:docMk/>
            <pc:sldMk cId="3379055426" sldId="2192"/>
            <ac:spMk id="134" creationId="{CF8EEA38-F094-4816-918B-C5ECB1F04613}"/>
          </ac:spMkLst>
        </pc:spChg>
        <pc:spChg chg="mod topLvl">
          <ac:chgData name="Aurelien Domont" userId="6da7715ce44349b3" providerId="LiveId" clId="{AFF9B0D5-CA7D-40FB-964A-23276295459E}" dt="2021-07-06T04:50:43.896" v="6426" actId="165"/>
          <ac:spMkLst>
            <pc:docMk/>
            <pc:sldMk cId="3379055426" sldId="2192"/>
            <ac:spMk id="135" creationId="{B477CF5F-A7AF-43CE-8582-FAB481858132}"/>
          </ac:spMkLst>
        </pc:spChg>
        <pc:spChg chg="mod topLvl">
          <ac:chgData name="Aurelien Domont" userId="6da7715ce44349b3" providerId="LiveId" clId="{AFF9B0D5-CA7D-40FB-964A-23276295459E}" dt="2021-07-06T04:50:43.896" v="6426" actId="165"/>
          <ac:spMkLst>
            <pc:docMk/>
            <pc:sldMk cId="3379055426" sldId="2192"/>
            <ac:spMk id="136" creationId="{3A8CD19A-AC64-4532-A17D-3F89472AF0E5}"/>
          </ac:spMkLst>
        </pc:spChg>
        <pc:spChg chg="mod topLvl">
          <ac:chgData name="Aurelien Domont" userId="6da7715ce44349b3" providerId="LiveId" clId="{AFF9B0D5-CA7D-40FB-964A-23276295459E}" dt="2021-07-06T04:50:43.896" v="6426" actId="165"/>
          <ac:spMkLst>
            <pc:docMk/>
            <pc:sldMk cId="3379055426" sldId="2192"/>
            <ac:spMk id="137" creationId="{CAE23BEF-B51F-4CF7-8DEE-8420F4B8CC48}"/>
          </ac:spMkLst>
        </pc:spChg>
        <pc:spChg chg="mod topLvl">
          <ac:chgData name="Aurelien Domont" userId="6da7715ce44349b3" providerId="LiveId" clId="{AFF9B0D5-CA7D-40FB-964A-23276295459E}" dt="2021-07-06T04:50:43.896" v="6426" actId="165"/>
          <ac:spMkLst>
            <pc:docMk/>
            <pc:sldMk cId="3379055426" sldId="2192"/>
            <ac:spMk id="138" creationId="{985FBAC8-C39C-4F76-BF89-235488B6688A}"/>
          </ac:spMkLst>
        </pc:spChg>
        <pc:spChg chg="mod topLvl">
          <ac:chgData name="Aurelien Domont" userId="6da7715ce44349b3" providerId="LiveId" clId="{AFF9B0D5-CA7D-40FB-964A-23276295459E}" dt="2021-07-06T04:50:43.896" v="6426" actId="165"/>
          <ac:spMkLst>
            <pc:docMk/>
            <pc:sldMk cId="3379055426" sldId="2192"/>
            <ac:spMk id="139" creationId="{B2B8939D-415D-4191-AE3F-6BF5ACDF3066}"/>
          </ac:spMkLst>
        </pc:spChg>
        <pc:spChg chg="mod topLvl">
          <ac:chgData name="Aurelien Domont" userId="6da7715ce44349b3" providerId="LiveId" clId="{AFF9B0D5-CA7D-40FB-964A-23276295459E}" dt="2021-07-06T04:50:43.896" v="6426" actId="165"/>
          <ac:spMkLst>
            <pc:docMk/>
            <pc:sldMk cId="3379055426" sldId="2192"/>
            <ac:spMk id="140" creationId="{7752E709-95CB-4091-AB1E-A5086F134AC1}"/>
          </ac:spMkLst>
        </pc:spChg>
        <pc:spChg chg="mod topLvl">
          <ac:chgData name="Aurelien Domont" userId="6da7715ce44349b3" providerId="LiveId" clId="{AFF9B0D5-CA7D-40FB-964A-23276295459E}" dt="2021-07-06T04:50:43.896" v="6426" actId="165"/>
          <ac:spMkLst>
            <pc:docMk/>
            <pc:sldMk cId="3379055426" sldId="2192"/>
            <ac:spMk id="142" creationId="{BDDB4D79-5A59-41A1-B66F-8B658F59082A}"/>
          </ac:spMkLst>
        </pc:spChg>
        <pc:spChg chg="mod topLvl">
          <ac:chgData name="Aurelien Domont" userId="6da7715ce44349b3" providerId="LiveId" clId="{AFF9B0D5-CA7D-40FB-964A-23276295459E}" dt="2021-07-06T04:50:43.896" v="6426" actId="165"/>
          <ac:spMkLst>
            <pc:docMk/>
            <pc:sldMk cId="3379055426" sldId="2192"/>
            <ac:spMk id="143" creationId="{1D1E885F-74AF-4A3B-95AC-54D9FE340769}"/>
          </ac:spMkLst>
        </pc:spChg>
        <pc:spChg chg="mod topLvl">
          <ac:chgData name="Aurelien Domont" userId="6da7715ce44349b3" providerId="LiveId" clId="{AFF9B0D5-CA7D-40FB-964A-23276295459E}" dt="2021-07-06T04:50:43.896" v="6426" actId="165"/>
          <ac:spMkLst>
            <pc:docMk/>
            <pc:sldMk cId="3379055426" sldId="2192"/>
            <ac:spMk id="144" creationId="{D74FA934-62DC-4E2B-BDE0-202AF8CB9A49}"/>
          </ac:spMkLst>
        </pc:spChg>
        <pc:spChg chg="mod topLvl">
          <ac:chgData name="Aurelien Domont" userId="6da7715ce44349b3" providerId="LiveId" clId="{AFF9B0D5-CA7D-40FB-964A-23276295459E}" dt="2021-07-06T04:50:43.896" v="6426" actId="165"/>
          <ac:spMkLst>
            <pc:docMk/>
            <pc:sldMk cId="3379055426" sldId="2192"/>
            <ac:spMk id="145" creationId="{16FC8BD7-DDAE-44C2-B89E-C4034E712BED}"/>
          </ac:spMkLst>
        </pc:spChg>
        <pc:spChg chg="mod topLvl">
          <ac:chgData name="Aurelien Domont" userId="6da7715ce44349b3" providerId="LiveId" clId="{AFF9B0D5-CA7D-40FB-964A-23276295459E}" dt="2021-07-06T04:50:43.896" v="6426" actId="165"/>
          <ac:spMkLst>
            <pc:docMk/>
            <pc:sldMk cId="3379055426" sldId="2192"/>
            <ac:spMk id="146" creationId="{41B138E6-41E9-4AF6-A29C-165D08513D2D}"/>
          </ac:spMkLst>
        </pc:spChg>
        <pc:spChg chg="mod topLvl">
          <ac:chgData name="Aurelien Domont" userId="6da7715ce44349b3" providerId="LiveId" clId="{AFF9B0D5-CA7D-40FB-964A-23276295459E}" dt="2021-07-06T04:50:43.896" v="6426" actId="165"/>
          <ac:spMkLst>
            <pc:docMk/>
            <pc:sldMk cId="3379055426" sldId="2192"/>
            <ac:spMk id="147" creationId="{1C8FEC86-DF11-4FE6-A64F-AF70A02773BE}"/>
          </ac:spMkLst>
        </pc:spChg>
        <pc:spChg chg="mod topLvl">
          <ac:chgData name="Aurelien Domont" userId="6da7715ce44349b3" providerId="LiveId" clId="{AFF9B0D5-CA7D-40FB-964A-23276295459E}" dt="2021-07-06T04:50:43.896" v="6426" actId="165"/>
          <ac:spMkLst>
            <pc:docMk/>
            <pc:sldMk cId="3379055426" sldId="2192"/>
            <ac:spMk id="148" creationId="{7BFF15EB-F63D-4FAD-BCE0-0A283F0ACECB}"/>
          </ac:spMkLst>
        </pc:spChg>
        <pc:spChg chg="mod topLvl">
          <ac:chgData name="Aurelien Domont" userId="6da7715ce44349b3" providerId="LiveId" clId="{AFF9B0D5-CA7D-40FB-964A-23276295459E}" dt="2021-07-06T04:50:43.896" v="6426" actId="165"/>
          <ac:spMkLst>
            <pc:docMk/>
            <pc:sldMk cId="3379055426" sldId="2192"/>
            <ac:spMk id="149" creationId="{62DDC113-79AB-4405-8A05-4AF26497DD0C}"/>
          </ac:spMkLst>
        </pc:spChg>
        <pc:spChg chg="mod topLvl">
          <ac:chgData name="Aurelien Domont" userId="6da7715ce44349b3" providerId="LiveId" clId="{AFF9B0D5-CA7D-40FB-964A-23276295459E}" dt="2021-07-06T04:50:43.896" v="6426" actId="165"/>
          <ac:spMkLst>
            <pc:docMk/>
            <pc:sldMk cId="3379055426" sldId="2192"/>
            <ac:spMk id="150" creationId="{4365A171-557B-4606-A3EB-AF8BC2288201}"/>
          </ac:spMkLst>
        </pc:spChg>
        <pc:spChg chg="mod topLvl">
          <ac:chgData name="Aurelien Domont" userId="6da7715ce44349b3" providerId="LiveId" clId="{AFF9B0D5-CA7D-40FB-964A-23276295459E}" dt="2021-07-06T04:50:43.896" v="6426" actId="165"/>
          <ac:spMkLst>
            <pc:docMk/>
            <pc:sldMk cId="3379055426" sldId="2192"/>
            <ac:spMk id="151" creationId="{EEFF0CDB-017C-4A77-BB78-49C959810886}"/>
          </ac:spMkLst>
        </pc:spChg>
        <pc:spChg chg="mod topLvl">
          <ac:chgData name="Aurelien Domont" userId="6da7715ce44349b3" providerId="LiveId" clId="{AFF9B0D5-CA7D-40FB-964A-23276295459E}" dt="2021-07-06T04:50:43.896" v="6426" actId="165"/>
          <ac:spMkLst>
            <pc:docMk/>
            <pc:sldMk cId="3379055426" sldId="2192"/>
            <ac:spMk id="152" creationId="{8D03B6DB-D72C-4AB8-97B4-A9A20666B2CD}"/>
          </ac:spMkLst>
        </pc:spChg>
        <pc:spChg chg="mod topLvl">
          <ac:chgData name="Aurelien Domont" userId="6da7715ce44349b3" providerId="LiveId" clId="{AFF9B0D5-CA7D-40FB-964A-23276295459E}" dt="2021-07-06T04:50:43.896" v="6426" actId="165"/>
          <ac:spMkLst>
            <pc:docMk/>
            <pc:sldMk cId="3379055426" sldId="2192"/>
            <ac:spMk id="153" creationId="{A259B0CE-4E24-4931-A600-EAB7EE0723CE}"/>
          </ac:spMkLst>
        </pc:spChg>
        <pc:spChg chg="mod topLvl">
          <ac:chgData name="Aurelien Domont" userId="6da7715ce44349b3" providerId="LiveId" clId="{AFF9B0D5-CA7D-40FB-964A-23276295459E}" dt="2021-07-06T04:50:43.896" v="6426" actId="165"/>
          <ac:spMkLst>
            <pc:docMk/>
            <pc:sldMk cId="3379055426" sldId="2192"/>
            <ac:spMk id="154" creationId="{ABD91C8D-FC50-47FE-A53C-35530B9E6A4C}"/>
          </ac:spMkLst>
        </pc:spChg>
        <pc:spChg chg="mod topLvl">
          <ac:chgData name="Aurelien Domont" userId="6da7715ce44349b3" providerId="LiveId" clId="{AFF9B0D5-CA7D-40FB-964A-23276295459E}" dt="2021-07-06T04:50:43.896" v="6426" actId="165"/>
          <ac:spMkLst>
            <pc:docMk/>
            <pc:sldMk cId="3379055426" sldId="2192"/>
            <ac:spMk id="155" creationId="{25B903D7-A74D-430A-8D7F-DCA08103D522}"/>
          </ac:spMkLst>
        </pc:spChg>
        <pc:spChg chg="mod topLvl">
          <ac:chgData name="Aurelien Domont" userId="6da7715ce44349b3" providerId="LiveId" clId="{AFF9B0D5-CA7D-40FB-964A-23276295459E}" dt="2021-07-06T04:50:43.896" v="6426" actId="165"/>
          <ac:spMkLst>
            <pc:docMk/>
            <pc:sldMk cId="3379055426" sldId="2192"/>
            <ac:spMk id="156" creationId="{C0E7B4A7-61CE-422B-839A-837E9A743E3A}"/>
          </ac:spMkLst>
        </pc:spChg>
        <pc:spChg chg="mod topLvl">
          <ac:chgData name="Aurelien Domont" userId="6da7715ce44349b3" providerId="LiveId" clId="{AFF9B0D5-CA7D-40FB-964A-23276295459E}" dt="2021-07-06T04:50:43.896" v="6426" actId="165"/>
          <ac:spMkLst>
            <pc:docMk/>
            <pc:sldMk cId="3379055426" sldId="2192"/>
            <ac:spMk id="157" creationId="{3D657CDC-FAA8-4289-82C8-81810B6165D3}"/>
          </ac:spMkLst>
        </pc:spChg>
        <pc:spChg chg="mod topLvl">
          <ac:chgData name="Aurelien Domont" userId="6da7715ce44349b3" providerId="LiveId" clId="{AFF9B0D5-CA7D-40FB-964A-23276295459E}" dt="2021-07-06T04:50:43.896" v="6426" actId="165"/>
          <ac:spMkLst>
            <pc:docMk/>
            <pc:sldMk cId="3379055426" sldId="2192"/>
            <ac:spMk id="158" creationId="{B17EB213-4950-42CF-9699-018AD4232B1A}"/>
          </ac:spMkLst>
        </pc:spChg>
        <pc:spChg chg="mod topLvl">
          <ac:chgData name="Aurelien Domont" userId="6da7715ce44349b3" providerId="LiveId" clId="{AFF9B0D5-CA7D-40FB-964A-23276295459E}" dt="2021-07-06T04:50:43.896" v="6426" actId="165"/>
          <ac:spMkLst>
            <pc:docMk/>
            <pc:sldMk cId="3379055426" sldId="2192"/>
            <ac:spMk id="159" creationId="{8CA38F92-3E3C-43A5-90D1-5E8700DAB383}"/>
          </ac:spMkLst>
        </pc:spChg>
        <pc:spChg chg="mod topLvl">
          <ac:chgData name="Aurelien Domont" userId="6da7715ce44349b3" providerId="LiveId" clId="{AFF9B0D5-CA7D-40FB-964A-23276295459E}" dt="2021-07-06T04:50:43.896" v="6426" actId="165"/>
          <ac:spMkLst>
            <pc:docMk/>
            <pc:sldMk cId="3379055426" sldId="2192"/>
            <ac:spMk id="160" creationId="{23EDF098-AA5C-4CC4-A915-B946B8E572BC}"/>
          </ac:spMkLst>
        </pc:spChg>
        <pc:spChg chg="mod topLvl">
          <ac:chgData name="Aurelien Domont" userId="6da7715ce44349b3" providerId="LiveId" clId="{AFF9B0D5-CA7D-40FB-964A-23276295459E}" dt="2021-07-06T04:50:43.896" v="6426" actId="165"/>
          <ac:spMkLst>
            <pc:docMk/>
            <pc:sldMk cId="3379055426" sldId="2192"/>
            <ac:spMk id="161" creationId="{D56F5FB8-B708-4119-9373-80F1E11159C9}"/>
          </ac:spMkLst>
        </pc:spChg>
        <pc:spChg chg="mod topLvl">
          <ac:chgData name="Aurelien Domont" userId="6da7715ce44349b3" providerId="LiveId" clId="{AFF9B0D5-CA7D-40FB-964A-23276295459E}" dt="2021-07-06T04:50:43.896" v="6426" actId="165"/>
          <ac:spMkLst>
            <pc:docMk/>
            <pc:sldMk cId="3379055426" sldId="2192"/>
            <ac:spMk id="162" creationId="{BA676946-82C1-4EBE-B717-21F7E57ED277}"/>
          </ac:spMkLst>
        </pc:spChg>
        <pc:spChg chg="mod topLvl">
          <ac:chgData name="Aurelien Domont" userId="6da7715ce44349b3" providerId="LiveId" clId="{AFF9B0D5-CA7D-40FB-964A-23276295459E}" dt="2021-07-06T04:50:43.896" v="6426" actId="165"/>
          <ac:spMkLst>
            <pc:docMk/>
            <pc:sldMk cId="3379055426" sldId="2192"/>
            <ac:spMk id="163" creationId="{60EB86DE-7405-492F-9024-C261802C202B}"/>
          </ac:spMkLst>
        </pc:spChg>
        <pc:spChg chg="mod topLvl">
          <ac:chgData name="Aurelien Domont" userId="6da7715ce44349b3" providerId="LiveId" clId="{AFF9B0D5-CA7D-40FB-964A-23276295459E}" dt="2021-07-06T04:50:43.896" v="6426" actId="165"/>
          <ac:spMkLst>
            <pc:docMk/>
            <pc:sldMk cId="3379055426" sldId="2192"/>
            <ac:spMk id="164" creationId="{BDBE1806-5F82-440C-B248-5D0992D119E4}"/>
          </ac:spMkLst>
        </pc:spChg>
        <pc:spChg chg="mod topLvl">
          <ac:chgData name="Aurelien Domont" userId="6da7715ce44349b3" providerId="LiveId" clId="{AFF9B0D5-CA7D-40FB-964A-23276295459E}" dt="2021-07-06T04:50:43.896" v="6426" actId="165"/>
          <ac:spMkLst>
            <pc:docMk/>
            <pc:sldMk cId="3379055426" sldId="2192"/>
            <ac:spMk id="165" creationId="{0CB2C5FB-2220-441B-A825-6A63E1B5CE87}"/>
          </ac:spMkLst>
        </pc:spChg>
        <pc:spChg chg="mod topLvl">
          <ac:chgData name="Aurelien Domont" userId="6da7715ce44349b3" providerId="LiveId" clId="{AFF9B0D5-CA7D-40FB-964A-23276295459E}" dt="2021-07-06T04:50:43.896" v="6426" actId="165"/>
          <ac:spMkLst>
            <pc:docMk/>
            <pc:sldMk cId="3379055426" sldId="2192"/>
            <ac:spMk id="166" creationId="{9FACDA72-1072-4DEE-B174-2A6F35E08C8D}"/>
          </ac:spMkLst>
        </pc:spChg>
        <pc:spChg chg="mod topLvl">
          <ac:chgData name="Aurelien Domont" userId="6da7715ce44349b3" providerId="LiveId" clId="{AFF9B0D5-CA7D-40FB-964A-23276295459E}" dt="2021-07-06T04:50:43.896" v="6426" actId="165"/>
          <ac:spMkLst>
            <pc:docMk/>
            <pc:sldMk cId="3379055426" sldId="2192"/>
            <ac:spMk id="167" creationId="{52057368-38F5-4FC7-89D7-71864828E198}"/>
          </ac:spMkLst>
        </pc:spChg>
        <pc:spChg chg="mod topLvl">
          <ac:chgData name="Aurelien Domont" userId="6da7715ce44349b3" providerId="LiveId" clId="{AFF9B0D5-CA7D-40FB-964A-23276295459E}" dt="2021-07-06T04:50:43.896" v="6426" actId="165"/>
          <ac:spMkLst>
            <pc:docMk/>
            <pc:sldMk cId="3379055426" sldId="2192"/>
            <ac:spMk id="168" creationId="{99762878-AFAD-4D28-9244-65AC64A29FAB}"/>
          </ac:spMkLst>
        </pc:spChg>
        <pc:spChg chg="mod topLvl">
          <ac:chgData name="Aurelien Domont" userId="6da7715ce44349b3" providerId="LiveId" clId="{AFF9B0D5-CA7D-40FB-964A-23276295459E}" dt="2021-07-06T04:50:43.896" v="6426" actId="165"/>
          <ac:spMkLst>
            <pc:docMk/>
            <pc:sldMk cId="3379055426" sldId="2192"/>
            <ac:spMk id="169" creationId="{C6E0C370-1AE7-4B71-B582-54390B3E9756}"/>
          </ac:spMkLst>
        </pc:spChg>
        <pc:spChg chg="mod topLvl">
          <ac:chgData name="Aurelien Domont" userId="6da7715ce44349b3" providerId="LiveId" clId="{AFF9B0D5-CA7D-40FB-964A-23276295459E}" dt="2021-07-06T04:50:43.896" v="6426" actId="165"/>
          <ac:spMkLst>
            <pc:docMk/>
            <pc:sldMk cId="3379055426" sldId="2192"/>
            <ac:spMk id="170" creationId="{89396123-E9E1-41A2-9494-24C475D336FD}"/>
          </ac:spMkLst>
        </pc:spChg>
        <pc:spChg chg="mod topLvl">
          <ac:chgData name="Aurelien Domont" userId="6da7715ce44349b3" providerId="LiveId" clId="{AFF9B0D5-CA7D-40FB-964A-23276295459E}" dt="2021-07-06T04:50:43.896" v="6426" actId="165"/>
          <ac:spMkLst>
            <pc:docMk/>
            <pc:sldMk cId="3379055426" sldId="2192"/>
            <ac:spMk id="171" creationId="{823194CC-6111-4944-B231-CB5B35E28962}"/>
          </ac:spMkLst>
        </pc:spChg>
        <pc:spChg chg="mod topLvl">
          <ac:chgData name="Aurelien Domont" userId="6da7715ce44349b3" providerId="LiveId" clId="{AFF9B0D5-CA7D-40FB-964A-23276295459E}" dt="2021-07-06T04:50:43.896" v="6426" actId="165"/>
          <ac:spMkLst>
            <pc:docMk/>
            <pc:sldMk cId="3379055426" sldId="2192"/>
            <ac:spMk id="172" creationId="{4D754B61-CAB2-4876-AD55-A97070A02FF7}"/>
          </ac:spMkLst>
        </pc:spChg>
        <pc:spChg chg="mod topLvl">
          <ac:chgData name="Aurelien Domont" userId="6da7715ce44349b3" providerId="LiveId" clId="{AFF9B0D5-CA7D-40FB-964A-23276295459E}" dt="2021-07-06T04:50:43.896" v="6426" actId="165"/>
          <ac:spMkLst>
            <pc:docMk/>
            <pc:sldMk cId="3379055426" sldId="2192"/>
            <ac:spMk id="173" creationId="{92A6D021-607D-4A3A-9541-A61366B44512}"/>
          </ac:spMkLst>
        </pc:spChg>
        <pc:spChg chg="mod topLvl">
          <ac:chgData name="Aurelien Domont" userId="6da7715ce44349b3" providerId="LiveId" clId="{AFF9B0D5-CA7D-40FB-964A-23276295459E}" dt="2021-07-06T04:50:43.896" v="6426" actId="165"/>
          <ac:spMkLst>
            <pc:docMk/>
            <pc:sldMk cId="3379055426" sldId="2192"/>
            <ac:spMk id="174" creationId="{7CC84701-7558-4313-BB29-B13B7F846F11}"/>
          </ac:spMkLst>
        </pc:spChg>
        <pc:spChg chg="mod topLvl">
          <ac:chgData name="Aurelien Domont" userId="6da7715ce44349b3" providerId="LiveId" clId="{AFF9B0D5-CA7D-40FB-964A-23276295459E}" dt="2021-07-06T04:50:43.896" v="6426" actId="165"/>
          <ac:spMkLst>
            <pc:docMk/>
            <pc:sldMk cId="3379055426" sldId="2192"/>
            <ac:spMk id="175" creationId="{03B4CC72-2489-41BE-A1DA-877AE3EA9DF3}"/>
          </ac:spMkLst>
        </pc:spChg>
        <pc:spChg chg="mod topLvl">
          <ac:chgData name="Aurelien Domont" userId="6da7715ce44349b3" providerId="LiveId" clId="{AFF9B0D5-CA7D-40FB-964A-23276295459E}" dt="2021-07-06T04:50:43.896" v="6426" actId="165"/>
          <ac:spMkLst>
            <pc:docMk/>
            <pc:sldMk cId="3379055426" sldId="2192"/>
            <ac:spMk id="176" creationId="{47D6B5AF-3BB1-4F40-80A3-E718FFB2BBF9}"/>
          </ac:spMkLst>
        </pc:spChg>
        <pc:spChg chg="mod topLvl">
          <ac:chgData name="Aurelien Domont" userId="6da7715ce44349b3" providerId="LiveId" clId="{AFF9B0D5-CA7D-40FB-964A-23276295459E}" dt="2021-07-06T04:50:43.896" v="6426" actId="165"/>
          <ac:spMkLst>
            <pc:docMk/>
            <pc:sldMk cId="3379055426" sldId="2192"/>
            <ac:spMk id="177" creationId="{4DCF5414-4CBF-45A5-B95E-85CED01A12B7}"/>
          </ac:spMkLst>
        </pc:spChg>
        <pc:spChg chg="mod topLvl">
          <ac:chgData name="Aurelien Domont" userId="6da7715ce44349b3" providerId="LiveId" clId="{AFF9B0D5-CA7D-40FB-964A-23276295459E}" dt="2021-07-06T04:50:43.896" v="6426" actId="165"/>
          <ac:spMkLst>
            <pc:docMk/>
            <pc:sldMk cId="3379055426" sldId="2192"/>
            <ac:spMk id="178" creationId="{2678A3CD-131E-4EDF-A30A-53317901811B}"/>
          </ac:spMkLst>
        </pc:spChg>
        <pc:spChg chg="mod topLvl">
          <ac:chgData name="Aurelien Domont" userId="6da7715ce44349b3" providerId="LiveId" clId="{AFF9B0D5-CA7D-40FB-964A-23276295459E}" dt="2021-07-06T04:50:43.896" v="6426" actId="165"/>
          <ac:spMkLst>
            <pc:docMk/>
            <pc:sldMk cId="3379055426" sldId="2192"/>
            <ac:spMk id="179" creationId="{46610A0A-B8CE-41D9-91CC-A7B06C419CAF}"/>
          </ac:spMkLst>
        </pc:spChg>
        <pc:spChg chg="mod topLvl">
          <ac:chgData name="Aurelien Domont" userId="6da7715ce44349b3" providerId="LiveId" clId="{AFF9B0D5-CA7D-40FB-964A-23276295459E}" dt="2021-07-06T04:50:43.896" v="6426" actId="165"/>
          <ac:spMkLst>
            <pc:docMk/>
            <pc:sldMk cId="3379055426" sldId="2192"/>
            <ac:spMk id="180" creationId="{808EFAEC-EFEE-465B-9F07-B3397A83BC3D}"/>
          </ac:spMkLst>
        </pc:spChg>
        <pc:spChg chg="mod topLvl">
          <ac:chgData name="Aurelien Domont" userId="6da7715ce44349b3" providerId="LiveId" clId="{AFF9B0D5-CA7D-40FB-964A-23276295459E}" dt="2021-07-06T04:50:43.896" v="6426" actId="165"/>
          <ac:spMkLst>
            <pc:docMk/>
            <pc:sldMk cId="3379055426" sldId="2192"/>
            <ac:spMk id="181" creationId="{B0EA3EF7-DB1A-48F5-8310-A1017DB54E6F}"/>
          </ac:spMkLst>
        </pc:spChg>
        <pc:spChg chg="mod topLvl">
          <ac:chgData name="Aurelien Domont" userId="6da7715ce44349b3" providerId="LiveId" clId="{AFF9B0D5-CA7D-40FB-964A-23276295459E}" dt="2021-07-06T04:50:43.896" v="6426" actId="165"/>
          <ac:spMkLst>
            <pc:docMk/>
            <pc:sldMk cId="3379055426" sldId="2192"/>
            <ac:spMk id="182" creationId="{16651324-4218-4C8D-848C-EC8DDB563767}"/>
          </ac:spMkLst>
        </pc:spChg>
        <pc:spChg chg="mod topLvl">
          <ac:chgData name="Aurelien Domont" userId="6da7715ce44349b3" providerId="LiveId" clId="{AFF9B0D5-CA7D-40FB-964A-23276295459E}" dt="2021-07-06T04:50:43.896" v="6426" actId="165"/>
          <ac:spMkLst>
            <pc:docMk/>
            <pc:sldMk cId="3379055426" sldId="2192"/>
            <ac:spMk id="183" creationId="{2D1C61DB-DB9D-4FCD-A59D-5698A6522902}"/>
          </ac:spMkLst>
        </pc:spChg>
        <pc:spChg chg="mod topLvl">
          <ac:chgData name="Aurelien Domont" userId="6da7715ce44349b3" providerId="LiveId" clId="{AFF9B0D5-CA7D-40FB-964A-23276295459E}" dt="2021-07-06T04:50:43.896" v="6426" actId="165"/>
          <ac:spMkLst>
            <pc:docMk/>
            <pc:sldMk cId="3379055426" sldId="2192"/>
            <ac:spMk id="184" creationId="{72B0C558-0604-4F2E-8F50-BDE457973D38}"/>
          </ac:spMkLst>
        </pc:spChg>
        <pc:spChg chg="mod topLvl">
          <ac:chgData name="Aurelien Domont" userId="6da7715ce44349b3" providerId="LiveId" clId="{AFF9B0D5-CA7D-40FB-964A-23276295459E}" dt="2021-07-06T04:50:43.896" v="6426" actId="165"/>
          <ac:spMkLst>
            <pc:docMk/>
            <pc:sldMk cId="3379055426" sldId="2192"/>
            <ac:spMk id="185" creationId="{D5A1BFFB-B8FB-4800-BC3D-EE46E81A5431}"/>
          </ac:spMkLst>
        </pc:spChg>
        <pc:spChg chg="mod topLvl">
          <ac:chgData name="Aurelien Domont" userId="6da7715ce44349b3" providerId="LiveId" clId="{AFF9B0D5-CA7D-40FB-964A-23276295459E}" dt="2021-07-06T04:50:43.896" v="6426" actId="165"/>
          <ac:spMkLst>
            <pc:docMk/>
            <pc:sldMk cId="3379055426" sldId="2192"/>
            <ac:spMk id="186" creationId="{27671FE5-EDAE-4670-BEF7-A720F30F3665}"/>
          </ac:spMkLst>
        </pc:spChg>
        <pc:spChg chg="mod topLvl">
          <ac:chgData name="Aurelien Domont" userId="6da7715ce44349b3" providerId="LiveId" clId="{AFF9B0D5-CA7D-40FB-964A-23276295459E}" dt="2021-07-06T04:50:43.896" v="6426" actId="165"/>
          <ac:spMkLst>
            <pc:docMk/>
            <pc:sldMk cId="3379055426" sldId="2192"/>
            <ac:spMk id="187" creationId="{27C7BAE0-2998-41E2-ADC9-71D60AE6372D}"/>
          </ac:spMkLst>
        </pc:spChg>
        <pc:spChg chg="mod topLvl">
          <ac:chgData name="Aurelien Domont" userId="6da7715ce44349b3" providerId="LiveId" clId="{AFF9B0D5-CA7D-40FB-964A-23276295459E}" dt="2021-07-06T04:50:43.896" v="6426" actId="165"/>
          <ac:spMkLst>
            <pc:docMk/>
            <pc:sldMk cId="3379055426" sldId="2192"/>
            <ac:spMk id="188" creationId="{3800CFC3-6C5F-4327-98F1-E4477F94260D}"/>
          </ac:spMkLst>
        </pc:spChg>
        <pc:spChg chg="mod topLvl">
          <ac:chgData name="Aurelien Domont" userId="6da7715ce44349b3" providerId="LiveId" clId="{AFF9B0D5-CA7D-40FB-964A-23276295459E}" dt="2021-07-06T04:50:43.896" v="6426" actId="165"/>
          <ac:spMkLst>
            <pc:docMk/>
            <pc:sldMk cId="3379055426" sldId="2192"/>
            <ac:spMk id="189" creationId="{BD3D661E-CE23-4A3A-862C-A4530123CB0A}"/>
          </ac:spMkLst>
        </pc:spChg>
        <pc:spChg chg="mod topLvl">
          <ac:chgData name="Aurelien Domont" userId="6da7715ce44349b3" providerId="LiveId" clId="{AFF9B0D5-CA7D-40FB-964A-23276295459E}" dt="2021-07-06T04:50:43.896" v="6426" actId="165"/>
          <ac:spMkLst>
            <pc:docMk/>
            <pc:sldMk cId="3379055426" sldId="2192"/>
            <ac:spMk id="190" creationId="{1BF0723C-6F69-4D40-B7B3-E15B38FA66D9}"/>
          </ac:spMkLst>
        </pc:spChg>
        <pc:spChg chg="mod topLvl">
          <ac:chgData name="Aurelien Domont" userId="6da7715ce44349b3" providerId="LiveId" clId="{AFF9B0D5-CA7D-40FB-964A-23276295459E}" dt="2021-07-06T04:50:43.896" v="6426" actId="165"/>
          <ac:spMkLst>
            <pc:docMk/>
            <pc:sldMk cId="3379055426" sldId="2192"/>
            <ac:spMk id="191" creationId="{21AE6CAF-9A47-4EE1-A1D6-3C8CED98D246}"/>
          </ac:spMkLst>
        </pc:spChg>
        <pc:spChg chg="mod topLvl">
          <ac:chgData name="Aurelien Domont" userId="6da7715ce44349b3" providerId="LiveId" clId="{AFF9B0D5-CA7D-40FB-964A-23276295459E}" dt="2021-07-06T04:50:43.896" v="6426" actId="165"/>
          <ac:spMkLst>
            <pc:docMk/>
            <pc:sldMk cId="3379055426" sldId="2192"/>
            <ac:spMk id="192" creationId="{2373E3CE-B579-453F-89B1-B7E1CF0C0EB6}"/>
          </ac:spMkLst>
        </pc:spChg>
        <pc:spChg chg="mod topLvl">
          <ac:chgData name="Aurelien Domont" userId="6da7715ce44349b3" providerId="LiveId" clId="{AFF9B0D5-CA7D-40FB-964A-23276295459E}" dt="2021-07-06T04:50:43.896" v="6426" actId="165"/>
          <ac:spMkLst>
            <pc:docMk/>
            <pc:sldMk cId="3379055426" sldId="2192"/>
            <ac:spMk id="193" creationId="{E0AE16BE-90F8-40E4-A739-7DAF8EA978B2}"/>
          </ac:spMkLst>
        </pc:spChg>
        <pc:spChg chg="mod topLvl">
          <ac:chgData name="Aurelien Domont" userId="6da7715ce44349b3" providerId="LiveId" clId="{AFF9B0D5-CA7D-40FB-964A-23276295459E}" dt="2021-07-06T04:50:43.896" v="6426" actId="165"/>
          <ac:spMkLst>
            <pc:docMk/>
            <pc:sldMk cId="3379055426" sldId="2192"/>
            <ac:spMk id="194" creationId="{3E230726-7D04-48F3-A135-4F04E3E248FA}"/>
          </ac:spMkLst>
        </pc:spChg>
        <pc:spChg chg="mod topLvl">
          <ac:chgData name="Aurelien Domont" userId="6da7715ce44349b3" providerId="LiveId" clId="{AFF9B0D5-CA7D-40FB-964A-23276295459E}" dt="2021-07-06T04:50:43.896" v="6426" actId="165"/>
          <ac:spMkLst>
            <pc:docMk/>
            <pc:sldMk cId="3379055426" sldId="2192"/>
            <ac:spMk id="195" creationId="{E435410C-3B5C-4565-9E8D-60834A321263}"/>
          </ac:spMkLst>
        </pc:spChg>
        <pc:spChg chg="mod topLvl">
          <ac:chgData name="Aurelien Domont" userId="6da7715ce44349b3" providerId="LiveId" clId="{AFF9B0D5-CA7D-40FB-964A-23276295459E}" dt="2021-07-06T04:50:43.896" v="6426" actId="165"/>
          <ac:spMkLst>
            <pc:docMk/>
            <pc:sldMk cId="3379055426" sldId="2192"/>
            <ac:spMk id="196" creationId="{46F36E87-E302-412F-BB37-08F349D2161D}"/>
          </ac:spMkLst>
        </pc:spChg>
        <pc:spChg chg="mod topLvl">
          <ac:chgData name="Aurelien Domont" userId="6da7715ce44349b3" providerId="LiveId" clId="{AFF9B0D5-CA7D-40FB-964A-23276295459E}" dt="2021-07-06T04:50:43.896" v="6426" actId="165"/>
          <ac:spMkLst>
            <pc:docMk/>
            <pc:sldMk cId="3379055426" sldId="2192"/>
            <ac:spMk id="197" creationId="{C7ACEAE5-152B-49D2-8F07-FFD86767A0FB}"/>
          </ac:spMkLst>
        </pc:spChg>
        <pc:spChg chg="mod topLvl">
          <ac:chgData name="Aurelien Domont" userId="6da7715ce44349b3" providerId="LiveId" clId="{AFF9B0D5-CA7D-40FB-964A-23276295459E}" dt="2021-07-06T04:50:43.896" v="6426" actId="165"/>
          <ac:spMkLst>
            <pc:docMk/>
            <pc:sldMk cId="3379055426" sldId="2192"/>
            <ac:spMk id="198" creationId="{7104C839-48BF-4BA4-BF53-6AFD43BAED39}"/>
          </ac:spMkLst>
        </pc:spChg>
        <pc:spChg chg="mod topLvl">
          <ac:chgData name="Aurelien Domont" userId="6da7715ce44349b3" providerId="LiveId" clId="{AFF9B0D5-CA7D-40FB-964A-23276295459E}" dt="2021-07-06T04:50:43.896" v="6426" actId="165"/>
          <ac:spMkLst>
            <pc:docMk/>
            <pc:sldMk cId="3379055426" sldId="2192"/>
            <ac:spMk id="199" creationId="{0A27973E-F093-4443-948D-6F5E0135F593}"/>
          </ac:spMkLst>
        </pc:spChg>
        <pc:spChg chg="mod topLvl">
          <ac:chgData name="Aurelien Domont" userId="6da7715ce44349b3" providerId="LiveId" clId="{AFF9B0D5-CA7D-40FB-964A-23276295459E}" dt="2021-07-06T04:50:43.896" v="6426" actId="165"/>
          <ac:spMkLst>
            <pc:docMk/>
            <pc:sldMk cId="3379055426" sldId="2192"/>
            <ac:spMk id="200" creationId="{0C367E29-D0D4-4244-8139-3B655EF87F12}"/>
          </ac:spMkLst>
        </pc:spChg>
        <pc:spChg chg="mod topLvl">
          <ac:chgData name="Aurelien Domont" userId="6da7715ce44349b3" providerId="LiveId" clId="{AFF9B0D5-CA7D-40FB-964A-23276295459E}" dt="2021-07-06T04:50:43.896" v="6426" actId="165"/>
          <ac:spMkLst>
            <pc:docMk/>
            <pc:sldMk cId="3379055426" sldId="2192"/>
            <ac:spMk id="201" creationId="{1726BD3E-877B-4098-9E8D-71732ED9C71C}"/>
          </ac:spMkLst>
        </pc:spChg>
        <pc:spChg chg="mod topLvl">
          <ac:chgData name="Aurelien Domont" userId="6da7715ce44349b3" providerId="LiveId" clId="{AFF9B0D5-CA7D-40FB-964A-23276295459E}" dt="2021-07-06T04:50:43.896" v="6426" actId="165"/>
          <ac:spMkLst>
            <pc:docMk/>
            <pc:sldMk cId="3379055426" sldId="2192"/>
            <ac:spMk id="202" creationId="{417DE7D5-87EB-4446-90B6-E380A5B3F9E1}"/>
          </ac:spMkLst>
        </pc:spChg>
        <pc:spChg chg="mod topLvl">
          <ac:chgData name="Aurelien Domont" userId="6da7715ce44349b3" providerId="LiveId" clId="{AFF9B0D5-CA7D-40FB-964A-23276295459E}" dt="2021-07-06T04:50:43.896" v="6426" actId="165"/>
          <ac:spMkLst>
            <pc:docMk/>
            <pc:sldMk cId="3379055426" sldId="2192"/>
            <ac:spMk id="203" creationId="{F8234C4E-1277-4509-A12C-171C20B61378}"/>
          </ac:spMkLst>
        </pc:spChg>
        <pc:spChg chg="mod topLvl">
          <ac:chgData name="Aurelien Domont" userId="6da7715ce44349b3" providerId="LiveId" clId="{AFF9B0D5-CA7D-40FB-964A-23276295459E}" dt="2021-07-06T04:50:43.896" v="6426" actId="165"/>
          <ac:spMkLst>
            <pc:docMk/>
            <pc:sldMk cId="3379055426" sldId="2192"/>
            <ac:spMk id="204" creationId="{6CD2DCA3-6635-45E3-BAA3-A827175806C8}"/>
          </ac:spMkLst>
        </pc:spChg>
        <pc:spChg chg="mod topLvl">
          <ac:chgData name="Aurelien Domont" userId="6da7715ce44349b3" providerId="LiveId" clId="{AFF9B0D5-CA7D-40FB-964A-23276295459E}" dt="2021-07-06T04:50:43.896" v="6426" actId="165"/>
          <ac:spMkLst>
            <pc:docMk/>
            <pc:sldMk cId="3379055426" sldId="2192"/>
            <ac:spMk id="205" creationId="{D0EE785C-B516-4A7F-9FD6-932B3B082390}"/>
          </ac:spMkLst>
        </pc:spChg>
        <pc:spChg chg="mod topLvl">
          <ac:chgData name="Aurelien Domont" userId="6da7715ce44349b3" providerId="LiveId" clId="{AFF9B0D5-CA7D-40FB-964A-23276295459E}" dt="2021-07-06T04:50:43.896" v="6426" actId="165"/>
          <ac:spMkLst>
            <pc:docMk/>
            <pc:sldMk cId="3379055426" sldId="2192"/>
            <ac:spMk id="206" creationId="{69F9CB50-A8DF-4971-A970-65EBA0D3708C}"/>
          </ac:spMkLst>
        </pc:spChg>
        <pc:spChg chg="mod topLvl">
          <ac:chgData name="Aurelien Domont" userId="6da7715ce44349b3" providerId="LiveId" clId="{AFF9B0D5-CA7D-40FB-964A-23276295459E}" dt="2021-07-06T04:50:43.896" v="6426" actId="165"/>
          <ac:spMkLst>
            <pc:docMk/>
            <pc:sldMk cId="3379055426" sldId="2192"/>
            <ac:spMk id="207" creationId="{3A5C33E5-CB47-49F3-9703-5FABDAB57EC3}"/>
          </ac:spMkLst>
        </pc:spChg>
        <pc:spChg chg="mod topLvl">
          <ac:chgData name="Aurelien Domont" userId="6da7715ce44349b3" providerId="LiveId" clId="{AFF9B0D5-CA7D-40FB-964A-23276295459E}" dt="2021-07-06T04:50:43.896" v="6426" actId="165"/>
          <ac:spMkLst>
            <pc:docMk/>
            <pc:sldMk cId="3379055426" sldId="2192"/>
            <ac:spMk id="208" creationId="{85E7AF01-E658-4CF9-91AD-AAA4D538385C}"/>
          </ac:spMkLst>
        </pc:spChg>
        <pc:spChg chg="mod topLvl">
          <ac:chgData name="Aurelien Domont" userId="6da7715ce44349b3" providerId="LiveId" clId="{AFF9B0D5-CA7D-40FB-964A-23276295459E}" dt="2021-07-06T04:50:43.896" v="6426" actId="165"/>
          <ac:spMkLst>
            <pc:docMk/>
            <pc:sldMk cId="3379055426" sldId="2192"/>
            <ac:spMk id="209" creationId="{80F74A73-23C5-4D68-9D8A-23DC7F7E918C}"/>
          </ac:spMkLst>
        </pc:spChg>
        <pc:spChg chg="mod topLvl">
          <ac:chgData name="Aurelien Domont" userId="6da7715ce44349b3" providerId="LiveId" clId="{AFF9B0D5-CA7D-40FB-964A-23276295459E}" dt="2021-07-06T04:50:43.896" v="6426" actId="165"/>
          <ac:spMkLst>
            <pc:docMk/>
            <pc:sldMk cId="3379055426" sldId="2192"/>
            <ac:spMk id="210" creationId="{1C34C438-EB6D-4823-B4F5-43F46CB4F136}"/>
          </ac:spMkLst>
        </pc:spChg>
        <pc:spChg chg="mod topLvl">
          <ac:chgData name="Aurelien Domont" userId="6da7715ce44349b3" providerId="LiveId" clId="{AFF9B0D5-CA7D-40FB-964A-23276295459E}" dt="2021-07-06T04:50:43.896" v="6426" actId="165"/>
          <ac:spMkLst>
            <pc:docMk/>
            <pc:sldMk cId="3379055426" sldId="2192"/>
            <ac:spMk id="211" creationId="{62858DE9-8389-40F0-B1B8-BFA176A1109C}"/>
          </ac:spMkLst>
        </pc:spChg>
        <pc:spChg chg="mod topLvl">
          <ac:chgData name="Aurelien Domont" userId="6da7715ce44349b3" providerId="LiveId" clId="{AFF9B0D5-CA7D-40FB-964A-23276295459E}" dt="2021-07-06T04:50:43.896" v="6426" actId="165"/>
          <ac:spMkLst>
            <pc:docMk/>
            <pc:sldMk cId="3379055426" sldId="2192"/>
            <ac:spMk id="212" creationId="{35FA5D01-3B25-4F8D-9A0F-7FFF9F3BE0FB}"/>
          </ac:spMkLst>
        </pc:spChg>
        <pc:spChg chg="mod topLvl">
          <ac:chgData name="Aurelien Domont" userId="6da7715ce44349b3" providerId="LiveId" clId="{AFF9B0D5-CA7D-40FB-964A-23276295459E}" dt="2021-07-06T04:50:43.896" v="6426" actId="165"/>
          <ac:spMkLst>
            <pc:docMk/>
            <pc:sldMk cId="3379055426" sldId="2192"/>
            <ac:spMk id="213" creationId="{F07095F0-5F81-4E87-8152-6FA12EAABAAF}"/>
          </ac:spMkLst>
        </pc:spChg>
        <pc:spChg chg="mod topLvl">
          <ac:chgData name="Aurelien Domont" userId="6da7715ce44349b3" providerId="LiveId" clId="{AFF9B0D5-CA7D-40FB-964A-23276295459E}" dt="2021-07-06T04:50:43.896" v="6426" actId="165"/>
          <ac:spMkLst>
            <pc:docMk/>
            <pc:sldMk cId="3379055426" sldId="2192"/>
            <ac:spMk id="214" creationId="{6D88220E-9BA8-4095-9058-A84188E97F6B}"/>
          </ac:spMkLst>
        </pc:spChg>
        <pc:spChg chg="mod topLvl">
          <ac:chgData name="Aurelien Domont" userId="6da7715ce44349b3" providerId="LiveId" clId="{AFF9B0D5-CA7D-40FB-964A-23276295459E}" dt="2021-07-06T04:50:43.896" v="6426" actId="165"/>
          <ac:spMkLst>
            <pc:docMk/>
            <pc:sldMk cId="3379055426" sldId="2192"/>
            <ac:spMk id="215" creationId="{FA0F2FA6-CE91-4B62-9BA1-78C7638E7621}"/>
          </ac:spMkLst>
        </pc:spChg>
        <pc:spChg chg="mod topLvl">
          <ac:chgData name="Aurelien Domont" userId="6da7715ce44349b3" providerId="LiveId" clId="{AFF9B0D5-CA7D-40FB-964A-23276295459E}" dt="2021-07-06T04:50:43.896" v="6426" actId="165"/>
          <ac:spMkLst>
            <pc:docMk/>
            <pc:sldMk cId="3379055426" sldId="2192"/>
            <ac:spMk id="216" creationId="{02503988-11CB-45E2-8EBE-8DB0875F0A48}"/>
          </ac:spMkLst>
        </pc:spChg>
        <pc:spChg chg="mod topLvl">
          <ac:chgData name="Aurelien Domont" userId="6da7715ce44349b3" providerId="LiveId" clId="{AFF9B0D5-CA7D-40FB-964A-23276295459E}" dt="2021-07-06T04:50:43.896" v="6426" actId="165"/>
          <ac:spMkLst>
            <pc:docMk/>
            <pc:sldMk cId="3379055426" sldId="2192"/>
            <ac:spMk id="217" creationId="{A2D11221-FFDD-40DB-8071-FB96292CF32F}"/>
          </ac:spMkLst>
        </pc:spChg>
        <pc:spChg chg="mod topLvl">
          <ac:chgData name="Aurelien Domont" userId="6da7715ce44349b3" providerId="LiveId" clId="{AFF9B0D5-CA7D-40FB-964A-23276295459E}" dt="2021-07-06T04:50:43.896" v="6426" actId="165"/>
          <ac:spMkLst>
            <pc:docMk/>
            <pc:sldMk cId="3379055426" sldId="2192"/>
            <ac:spMk id="218" creationId="{F89419B7-8002-4A66-8E1F-B15EA2EF54CE}"/>
          </ac:spMkLst>
        </pc:spChg>
        <pc:spChg chg="mod">
          <ac:chgData name="Aurelien Domont" userId="6da7715ce44349b3" providerId="LiveId" clId="{AFF9B0D5-CA7D-40FB-964A-23276295459E}" dt="2021-07-06T04:50:43.896" v="6426" actId="165"/>
          <ac:spMkLst>
            <pc:docMk/>
            <pc:sldMk cId="3379055426" sldId="2192"/>
            <ac:spMk id="219" creationId="{2104C40C-A33D-4E6D-9D98-BC4F83960F51}"/>
          </ac:spMkLst>
        </pc:spChg>
        <pc:spChg chg="mod">
          <ac:chgData name="Aurelien Domont" userId="6da7715ce44349b3" providerId="LiveId" clId="{AFF9B0D5-CA7D-40FB-964A-23276295459E}" dt="2021-07-06T04:50:43.896" v="6426" actId="165"/>
          <ac:spMkLst>
            <pc:docMk/>
            <pc:sldMk cId="3379055426" sldId="2192"/>
            <ac:spMk id="220" creationId="{AE069398-DCB6-4C53-AE55-140B6878653C}"/>
          </ac:spMkLst>
        </pc:spChg>
        <pc:spChg chg="mod">
          <ac:chgData name="Aurelien Domont" userId="6da7715ce44349b3" providerId="LiveId" clId="{AFF9B0D5-CA7D-40FB-964A-23276295459E}" dt="2021-07-06T04:50:43.896" v="6426" actId="165"/>
          <ac:spMkLst>
            <pc:docMk/>
            <pc:sldMk cId="3379055426" sldId="2192"/>
            <ac:spMk id="221" creationId="{EA413C8C-5A81-4A84-9508-42F13C4C0267}"/>
          </ac:spMkLst>
        </pc:spChg>
        <pc:spChg chg="mod">
          <ac:chgData name="Aurelien Domont" userId="6da7715ce44349b3" providerId="LiveId" clId="{AFF9B0D5-CA7D-40FB-964A-23276295459E}" dt="2021-07-06T04:50:43.896" v="6426" actId="165"/>
          <ac:spMkLst>
            <pc:docMk/>
            <pc:sldMk cId="3379055426" sldId="2192"/>
            <ac:spMk id="222" creationId="{6F011FD1-4573-4382-B364-DB6F82607017}"/>
          </ac:spMkLst>
        </pc:spChg>
        <pc:spChg chg="mod">
          <ac:chgData name="Aurelien Domont" userId="6da7715ce44349b3" providerId="LiveId" clId="{AFF9B0D5-CA7D-40FB-964A-23276295459E}" dt="2021-07-06T04:50:43.896" v="6426" actId="165"/>
          <ac:spMkLst>
            <pc:docMk/>
            <pc:sldMk cId="3379055426" sldId="2192"/>
            <ac:spMk id="223" creationId="{B9602CC6-B71E-4ED6-9041-140D27C4E4E3}"/>
          </ac:spMkLst>
        </pc:spChg>
        <pc:spChg chg="mod">
          <ac:chgData name="Aurelien Domont" userId="6da7715ce44349b3" providerId="LiveId" clId="{AFF9B0D5-CA7D-40FB-964A-23276295459E}" dt="2021-07-06T04:50:43.896" v="6426" actId="165"/>
          <ac:spMkLst>
            <pc:docMk/>
            <pc:sldMk cId="3379055426" sldId="2192"/>
            <ac:spMk id="224" creationId="{E713764D-8FD9-4C54-A023-D80F71593A6B}"/>
          </ac:spMkLst>
        </pc:spChg>
        <pc:spChg chg="mod">
          <ac:chgData name="Aurelien Domont" userId="6da7715ce44349b3" providerId="LiveId" clId="{AFF9B0D5-CA7D-40FB-964A-23276295459E}" dt="2021-07-06T04:50:43.896" v="6426" actId="165"/>
          <ac:spMkLst>
            <pc:docMk/>
            <pc:sldMk cId="3379055426" sldId="2192"/>
            <ac:spMk id="225" creationId="{40198528-FAD1-4DF1-BE03-1F5CE0DF5115}"/>
          </ac:spMkLst>
        </pc:spChg>
        <pc:spChg chg="mod">
          <ac:chgData name="Aurelien Domont" userId="6da7715ce44349b3" providerId="LiveId" clId="{AFF9B0D5-CA7D-40FB-964A-23276295459E}" dt="2021-07-06T04:50:43.896" v="6426" actId="165"/>
          <ac:spMkLst>
            <pc:docMk/>
            <pc:sldMk cId="3379055426" sldId="2192"/>
            <ac:spMk id="226" creationId="{FF7CCC2D-2F86-44F8-B589-36D24F6BD3BC}"/>
          </ac:spMkLst>
        </pc:spChg>
        <pc:spChg chg="mod">
          <ac:chgData name="Aurelien Domont" userId="6da7715ce44349b3" providerId="LiveId" clId="{AFF9B0D5-CA7D-40FB-964A-23276295459E}" dt="2021-07-06T04:50:43.896" v="6426" actId="165"/>
          <ac:spMkLst>
            <pc:docMk/>
            <pc:sldMk cId="3379055426" sldId="2192"/>
            <ac:spMk id="227" creationId="{355CCFEB-EFF7-4767-B082-7F25BBEF1865}"/>
          </ac:spMkLst>
        </pc:spChg>
        <pc:spChg chg="mod">
          <ac:chgData name="Aurelien Domont" userId="6da7715ce44349b3" providerId="LiveId" clId="{AFF9B0D5-CA7D-40FB-964A-23276295459E}" dt="2021-07-06T04:50:43.896" v="6426" actId="165"/>
          <ac:spMkLst>
            <pc:docMk/>
            <pc:sldMk cId="3379055426" sldId="2192"/>
            <ac:spMk id="228" creationId="{3FEB8FE2-A508-41DC-AE11-14061B6EABC9}"/>
          </ac:spMkLst>
        </pc:spChg>
        <pc:spChg chg="mod">
          <ac:chgData name="Aurelien Domont" userId="6da7715ce44349b3" providerId="LiveId" clId="{AFF9B0D5-CA7D-40FB-964A-23276295459E}" dt="2021-07-06T04:50:43.896" v="6426" actId="165"/>
          <ac:spMkLst>
            <pc:docMk/>
            <pc:sldMk cId="3379055426" sldId="2192"/>
            <ac:spMk id="229" creationId="{B264EC5D-A47A-48AA-B4C5-9EF7968CDDAF}"/>
          </ac:spMkLst>
        </pc:spChg>
        <pc:spChg chg="mod">
          <ac:chgData name="Aurelien Domont" userId="6da7715ce44349b3" providerId="LiveId" clId="{AFF9B0D5-CA7D-40FB-964A-23276295459E}" dt="2021-07-06T04:50:43.896" v="6426" actId="165"/>
          <ac:spMkLst>
            <pc:docMk/>
            <pc:sldMk cId="3379055426" sldId="2192"/>
            <ac:spMk id="230" creationId="{4F1CECCC-B7AE-4091-99C7-3D8A57509494}"/>
          </ac:spMkLst>
        </pc:spChg>
        <pc:spChg chg="mod">
          <ac:chgData name="Aurelien Domont" userId="6da7715ce44349b3" providerId="LiveId" clId="{AFF9B0D5-CA7D-40FB-964A-23276295459E}" dt="2021-07-06T04:50:43.896" v="6426" actId="165"/>
          <ac:spMkLst>
            <pc:docMk/>
            <pc:sldMk cId="3379055426" sldId="2192"/>
            <ac:spMk id="231" creationId="{9D9F2C61-12B2-4CFC-9F59-A5D246962912}"/>
          </ac:spMkLst>
        </pc:spChg>
        <pc:spChg chg="mod">
          <ac:chgData name="Aurelien Domont" userId="6da7715ce44349b3" providerId="LiveId" clId="{AFF9B0D5-CA7D-40FB-964A-23276295459E}" dt="2021-07-06T04:50:43.896" v="6426" actId="165"/>
          <ac:spMkLst>
            <pc:docMk/>
            <pc:sldMk cId="3379055426" sldId="2192"/>
            <ac:spMk id="232" creationId="{038E4FC5-3825-4C9D-9C75-4359EB4187B2}"/>
          </ac:spMkLst>
        </pc:spChg>
        <pc:spChg chg="mod">
          <ac:chgData name="Aurelien Domont" userId="6da7715ce44349b3" providerId="LiveId" clId="{AFF9B0D5-CA7D-40FB-964A-23276295459E}" dt="2021-07-06T04:50:43.896" v="6426" actId="165"/>
          <ac:spMkLst>
            <pc:docMk/>
            <pc:sldMk cId="3379055426" sldId="2192"/>
            <ac:spMk id="233" creationId="{63489E06-23B3-4FDE-985E-9363B3EC7F8A}"/>
          </ac:spMkLst>
        </pc:spChg>
        <pc:spChg chg="mod">
          <ac:chgData name="Aurelien Domont" userId="6da7715ce44349b3" providerId="LiveId" clId="{AFF9B0D5-CA7D-40FB-964A-23276295459E}" dt="2021-07-06T04:50:43.896" v="6426" actId="165"/>
          <ac:spMkLst>
            <pc:docMk/>
            <pc:sldMk cId="3379055426" sldId="2192"/>
            <ac:spMk id="234" creationId="{79221B8C-59C2-42DB-BF50-6900D8AEB4D8}"/>
          </ac:spMkLst>
        </pc:spChg>
        <pc:spChg chg="mod">
          <ac:chgData name="Aurelien Domont" userId="6da7715ce44349b3" providerId="LiveId" clId="{AFF9B0D5-CA7D-40FB-964A-23276295459E}" dt="2021-07-06T04:50:43.896" v="6426" actId="165"/>
          <ac:spMkLst>
            <pc:docMk/>
            <pc:sldMk cId="3379055426" sldId="2192"/>
            <ac:spMk id="235" creationId="{8A915F83-38FE-40E1-B654-F200BD2669BB}"/>
          </ac:spMkLst>
        </pc:spChg>
        <pc:spChg chg="mod">
          <ac:chgData name="Aurelien Domont" userId="6da7715ce44349b3" providerId="LiveId" clId="{AFF9B0D5-CA7D-40FB-964A-23276295459E}" dt="2021-07-06T04:50:43.896" v="6426" actId="165"/>
          <ac:spMkLst>
            <pc:docMk/>
            <pc:sldMk cId="3379055426" sldId="2192"/>
            <ac:spMk id="236" creationId="{9A5EE1FD-B9F0-4328-8FAD-B440111B9798}"/>
          </ac:spMkLst>
        </pc:spChg>
        <pc:spChg chg="mod">
          <ac:chgData name="Aurelien Domont" userId="6da7715ce44349b3" providerId="LiveId" clId="{AFF9B0D5-CA7D-40FB-964A-23276295459E}" dt="2021-07-06T04:50:43.896" v="6426" actId="165"/>
          <ac:spMkLst>
            <pc:docMk/>
            <pc:sldMk cId="3379055426" sldId="2192"/>
            <ac:spMk id="237" creationId="{B1485E9E-08D1-4969-9994-4C08790CE3A9}"/>
          </ac:spMkLst>
        </pc:spChg>
        <pc:spChg chg="mod">
          <ac:chgData name="Aurelien Domont" userId="6da7715ce44349b3" providerId="LiveId" clId="{AFF9B0D5-CA7D-40FB-964A-23276295459E}" dt="2021-07-06T04:50:43.896" v="6426" actId="165"/>
          <ac:spMkLst>
            <pc:docMk/>
            <pc:sldMk cId="3379055426" sldId="2192"/>
            <ac:spMk id="238" creationId="{F9145D23-22F4-41E3-9E8D-910174B5DBB8}"/>
          </ac:spMkLst>
        </pc:spChg>
        <pc:spChg chg="mod">
          <ac:chgData name="Aurelien Domont" userId="6da7715ce44349b3" providerId="LiveId" clId="{AFF9B0D5-CA7D-40FB-964A-23276295459E}" dt="2021-07-06T04:50:43.896" v="6426" actId="165"/>
          <ac:spMkLst>
            <pc:docMk/>
            <pc:sldMk cId="3379055426" sldId="2192"/>
            <ac:spMk id="239" creationId="{A9742A27-D2E8-4A37-AA55-EB1308A6DA74}"/>
          </ac:spMkLst>
        </pc:spChg>
        <pc:spChg chg="mod">
          <ac:chgData name="Aurelien Domont" userId="6da7715ce44349b3" providerId="LiveId" clId="{AFF9B0D5-CA7D-40FB-964A-23276295459E}" dt="2021-07-06T04:50:43.896" v="6426" actId="165"/>
          <ac:spMkLst>
            <pc:docMk/>
            <pc:sldMk cId="3379055426" sldId="2192"/>
            <ac:spMk id="240" creationId="{A2DC8A6B-373E-4CAF-A535-BF54006E617E}"/>
          </ac:spMkLst>
        </pc:spChg>
        <pc:spChg chg="mod">
          <ac:chgData name="Aurelien Domont" userId="6da7715ce44349b3" providerId="LiveId" clId="{AFF9B0D5-CA7D-40FB-964A-23276295459E}" dt="2021-07-06T04:50:43.896" v="6426" actId="165"/>
          <ac:spMkLst>
            <pc:docMk/>
            <pc:sldMk cId="3379055426" sldId="2192"/>
            <ac:spMk id="241" creationId="{48655EB1-407B-43A0-8829-E858DAE63D9D}"/>
          </ac:spMkLst>
        </pc:spChg>
        <pc:spChg chg="mod">
          <ac:chgData name="Aurelien Domont" userId="6da7715ce44349b3" providerId="LiveId" clId="{AFF9B0D5-CA7D-40FB-964A-23276295459E}" dt="2021-07-06T04:50:43.896" v="6426" actId="165"/>
          <ac:spMkLst>
            <pc:docMk/>
            <pc:sldMk cId="3379055426" sldId="2192"/>
            <ac:spMk id="242" creationId="{B70CA7DC-536C-4452-8F7E-D2876C88E093}"/>
          </ac:spMkLst>
        </pc:spChg>
        <pc:spChg chg="mod">
          <ac:chgData name="Aurelien Domont" userId="6da7715ce44349b3" providerId="LiveId" clId="{AFF9B0D5-CA7D-40FB-964A-23276295459E}" dt="2021-07-06T04:50:43.896" v="6426" actId="165"/>
          <ac:spMkLst>
            <pc:docMk/>
            <pc:sldMk cId="3379055426" sldId="2192"/>
            <ac:spMk id="243" creationId="{9790A531-4D0D-41B6-94DE-DB614334F6D0}"/>
          </ac:spMkLst>
        </pc:spChg>
        <pc:spChg chg="mod">
          <ac:chgData name="Aurelien Domont" userId="6da7715ce44349b3" providerId="LiveId" clId="{AFF9B0D5-CA7D-40FB-964A-23276295459E}" dt="2021-07-06T04:50:43.896" v="6426" actId="165"/>
          <ac:spMkLst>
            <pc:docMk/>
            <pc:sldMk cId="3379055426" sldId="2192"/>
            <ac:spMk id="244" creationId="{98351D31-2037-45FE-AB54-87A5B51FBFDF}"/>
          </ac:spMkLst>
        </pc:spChg>
        <pc:spChg chg="mod">
          <ac:chgData name="Aurelien Domont" userId="6da7715ce44349b3" providerId="LiveId" clId="{AFF9B0D5-CA7D-40FB-964A-23276295459E}" dt="2021-07-06T04:50:43.896" v="6426" actId="165"/>
          <ac:spMkLst>
            <pc:docMk/>
            <pc:sldMk cId="3379055426" sldId="2192"/>
            <ac:spMk id="245" creationId="{8C3D4576-60DD-4805-812B-AA65ED83D9BA}"/>
          </ac:spMkLst>
        </pc:spChg>
        <pc:spChg chg="mod">
          <ac:chgData name="Aurelien Domont" userId="6da7715ce44349b3" providerId="LiveId" clId="{AFF9B0D5-CA7D-40FB-964A-23276295459E}" dt="2021-07-06T04:50:43.896" v="6426" actId="165"/>
          <ac:spMkLst>
            <pc:docMk/>
            <pc:sldMk cId="3379055426" sldId="2192"/>
            <ac:spMk id="246" creationId="{2195CA09-EFC7-4007-A7A7-10C502924E47}"/>
          </ac:spMkLst>
        </pc:spChg>
        <pc:spChg chg="mod">
          <ac:chgData name="Aurelien Domont" userId="6da7715ce44349b3" providerId="LiveId" clId="{AFF9B0D5-CA7D-40FB-964A-23276295459E}" dt="2021-07-06T04:50:43.896" v="6426" actId="165"/>
          <ac:spMkLst>
            <pc:docMk/>
            <pc:sldMk cId="3379055426" sldId="2192"/>
            <ac:spMk id="247" creationId="{07127B3D-D91B-4436-9C4C-CEB05642FF43}"/>
          </ac:spMkLst>
        </pc:spChg>
        <pc:spChg chg="mod">
          <ac:chgData name="Aurelien Domont" userId="6da7715ce44349b3" providerId="LiveId" clId="{AFF9B0D5-CA7D-40FB-964A-23276295459E}" dt="2021-07-06T04:50:43.896" v="6426" actId="165"/>
          <ac:spMkLst>
            <pc:docMk/>
            <pc:sldMk cId="3379055426" sldId="2192"/>
            <ac:spMk id="248" creationId="{C7E65F49-CA35-4C6F-99EF-A86431087C5C}"/>
          </ac:spMkLst>
        </pc:spChg>
        <pc:spChg chg="mod">
          <ac:chgData name="Aurelien Domont" userId="6da7715ce44349b3" providerId="LiveId" clId="{AFF9B0D5-CA7D-40FB-964A-23276295459E}" dt="2021-07-06T04:50:43.896" v="6426" actId="165"/>
          <ac:spMkLst>
            <pc:docMk/>
            <pc:sldMk cId="3379055426" sldId="2192"/>
            <ac:spMk id="249" creationId="{3CF81980-D6F0-499D-B952-0CCA99157FF3}"/>
          </ac:spMkLst>
        </pc:spChg>
        <pc:spChg chg="mod">
          <ac:chgData name="Aurelien Domont" userId="6da7715ce44349b3" providerId="LiveId" clId="{AFF9B0D5-CA7D-40FB-964A-23276295459E}" dt="2021-07-06T04:50:43.896" v="6426" actId="165"/>
          <ac:spMkLst>
            <pc:docMk/>
            <pc:sldMk cId="3379055426" sldId="2192"/>
            <ac:spMk id="250" creationId="{66CF125E-C950-46E1-AEB4-530BE2B6DB79}"/>
          </ac:spMkLst>
        </pc:spChg>
        <pc:spChg chg="mod">
          <ac:chgData name="Aurelien Domont" userId="6da7715ce44349b3" providerId="LiveId" clId="{AFF9B0D5-CA7D-40FB-964A-23276295459E}" dt="2021-07-06T04:50:43.896" v="6426" actId="165"/>
          <ac:spMkLst>
            <pc:docMk/>
            <pc:sldMk cId="3379055426" sldId="2192"/>
            <ac:spMk id="251" creationId="{E83F2309-B010-4B76-8F84-FB31FFAF091C}"/>
          </ac:spMkLst>
        </pc:spChg>
        <pc:spChg chg="mod">
          <ac:chgData name="Aurelien Domont" userId="6da7715ce44349b3" providerId="LiveId" clId="{AFF9B0D5-CA7D-40FB-964A-23276295459E}" dt="2021-07-06T04:50:43.896" v="6426" actId="165"/>
          <ac:spMkLst>
            <pc:docMk/>
            <pc:sldMk cId="3379055426" sldId="2192"/>
            <ac:spMk id="252" creationId="{BD6CF8CB-15A3-4ABD-AA76-432170908F04}"/>
          </ac:spMkLst>
        </pc:spChg>
        <pc:spChg chg="mod">
          <ac:chgData name="Aurelien Domont" userId="6da7715ce44349b3" providerId="LiveId" clId="{AFF9B0D5-CA7D-40FB-964A-23276295459E}" dt="2021-07-06T04:50:43.896" v="6426" actId="165"/>
          <ac:spMkLst>
            <pc:docMk/>
            <pc:sldMk cId="3379055426" sldId="2192"/>
            <ac:spMk id="253" creationId="{16517373-9328-4E32-9357-EDC75FAFB99B}"/>
          </ac:spMkLst>
        </pc:spChg>
        <pc:spChg chg="mod">
          <ac:chgData name="Aurelien Domont" userId="6da7715ce44349b3" providerId="LiveId" clId="{AFF9B0D5-CA7D-40FB-964A-23276295459E}" dt="2021-07-06T04:50:43.896" v="6426" actId="165"/>
          <ac:spMkLst>
            <pc:docMk/>
            <pc:sldMk cId="3379055426" sldId="2192"/>
            <ac:spMk id="254" creationId="{5C6F5702-5102-42BA-987D-E7B0AA7A99F5}"/>
          </ac:spMkLst>
        </pc:spChg>
        <pc:spChg chg="mod">
          <ac:chgData name="Aurelien Domont" userId="6da7715ce44349b3" providerId="LiveId" clId="{AFF9B0D5-CA7D-40FB-964A-23276295459E}" dt="2021-07-06T04:50:43.896" v="6426" actId="165"/>
          <ac:spMkLst>
            <pc:docMk/>
            <pc:sldMk cId="3379055426" sldId="2192"/>
            <ac:spMk id="255" creationId="{1DAAAD97-AE64-4EA0-95F4-DD6481A8F3FB}"/>
          </ac:spMkLst>
        </pc:spChg>
        <pc:spChg chg="mod">
          <ac:chgData name="Aurelien Domont" userId="6da7715ce44349b3" providerId="LiveId" clId="{AFF9B0D5-CA7D-40FB-964A-23276295459E}" dt="2021-07-06T04:50:43.896" v="6426" actId="165"/>
          <ac:spMkLst>
            <pc:docMk/>
            <pc:sldMk cId="3379055426" sldId="2192"/>
            <ac:spMk id="256" creationId="{FD77AEA8-D3B9-4B03-AAC1-D84292DB27F0}"/>
          </ac:spMkLst>
        </pc:spChg>
        <pc:spChg chg="mod">
          <ac:chgData name="Aurelien Domont" userId="6da7715ce44349b3" providerId="LiveId" clId="{AFF9B0D5-CA7D-40FB-964A-23276295459E}" dt="2021-07-06T04:50:43.896" v="6426" actId="165"/>
          <ac:spMkLst>
            <pc:docMk/>
            <pc:sldMk cId="3379055426" sldId="2192"/>
            <ac:spMk id="257" creationId="{C127406E-D506-41FE-A862-08B214DF7054}"/>
          </ac:spMkLst>
        </pc:spChg>
        <pc:spChg chg="mod">
          <ac:chgData name="Aurelien Domont" userId="6da7715ce44349b3" providerId="LiveId" clId="{AFF9B0D5-CA7D-40FB-964A-23276295459E}" dt="2021-07-06T04:50:43.896" v="6426" actId="165"/>
          <ac:spMkLst>
            <pc:docMk/>
            <pc:sldMk cId="3379055426" sldId="2192"/>
            <ac:spMk id="258" creationId="{5DDC51BE-2E59-4C3A-8264-BEC5D35F1086}"/>
          </ac:spMkLst>
        </pc:spChg>
        <pc:spChg chg="mod">
          <ac:chgData name="Aurelien Domont" userId="6da7715ce44349b3" providerId="LiveId" clId="{AFF9B0D5-CA7D-40FB-964A-23276295459E}" dt="2021-07-06T04:50:43.896" v="6426" actId="165"/>
          <ac:spMkLst>
            <pc:docMk/>
            <pc:sldMk cId="3379055426" sldId="2192"/>
            <ac:spMk id="259" creationId="{CA2283F1-72A8-46AB-A13B-BA6216774DA7}"/>
          </ac:spMkLst>
        </pc:spChg>
        <pc:spChg chg="mod">
          <ac:chgData name="Aurelien Domont" userId="6da7715ce44349b3" providerId="LiveId" clId="{AFF9B0D5-CA7D-40FB-964A-23276295459E}" dt="2021-07-06T04:50:43.896" v="6426" actId="165"/>
          <ac:spMkLst>
            <pc:docMk/>
            <pc:sldMk cId="3379055426" sldId="2192"/>
            <ac:spMk id="260" creationId="{19CBF73B-27AF-4FD5-B04C-456C7BBDDE93}"/>
          </ac:spMkLst>
        </pc:spChg>
        <pc:spChg chg="mod">
          <ac:chgData name="Aurelien Domont" userId="6da7715ce44349b3" providerId="LiveId" clId="{AFF9B0D5-CA7D-40FB-964A-23276295459E}" dt="2021-07-06T04:50:43.896" v="6426" actId="165"/>
          <ac:spMkLst>
            <pc:docMk/>
            <pc:sldMk cId="3379055426" sldId="2192"/>
            <ac:spMk id="261" creationId="{CB30A25C-C0BC-40C3-85C7-63C06C8CA694}"/>
          </ac:spMkLst>
        </pc:spChg>
        <pc:spChg chg="mod">
          <ac:chgData name="Aurelien Domont" userId="6da7715ce44349b3" providerId="LiveId" clId="{AFF9B0D5-CA7D-40FB-964A-23276295459E}" dt="2021-07-06T04:50:43.896" v="6426" actId="165"/>
          <ac:spMkLst>
            <pc:docMk/>
            <pc:sldMk cId="3379055426" sldId="2192"/>
            <ac:spMk id="262" creationId="{BB2E7AAB-6375-440E-8852-5A60B21E702E}"/>
          </ac:spMkLst>
        </pc:spChg>
        <pc:spChg chg="mod">
          <ac:chgData name="Aurelien Domont" userId="6da7715ce44349b3" providerId="LiveId" clId="{AFF9B0D5-CA7D-40FB-964A-23276295459E}" dt="2021-07-06T04:50:43.896" v="6426" actId="165"/>
          <ac:spMkLst>
            <pc:docMk/>
            <pc:sldMk cId="3379055426" sldId="2192"/>
            <ac:spMk id="263" creationId="{961625A5-71D7-4650-BA45-0A4B47CD917E}"/>
          </ac:spMkLst>
        </pc:spChg>
        <pc:spChg chg="mod">
          <ac:chgData name="Aurelien Domont" userId="6da7715ce44349b3" providerId="LiveId" clId="{AFF9B0D5-CA7D-40FB-964A-23276295459E}" dt="2021-07-06T04:50:43.896" v="6426" actId="165"/>
          <ac:spMkLst>
            <pc:docMk/>
            <pc:sldMk cId="3379055426" sldId="2192"/>
            <ac:spMk id="264" creationId="{448618C1-00F6-490C-AD92-E80B56FBF251}"/>
          </ac:spMkLst>
        </pc:spChg>
        <pc:spChg chg="mod">
          <ac:chgData name="Aurelien Domont" userId="6da7715ce44349b3" providerId="LiveId" clId="{AFF9B0D5-CA7D-40FB-964A-23276295459E}" dt="2021-07-06T04:50:43.896" v="6426" actId="165"/>
          <ac:spMkLst>
            <pc:docMk/>
            <pc:sldMk cId="3379055426" sldId="2192"/>
            <ac:spMk id="265" creationId="{AE388402-2123-4899-BB6F-5DEB0273117E}"/>
          </ac:spMkLst>
        </pc:spChg>
        <pc:spChg chg="mod">
          <ac:chgData name="Aurelien Domont" userId="6da7715ce44349b3" providerId="LiveId" clId="{AFF9B0D5-CA7D-40FB-964A-23276295459E}" dt="2021-07-06T04:50:43.896" v="6426" actId="165"/>
          <ac:spMkLst>
            <pc:docMk/>
            <pc:sldMk cId="3379055426" sldId="2192"/>
            <ac:spMk id="266" creationId="{CC680189-A550-4858-B692-80EA0F57D67A}"/>
          </ac:spMkLst>
        </pc:spChg>
        <pc:spChg chg="mod">
          <ac:chgData name="Aurelien Domont" userId="6da7715ce44349b3" providerId="LiveId" clId="{AFF9B0D5-CA7D-40FB-964A-23276295459E}" dt="2021-07-06T04:50:43.896" v="6426" actId="165"/>
          <ac:spMkLst>
            <pc:docMk/>
            <pc:sldMk cId="3379055426" sldId="2192"/>
            <ac:spMk id="267" creationId="{BEC58D69-1743-401D-995B-3DABB105C38E}"/>
          </ac:spMkLst>
        </pc:spChg>
        <pc:spChg chg="mod">
          <ac:chgData name="Aurelien Domont" userId="6da7715ce44349b3" providerId="LiveId" clId="{AFF9B0D5-CA7D-40FB-964A-23276295459E}" dt="2021-07-06T04:50:43.896" v="6426" actId="165"/>
          <ac:spMkLst>
            <pc:docMk/>
            <pc:sldMk cId="3379055426" sldId="2192"/>
            <ac:spMk id="268" creationId="{B2308CBA-51DB-4327-8C83-430D1BC9B381}"/>
          </ac:spMkLst>
        </pc:spChg>
        <pc:spChg chg="mod">
          <ac:chgData name="Aurelien Domont" userId="6da7715ce44349b3" providerId="LiveId" clId="{AFF9B0D5-CA7D-40FB-964A-23276295459E}" dt="2021-07-06T04:50:43.896" v="6426" actId="165"/>
          <ac:spMkLst>
            <pc:docMk/>
            <pc:sldMk cId="3379055426" sldId="2192"/>
            <ac:spMk id="269" creationId="{02D02326-76F8-489F-902D-E13229606DF4}"/>
          </ac:spMkLst>
        </pc:spChg>
        <pc:spChg chg="mod">
          <ac:chgData name="Aurelien Domont" userId="6da7715ce44349b3" providerId="LiveId" clId="{AFF9B0D5-CA7D-40FB-964A-23276295459E}" dt="2021-07-06T04:50:43.896" v="6426" actId="165"/>
          <ac:spMkLst>
            <pc:docMk/>
            <pc:sldMk cId="3379055426" sldId="2192"/>
            <ac:spMk id="270" creationId="{82A7A041-2D44-4311-932E-FF002429C68A}"/>
          </ac:spMkLst>
        </pc:spChg>
        <pc:spChg chg="mod">
          <ac:chgData name="Aurelien Domont" userId="6da7715ce44349b3" providerId="LiveId" clId="{AFF9B0D5-CA7D-40FB-964A-23276295459E}" dt="2021-07-06T04:50:43.896" v="6426" actId="165"/>
          <ac:spMkLst>
            <pc:docMk/>
            <pc:sldMk cId="3379055426" sldId="2192"/>
            <ac:spMk id="271" creationId="{B75C87F4-4973-47EC-BF93-3A8A98330813}"/>
          </ac:spMkLst>
        </pc:spChg>
        <pc:spChg chg="mod">
          <ac:chgData name="Aurelien Domont" userId="6da7715ce44349b3" providerId="LiveId" clId="{AFF9B0D5-CA7D-40FB-964A-23276295459E}" dt="2021-07-06T04:50:43.896" v="6426" actId="165"/>
          <ac:spMkLst>
            <pc:docMk/>
            <pc:sldMk cId="3379055426" sldId="2192"/>
            <ac:spMk id="272" creationId="{C9320842-AFED-47CC-94CD-949B95E4D937}"/>
          </ac:spMkLst>
        </pc:spChg>
        <pc:spChg chg="mod">
          <ac:chgData name="Aurelien Domont" userId="6da7715ce44349b3" providerId="LiveId" clId="{AFF9B0D5-CA7D-40FB-964A-23276295459E}" dt="2021-07-06T04:50:43.896" v="6426" actId="165"/>
          <ac:spMkLst>
            <pc:docMk/>
            <pc:sldMk cId="3379055426" sldId="2192"/>
            <ac:spMk id="273" creationId="{ED2EA6C0-2417-4198-9D9D-07017AF226EB}"/>
          </ac:spMkLst>
        </pc:spChg>
        <pc:spChg chg="mod">
          <ac:chgData name="Aurelien Domont" userId="6da7715ce44349b3" providerId="LiveId" clId="{AFF9B0D5-CA7D-40FB-964A-23276295459E}" dt="2021-07-06T04:50:43.896" v="6426" actId="165"/>
          <ac:spMkLst>
            <pc:docMk/>
            <pc:sldMk cId="3379055426" sldId="2192"/>
            <ac:spMk id="274" creationId="{98B7D588-D563-4CB9-B794-36C95C9DD022}"/>
          </ac:spMkLst>
        </pc:spChg>
        <pc:spChg chg="mod">
          <ac:chgData name="Aurelien Domont" userId="6da7715ce44349b3" providerId="LiveId" clId="{AFF9B0D5-CA7D-40FB-964A-23276295459E}" dt="2021-07-06T04:50:43.896" v="6426" actId="165"/>
          <ac:spMkLst>
            <pc:docMk/>
            <pc:sldMk cId="3379055426" sldId="2192"/>
            <ac:spMk id="275" creationId="{BB8E45AA-5429-4C1A-B292-889E0D29C23D}"/>
          </ac:spMkLst>
        </pc:spChg>
        <pc:spChg chg="mod">
          <ac:chgData name="Aurelien Domont" userId="6da7715ce44349b3" providerId="LiveId" clId="{AFF9B0D5-CA7D-40FB-964A-23276295459E}" dt="2021-07-06T04:50:43.896" v="6426" actId="165"/>
          <ac:spMkLst>
            <pc:docMk/>
            <pc:sldMk cId="3379055426" sldId="2192"/>
            <ac:spMk id="276" creationId="{6D62197F-F232-483F-BD40-DE7097ED8BCC}"/>
          </ac:spMkLst>
        </pc:spChg>
        <pc:spChg chg="mod">
          <ac:chgData name="Aurelien Domont" userId="6da7715ce44349b3" providerId="LiveId" clId="{AFF9B0D5-CA7D-40FB-964A-23276295459E}" dt="2021-07-06T04:50:43.896" v="6426" actId="165"/>
          <ac:spMkLst>
            <pc:docMk/>
            <pc:sldMk cId="3379055426" sldId="2192"/>
            <ac:spMk id="277" creationId="{D18B01B6-7A89-49E8-ACED-449071B54FF2}"/>
          </ac:spMkLst>
        </pc:spChg>
        <pc:spChg chg="mod">
          <ac:chgData name="Aurelien Domont" userId="6da7715ce44349b3" providerId="LiveId" clId="{AFF9B0D5-CA7D-40FB-964A-23276295459E}" dt="2021-07-06T04:50:43.896" v="6426" actId="165"/>
          <ac:spMkLst>
            <pc:docMk/>
            <pc:sldMk cId="3379055426" sldId="2192"/>
            <ac:spMk id="278" creationId="{F69E19C1-53F0-4BF5-81BD-52D5EE13A71E}"/>
          </ac:spMkLst>
        </pc:spChg>
        <pc:spChg chg="mod">
          <ac:chgData name="Aurelien Domont" userId="6da7715ce44349b3" providerId="LiveId" clId="{AFF9B0D5-CA7D-40FB-964A-23276295459E}" dt="2021-07-06T04:50:43.896" v="6426" actId="165"/>
          <ac:spMkLst>
            <pc:docMk/>
            <pc:sldMk cId="3379055426" sldId="2192"/>
            <ac:spMk id="279" creationId="{264919A1-9FA5-47E9-AE8B-4EC40CDB2256}"/>
          </ac:spMkLst>
        </pc:spChg>
        <pc:spChg chg="mod">
          <ac:chgData name="Aurelien Domont" userId="6da7715ce44349b3" providerId="LiveId" clId="{AFF9B0D5-CA7D-40FB-964A-23276295459E}" dt="2021-07-06T04:50:43.896" v="6426" actId="165"/>
          <ac:spMkLst>
            <pc:docMk/>
            <pc:sldMk cId="3379055426" sldId="2192"/>
            <ac:spMk id="280" creationId="{E4146AC9-FAA9-4FDA-B045-443AC2FD4ACF}"/>
          </ac:spMkLst>
        </pc:spChg>
        <pc:spChg chg="mod">
          <ac:chgData name="Aurelien Domont" userId="6da7715ce44349b3" providerId="LiveId" clId="{AFF9B0D5-CA7D-40FB-964A-23276295459E}" dt="2021-07-06T04:50:43.896" v="6426" actId="165"/>
          <ac:spMkLst>
            <pc:docMk/>
            <pc:sldMk cId="3379055426" sldId="2192"/>
            <ac:spMk id="281" creationId="{F23081F6-AB2E-4599-AF93-E2918EB05AAA}"/>
          </ac:spMkLst>
        </pc:spChg>
        <pc:spChg chg="mod">
          <ac:chgData name="Aurelien Domont" userId="6da7715ce44349b3" providerId="LiveId" clId="{AFF9B0D5-CA7D-40FB-964A-23276295459E}" dt="2021-07-06T04:50:43.896" v="6426" actId="165"/>
          <ac:spMkLst>
            <pc:docMk/>
            <pc:sldMk cId="3379055426" sldId="2192"/>
            <ac:spMk id="282" creationId="{DE94D9E9-CBB8-44AA-A4E5-8CE0C707EF6C}"/>
          </ac:spMkLst>
        </pc:spChg>
        <pc:spChg chg="mod">
          <ac:chgData name="Aurelien Domont" userId="6da7715ce44349b3" providerId="LiveId" clId="{AFF9B0D5-CA7D-40FB-964A-23276295459E}" dt="2021-07-06T04:50:43.896" v="6426" actId="165"/>
          <ac:spMkLst>
            <pc:docMk/>
            <pc:sldMk cId="3379055426" sldId="2192"/>
            <ac:spMk id="283" creationId="{8B25ABEE-9536-4BE8-94F1-AAD91DBA02D5}"/>
          </ac:spMkLst>
        </pc:spChg>
        <pc:spChg chg="mod">
          <ac:chgData name="Aurelien Domont" userId="6da7715ce44349b3" providerId="LiveId" clId="{AFF9B0D5-CA7D-40FB-964A-23276295459E}" dt="2021-07-06T04:50:43.896" v="6426" actId="165"/>
          <ac:spMkLst>
            <pc:docMk/>
            <pc:sldMk cId="3379055426" sldId="2192"/>
            <ac:spMk id="284" creationId="{1D668561-C8ED-4D80-BF96-03CE41435EEC}"/>
          </ac:spMkLst>
        </pc:spChg>
        <pc:spChg chg="mod">
          <ac:chgData name="Aurelien Domont" userId="6da7715ce44349b3" providerId="LiveId" clId="{AFF9B0D5-CA7D-40FB-964A-23276295459E}" dt="2021-07-06T04:50:43.896" v="6426" actId="165"/>
          <ac:spMkLst>
            <pc:docMk/>
            <pc:sldMk cId="3379055426" sldId="2192"/>
            <ac:spMk id="285" creationId="{98B10F92-DA53-484B-8844-DE36C140D00E}"/>
          </ac:spMkLst>
        </pc:spChg>
        <pc:spChg chg="mod">
          <ac:chgData name="Aurelien Domont" userId="6da7715ce44349b3" providerId="LiveId" clId="{AFF9B0D5-CA7D-40FB-964A-23276295459E}" dt="2021-07-06T04:50:43.896" v="6426" actId="165"/>
          <ac:spMkLst>
            <pc:docMk/>
            <pc:sldMk cId="3379055426" sldId="2192"/>
            <ac:spMk id="286" creationId="{70B179E6-E53C-48F0-874F-640E3D3516FA}"/>
          </ac:spMkLst>
        </pc:spChg>
        <pc:grpChg chg="del">
          <ac:chgData name="Aurelien Domont" userId="6da7715ce44349b3" providerId="LiveId" clId="{AFF9B0D5-CA7D-40FB-964A-23276295459E}" dt="2021-07-06T04:49:26.216" v="6417" actId="478"/>
          <ac:grpSpMkLst>
            <pc:docMk/>
            <pc:sldMk cId="3379055426" sldId="2192"/>
            <ac:grpSpMk id="6" creationId="{33747CCF-50E7-4EB5-9B4D-8E887AE145E7}"/>
          </ac:grpSpMkLst>
        </pc:grpChg>
        <pc:grpChg chg="add del mod">
          <ac:chgData name="Aurelien Domont" userId="6da7715ce44349b3" providerId="LiveId" clId="{AFF9B0D5-CA7D-40FB-964A-23276295459E}" dt="2021-07-06T04:50:43.896" v="6426" actId="165"/>
          <ac:grpSpMkLst>
            <pc:docMk/>
            <pc:sldMk cId="3379055426" sldId="2192"/>
            <ac:grpSpMk id="14" creationId="{EF088785-0CD7-4929-A1FD-6BC2F30A8FAB}"/>
          </ac:grpSpMkLst>
        </pc:grpChg>
        <pc:grpChg chg="mod topLvl">
          <ac:chgData name="Aurelien Domont" userId="6da7715ce44349b3" providerId="LiveId" clId="{AFF9B0D5-CA7D-40FB-964A-23276295459E}" dt="2021-07-06T04:50:43.896" v="6426" actId="165"/>
          <ac:grpSpMkLst>
            <pc:docMk/>
            <pc:sldMk cId="3379055426" sldId="2192"/>
            <ac:grpSpMk id="15" creationId="{9C0E45AE-B2E6-4B14-B298-BE405EA25E84}"/>
          </ac:grpSpMkLst>
        </pc:grpChg>
        <pc:grpChg chg="mod topLvl">
          <ac:chgData name="Aurelien Domont" userId="6da7715ce44349b3" providerId="LiveId" clId="{AFF9B0D5-CA7D-40FB-964A-23276295459E}" dt="2021-07-06T04:50:43.896" v="6426" actId="165"/>
          <ac:grpSpMkLst>
            <pc:docMk/>
            <pc:sldMk cId="3379055426" sldId="2192"/>
            <ac:grpSpMk id="17" creationId="{D7FD3650-AC39-4106-8A94-C39AD36375A5}"/>
          </ac:grpSpMkLst>
        </pc:grpChg>
        <pc:grpChg chg="mod topLvl">
          <ac:chgData name="Aurelien Domont" userId="6da7715ce44349b3" providerId="LiveId" clId="{AFF9B0D5-CA7D-40FB-964A-23276295459E}" dt="2021-07-06T04:50:43.896" v="6426" actId="165"/>
          <ac:grpSpMkLst>
            <pc:docMk/>
            <pc:sldMk cId="3379055426" sldId="2192"/>
            <ac:grpSpMk id="21" creationId="{968782E9-CA2E-480E-8CE1-A8E01F2D48CD}"/>
          </ac:grpSpMkLst>
        </pc:grpChg>
        <pc:grpChg chg="mod topLvl">
          <ac:chgData name="Aurelien Domont" userId="6da7715ce44349b3" providerId="LiveId" clId="{AFF9B0D5-CA7D-40FB-964A-23276295459E}" dt="2021-07-06T04:50:43.896" v="6426" actId="165"/>
          <ac:grpSpMkLst>
            <pc:docMk/>
            <pc:sldMk cId="3379055426" sldId="2192"/>
            <ac:grpSpMk id="28" creationId="{EE95D2F9-12D6-4383-9822-1B3404DCE0BA}"/>
          </ac:grpSpMkLst>
        </pc:grpChg>
        <pc:grpChg chg="mod topLvl">
          <ac:chgData name="Aurelien Domont" userId="6da7715ce44349b3" providerId="LiveId" clId="{AFF9B0D5-CA7D-40FB-964A-23276295459E}" dt="2021-07-06T04:50:43.896" v="6426" actId="165"/>
          <ac:grpSpMkLst>
            <pc:docMk/>
            <pc:sldMk cId="3379055426" sldId="2192"/>
            <ac:grpSpMk id="32" creationId="{C2AA4E4D-F099-4B69-BB71-8D05B53DA0FD}"/>
          </ac:grpSpMkLst>
        </pc:grpChg>
        <pc:grpChg chg="mod topLvl">
          <ac:chgData name="Aurelien Domont" userId="6da7715ce44349b3" providerId="LiveId" clId="{AFF9B0D5-CA7D-40FB-964A-23276295459E}" dt="2021-07-06T04:50:43.896" v="6426" actId="165"/>
          <ac:grpSpMkLst>
            <pc:docMk/>
            <pc:sldMk cId="3379055426" sldId="2192"/>
            <ac:grpSpMk id="36" creationId="{52771FB2-67D6-4FCE-A682-36315160C6EE}"/>
          </ac:grpSpMkLst>
        </pc:grpChg>
        <pc:grpChg chg="mod topLvl">
          <ac:chgData name="Aurelien Domont" userId="6da7715ce44349b3" providerId="LiveId" clId="{AFF9B0D5-CA7D-40FB-964A-23276295459E}" dt="2021-07-06T04:50:43.896" v="6426" actId="165"/>
          <ac:grpSpMkLst>
            <pc:docMk/>
            <pc:sldMk cId="3379055426" sldId="2192"/>
            <ac:grpSpMk id="43" creationId="{0D073FB2-9887-4DC7-9A8E-55301515F760}"/>
          </ac:grpSpMkLst>
        </pc:grpChg>
        <pc:grpChg chg="mod topLvl">
          <ac:chgData name="Aurelien Domont" userId="6da7715ce44349b3" providerId="LiveId" clId="{AFF9B0D5-CA7D-40FB-964A-23276295459E}" dt="2021-07-06T04:50:43.896" v="6426" actId="165"/>
          <ac:grpSpMkLst>
            <pc:docMk/>
            <pc:sldMk cId="3379055426" sldId="2192"/>
            <ac:grpSpMk id="45" creationId="{7C8F2046-8479-458F-BD6E-6311EC3DBB77}"/>
          </ac:grpSpMkLst>
        </pc:grpChg>
        <pc:grpChg chg="mod topLvl">
          <ac:chgData name="Aurelien Domont" userId="6da7715ce44349b3" providerId="LiveId" clId="{AFF9B0D5-CA7D-40FB-964A-23276295459E}" dt="2021-07-06T04:50:43.896" v="6426" actId="165"/>
          <ac:grpSpMkLst>
            <pc:docMk/>
            <pc:sldMk cId="3379055426" sldId="2192"/>
            <ac:grpSpMk id="46" creationId="{C326D45F-63EE-4C85-9BB1-455E811D4BF3}"/>
          </ac:grpSpMkLst>
        </pc:grpChg>
        <pc:grpChg chg="mod topLvl">
          <ac:chgData name="Aurelien Domont" userId="6da7715ce44349b3" providerId="LiveId" clId="{AFF9B0D5-CA7D-40FB-964A-23276295459E}" dt="2021-07-06T04:50:43.896" v="6426" actId="165"/>
          <ac:grpSpMkLst>
            <pc:docMk/>
            <pc:sldMk cId="3379055426" sldId="2192"/>
            <ac:grpSpMk id="61" creationId="{F9192B0A-60BC-458A-A90A-64E6BCF7B168}"/>
          </ac:grpSpMkLst>
        </pc:grpChg>
        <pc:grpChg chg="mod topLvl">
          <ac:chgData name="Aurelien Domont" userId="6da7715ce44349b3" providerId="LiveId" clId="{AFF9B0D5-CA7D-40FB-964A-23276295459E}" dt="2021-07-06T04:50:43.896" v="6426" actId="165"/>
          <ac:grpSpMkLst>
            <pc:docMk/>
            <pc:sldMk cId="3379055426" sldId="2192"/>
            <ac:grpSpMk id="124" creationId="{3F59DADE-E8D8-4B62-87BA-E7852DAF2A4A}"/>
          </ac:grpSpMkLst>
        </pc:grpChg>
        <pc:grpChg chg="mod topLvl">
          <ac:chgData name="Aurelien Domont" userId="6da7715ce44349b3" providerId="LiveId" clId="{AFF9B0D5-CA7D-40FB-964A-23276295459E}" dt="2021-07-06T04:50:43.896" v="6426" actId="165"/>
          <ac:grpSpMkLst>
            <pc:docMk/>
            <pc:sldMk cId="3379055426" sldId="2192"/>
            <ac:grpSpMk id="126" creationId="{695ED9C2-44C8-42C0-98F4-CDFA0A6FAB71}"/>
          </ac:grpSpMkLst>
        </pc:grpChg>
        <pc:grpChg chg="mod topLvl">
          <ac:chgData name="Aurelien Domont" userId="6da7715ce44349b3" providerId="LiveId" clId="{AFF9B0D5-CA7D-40FB-964A-23276295459E}" dt="2021-07-06T04:50:43.896" v="6426" actId="165"/>
          <ac:grpSpMkLst>
            <pc:docMk/>
            <pc:sldMk cId="3379055426" sldId="2192"/>
            <ac:grpSpMk id="128" creationId="{0CE860CB-0ACE-499B-B341-E9BAB83D7E19}"/>
          </ac:grpSpMkLst>
        </pc:grpChg>
        <pc:grpChg chg="mod topLvl">
          <ac:chgData name="Aurelien Domont" userId="6da7715ce44349b3" providerId="LiveId" clId="{AFF9B0D5-CA7D-40FB-964A-23276295459E}" dt="2021-07-06T04:50:43.896" v="6426" actId="165"/>
          <ac:grpSpMkLst>
            <pc:docMk/>
            <pc:sldMk cId="3379055426" sldId="2192"/>
            <ac:grpSpMk id="130" creationId="{C92112EC-D917-45DB-AC30-F792AAB9BB01}"/>
          </ac:grpSpMkLst>
        </pc:grpChg>
        <pc:grpChg chg="mod topLvl">
          <ac:chgData name="Aurelien Domont" userId="6da7715ce44349b3" providerId="LiveId" clId="{AFF9B0D5-CA7D-40FB-964A-23276295459E}" dt="2021-07-06T04:50:43.896" v="6426" actId="165"/>
          <ac:grpSpMkLst>
            <pc:docMk/>
            <pc:sldMk cId="3379055426" sldId="2192"/>
            <ac:grpSpMk id="141" creationId="{BF9644D1-2144-4F03-A2EB-F31C8C23F2B8}"/>
          </ac:grpSpMkLst>
        </pc:grpChg>
        <pc:picChg chg="del">
          <ac:chgData name="Aurelien Domont" userId="6da7715ce44349b3" providerId="LiveId" clId="{AFF9B0D5-CA7D-40FB-964A-23276295459E}" dt="2021-07-06T04:50:02.896" v="6422" actId="478"/>
          <ac:picMkLst>
            <pc:docMk/>
            <pc:sldMk cId="3379055426" sldId="2192"/>
            <ac:picMk id="3" creationId="{15370C7C-145F-4349-AE96-1E50E9582145}"/>
          </ac:picMkLst>
        </pc:picChg>
        <pc:picChg chg="del">
          <ac:chgData name="Aurelien Domont" userId="6da7715ce44349b3" providerId="LiveId" clId="{AFF9B0D5-CA7D-40FB-964A-23276295459E}" dt="2021-07-06T04:50:02.896" v="6422" actId="478"/>
          <ac:picMkLst>
            <pc:docMk/>
            <pc:sldMk cId="3379055426" sldId="2192"/>
            <ac:picMk id="11" creationId="{25D5DDB8-F1BB-4113-A087-0C0A746C7EB2}"/>
          </ac:picMkLst>
        </pc:picChg>
        <pc:picChg chg="del">
          <ac:chgData name="Aurelien Domont" userId="6da7715ce44349b3" providerId="LiveId" clId="{AFF9B0D5-CA7D-40FB-964A-23276295459E}" dt="2021-07-06T04:50:02.896" v="6422" actId="478"/>
          <ac:picMkLst>
            <pc:docMk/>
            <pc:sldMk cId="3379055426" sldId="2192"/>
            <ac:picMk id="19" creationId="{510380BB-04DC-414E-AEA0-0A102EFB8B64}"/>
          </ac:picMkLst>
        </pc:picChg>
        <pc:picChg chg="del">
          <ac:chgData name="Aurelien Domont" userId="6da7715ce44349b3" providerId="LiveId" clId="{AFF9B0D5-CA7D-40FB-964A-23276295459E}" dt="2021-07-06T04:50:02.896" v="6422" actId="478"/>
          <ac:picMkLst>
            <pc:docMk/>
            <pc:sldMk cId="3379055426" sldId="2192"/>
            <ac:picMk id="20" creationId="{6A38595B-0C20-4D15-AA90-C5B669693A38}"/>
          </ac:picMkLst>
        </pc:picChg>
      </pc:sldChg>
      <pc:sldChg chg="addSp delSp modSp add del mod">
        <pc:chgData name="Aurelien Domont" userId="6da7715ce44349b3" providerId="LiveId" clId="{AFF9B0D5-CA7D-40FB-964A-23276295459E}" dt="2021-07-06T05:45:33.756" v="7160" actId="47"/>
        <pc:sldMkLst>
          <pc:docMk/>
          <pc:sldMk cId="2365006287" sldId="2193"/>
        </pc:sldMkLst>
        <pc:spChg chg="add mod">
          <ac:chgData name="Aurelien Domont" userId="6da7715ce44349b3" providerId="LiveId" clId="{AFF9B0D5-CA7D-40FB-964A-23276295459E}" dt="2021-07-06T05:02:39.256" v="6497" actId="1037"/>
          <ac:spMkLst>
            <pc:docMk/>
            <pc:sldMk cId="2365006287" sldId="2193"/>
            <ac:spMk id="2" creationId="{AE798A20-BDA2-4BD7-9090-E20E7CFACF67}"/>
          </ac:spMkLst>
        </pc:spChg>
        <pc:spChg chg="mod">
          <ac:chgData name="Aurelien Domont" userId="6da7715ce44349b3" providerId="LiveId" clId="{AFF9B0D5-CA7D-40FB-964A-23276295459E}" dt="2021-07-06T05:06:50.296" v="6579" actId="20577"/>
          <ac:spMkLst>
            <pc:docMk/>
            <pc:sldMk cId="2365006287" sldId="2193"/>
            <ac:spMk id="16" creationId="{6C2BB713-9637-4B9B-938F-E9768876782A}"/>
          </ac:spMkLst>
        </pc:spChg>
        <pc:spChg chg="mod">
          <ac:chgData name="Aurelien Domont" userId="6da7715ce44349b3" providerId="LiveId" clId="{AFF9B0D5-CA7D-40FB-964A-23276295459E}" dt="2021-07-06T04:55:27.110" v="6436" actId="207"/>
          <ac:spMkLst>
            <pc:docMk/>
            <pc:sldMk cId="2365006287" sldId="2193"/>
            <ac:spMk id="18" creationId="{B771EFD1-480A-49D1-8311-D1631ADDCAE0}"/>
          </ac:spMkLst>
        </pc:spChg>
        <pc:spChg chg="mod">
          <ac:chgData name="Aurelien Domont" userId="6da7715ce44349b3" providerId="LiveId" clId="{AFF9B0D5-CA7D-40FB-964A-23276295459E}" dt="2021-07-06T04:55:27.110" v="6436" actId="207"/>
          <ac:spMkLst>
            <pc:docMk/>
            <pc:sldMk cId="2365006287" sldId="2193"/>
            <ac:spMk id="22" creationId="{65469F66-D281-4ED1-A6A4-53FB0256ADF0}"/>
          </ac:spMkLst>
        </pc:spChg>
        <pc:spChg chg="mod">
          <ac:chgData name="Aurelien Domont" userId="6da7715ce44349b3" providerId="LiveId" clId="{AFF9B0D5-CA7D-40FB-964A-23276295459E}" dt="2021-07-06T04:55:27.110" v="6436" actId="207"/>
          <ac:spMkLst>
            <pc:docMk/>
            <pc:sldMk cId="2365006287" sldId="2193"/>
            <ac:spMk id="23" creationId="{23E57CB2-F110-433B-8E68-828A876E73FC}"/>
          </ac:spMkLst>
        </pc:spChg>
        <pc:spChg chg="mod">
          <ac:chgData name="Aurelien Domont" userId="6da7715ce44349b3" providerId="LiveId" clId="{AFF9B0D5-CA7D-40FB-964A-23276295459E}" dt="2021-07-06T04:55:27.110" v="6436" actId="207"/>
          <ac:spMkLst>
            <pc:docMk/>
            <pc:sldMk cId="2365006287" sldId="2193"/>
            <ac:spMk id="24" creationId="{74E6FD3E-697E-437E-BCCF-D4036C531968}"/>
          </ac:spMkLst>
        </pc:spChg>
        <pc:spChg chg="mod">
          <ac:chgData name="Aurelien Domont" userId="6da7715ce44349b3" providerId="LiveId" clId="{AFF9B0D5-CA7D-40FB-964A-23276295459E}" dt="2021-07-06T04:55:27.110" v="6436" actId="207"/>
          <ac:spMkLst>
            <pc:docMk/>
            <pc:sldMk cId="2365006287" sldId="2193"/>
            <ac:spMk id="25" creationId="{92AABBE3-B444-4BEC-82DD-5644BBA7A771}"/>
          </ac:spMkLst>
        </pc:spChg>
        <pc:spChg chg="mod">
          <ac:chgData name="Aurelien Domont" userId="6da7715ce44349b3" providerId="LiveId" clId="{AFF9B0D5-CA7D-40FB-964A-23276295459E}" dt="2021-07-06T04:55:27.110" v="6436" actId="207"/>
          <ac:spMkLst>
            <pc:docMk/>
            <pc:sldMk cId="2365006287" sldId="2193"/>
            <ac:spMk id="26" creationId="{97B58A29-1D94-499B-8733-3910F9AD6F4A}"/>
          </ac:spMkLst>
        </pc:spChg>
        <pc:spChg chg="mod">
          <ac:chgData name="Aurelien Domont" userId="6da7715ce44349b3" providerId="LiveId" clId="{AFF9B0D5-CA7D-40FB-964A-23276295459E}" dt="2021-07-06T04:55:27.110" v="6436" actId="207"/>
          <ac:spMkLst>
            <pc:docMk/>
            <pc:sldMk cId="2365006287" sldId="2193"/>
            <ac:spMk id="27" creationId="{5D999E87-6D47-44EB-AA80-FAB1044E50B3}"/>
          </ac:spMkLst>
        </pc:spChg>
        <pc:spChg chg="mod">
          <ac:chgData name="Aurelien Domont" userId="6da7715ce44349b3" providerId="LiveId" clId="{AFF9B0D5-CA7D-40FB-964A-23276295459E}" dt="2021-07-06T04:55:27.110" v="6436" actId="207"/>
          <ac:spMkLst>
            <pc:docMk/>
            <pc:sldMk cId="2365006287" sldId="2193"/>
            <ac:spMk id="29" creationId="{3C06A61B-7951-49EC-954F-20BCE045D88C}"/>
          </ac:spMkLst>
        </pc:spChg>
        <pc:spChg chg="mod">
          <ac:chgData name="Aurelien Domont" userId="6da7715ce44349b3" providerId="LiveId" clId="{AFF9B0D5-CA7D-40FB-964A-23276295459E}" dt="2021-07-06T04:55:27.110" v="6436" actId="207"/>
          <ac:spMkLst>
            <pc:docMk/>
            <pc:sldMk cId="2365006287" sldId="2193"/>
            <ac:spMk id="30" creationId="{CEF0D8C1-C31C-434B-AE35-55B3471F9C9D}"/>
          </ac:spMkLst>
        </pc:spChg>
        <pc:spChg chg="mod">
          <ac:chgData name="Aurelien Domont" userId="6da7715ce44349b3" providerId="LiveId" clId="{AFF9B0D5-CA7D-40FB-964A-23276295459E}" dt="2021-07-06T04:55:27.110" v="6436" actId="207"/>
          <ac:spMkLst>
            <pc:docMk/>
            <pc:sldMk cId="2365006287" sldId="2193"/>
            <ac:spMk id="31" creationId="{811A9C04-9509-4F96-B5E1-2683FDB0AA62}"/>
          </ac:spMkLst>
        </pc:spChg>
        <pc:spChg chg="mod">
          <ac:chgData name="Aurelien Domont" userId="6da7715ce44349b3" providerId="LiveId" clId="{AFF9B0D5-CA7D-40FB-964A-23276295459E}" dt="2021-07-06T04:55:27.110" v="6436" actId="207"/>
          <ac:spMkLst>
            <pc:docMk/>
            <pc:sldMk cId="2365006287" sldId="2193"/>
            <ac:spMk id="33" creationId="{7C047B58-FCD5-4D1B-B651-61CF38F9DD85}"/>
          </ac:spMkLst>
        </pc:spChg>
        <pc:spChg chg="mod">
          <ac:chgData name="Aurelien Domont" userId="6da7715ce44349b3" providerId="LiveId" clId="{AFF9B0D5-CA7D-40FB-964A-23276295459E}" dt="2021-07-06T04:55:27.110" v="6436" actId="207"/>
          <ac:spMkLst>
            <pc:docMk/>
            <pc:sldMk cId="2365006287" sldId="2193"/>
            <ac:spMk id="34" creationId="{2E14BF7D-6F99-4D98-A8DA-8EB723F87710}"/>
          </ac:spMkLst>
        </pc:spChg>
        <pc:spChg chg="mod">
          <ac:chgData name="Aurelien Domont" userId="6da7715ce44349b3" providerId="LiveId" clId="{AFF9B0D5-CA7D-40FB-964A-23276295459E}" dt="2021-07-06T04:55:27.110" v="6436" actId="207"/>
          <ac:spMkLst>
            <pc:docMk/>
            <pc:sldMk cId="2365006287" sldId="2193"/>
            <ac:spMk id="35" creationId="{3882020F-C56B-44AB-8637-035FEE81CF3D}"/>
          </ac:spMkLst>
        </pc:spChg>
        <pc:spChg chg="mod">
          <ac:chgData name="Aurelien Domont" userId="6da7715ce44349b3" providerId="LiveId" clId="{AFF9B0D5-CA7D-40FB-964A-23276295459E}" dt="2021-07-06T04:55:27.110" v="6436" actId="207"/>
          <ac:spMkLst>
            <pc:docMk/>
            <pc:sldMk cId="2365006287" sldId="2193"/>
            <ac:spMk id="37" creationId="{BD423BD5-6D69-49BE-A67A-B9649D95191D}"/>
          </ac:spMkLst>
        </pc:spChg>
        <pc:spChg chg="mod">
          <ac:chgData name="Aurelien Domont" userId="6da7715ce44349b3" providerId="LiveId" clId="{AFF9B0D5-CA7D-40FB-964A-23276295459E}" dt="2021-07-06T04:55:27.110" v="6436" actId="207"/>
          <ac:spMkLst>
            <pc:docMk/>
            <pc:sldMk cId="2365006287" sldId="2193"/>
            <ac:spMk id="38" creationId="{E0BF46F7-A9D8-4C09-978A-75A9D4B5E441}"/>
          </ac:spMkLst>
        </pc:spChg>
        <pc:spChg chg="mod">
          <ac:chgData name="Aurelien Domont" userId="6da7715ce44349b3" providerId="LiveId" clId="{AFF9B0D5-CA7D-40FB-964A-23276295459E}" dt="2021-07-06T04:55:27.110" v="6436" actId="207"/>
          <ac:spMkLst>
            <pc:docMk/>
            <pc:sldMk cId="2365006287" sldId="2193"/>
            <ac:spMk id="39" creationId="{0C3749C6-D983-40E9-B6FE-9E314EE56A35}"/>
          </ac:spMkLst>
        </pc:spChg>
        <pc:spChg chg="mod">
          <ac:chgData name="Aurelien Domont" userId="6da7715ce44349b3" providerId="LiveId" clId="{AFF9B0D5-CA7D-40FB-964A-23276295459E}" dt="2021-07-06T04:55:27.110" v="6436" actId="207"/>
          <ac:spMkLst>
            <pc:docMk/>
            <pc:sldMk cId="2365006287" sldId="2193"/>
            <ac:spMk id="40" creationId="{1CE55E94-F6B3-43A5-8C94-74729058DAFB}"/>
          </ac:spMkLst>
        </pc:spChg>
        <pc:spChg chg="mod">
          <ac:chgData name="Aurelien Domont" userId="6da7715ce44349b3" providerId="LiveId" clId="{AFF9B0D5-CA7D-40FB-964A-23276295459E}" dt="2021-07-06T04:55:27.110" v="6436" actId="207"/>
          <ac:spMkLst>
            <pc:docMk/>
            <pc:sldMk cId="2365006287" sldId="2193"/>
            <ac:spMk id="41" creationId="{6EBB98D6-908A-4551-B26F-10C6768274FA}"/>
          </ac:spMkLst>
        </pc:spChg>
        <pc:spChg chg="mod">
          <ac:chgData name="Aurelien Domont" userId="6da7715ce44349b3" providerId="LiveId" clId="{AFF9B0D5-CA7D-40FB-964A-23276295459E}" dt="2021-07-06T04:55:27.110" v="6436" actId="207"/>
          <ac:spMkLst>
            <pc:docMk/>
            <pc:sldMk cId="2365006287" sldId="2193"/>
            <ac:spMk id="42" creationId="{E4CBA9D9-791A-4B6D-A6F5-C58BC1196434}"/>
          </ac:spMkLst>
        </pc:spChg>
        <pc:spChg chg="mod">
          <ac:chgData name="Aurelien Domont" userId="6da7715ce44349b3" providerId="LiveId" clId="{AFF9B0D5-CA7D-40FB-964A-23276295459E}" dt="2021-07-06T04:55:27.110" v="6436" actId="207"/>
          <ac:spMkLst>
            <pc:docMk/>
            <pc:sldMk cId="2365006287" sldId="2193"/>
            <ac:spMk id="44" creationId="{2324D931-C446-4406-A3B2-7EEF109E1330}"/>
          </ac:spMkLst>
        </pc:spChg>
        <pc:spChg chg="mod">
          <ac:chgData name="Aurelien Domont" userId="6da7715ce44349b3" providerId="LiveId" clId="{AFF9B0D5-CA7D-40FB-964A-23276295459E}" dt="2021-07-06T04:55:27.110" v="6436" actId="207"/>
          <ac:spMkLst>
            <pc:docMk/>
            <pc:sldMk cId="2365006287" sldId="2193"/>
            <ac:spMk id="47" creationId="{066BFCAB-9359-47E6-85A9-6446EEE47684}"/>
          </ac:spMkLst>
        </pc:spChg>
        <pc:spChg chg="mod">
          <ac:chgData name="Aurelien Domont" userId="6da7715ce44349b3" providerId="LiveId" clId="{AFF9B0D5-CA7D-40FB-964A-23276295459E}" dt="2021-07-06T04:55:27.110" v="6436" actId="207"/>
          <ac:spMkLst>
            <pc:docMk/>
            <pc:sldMk cId="2365006287" sldId="2193"/>
            <ac:spMk id="48" creationId="{596BEE1A-9790-483E-96EB-CDEEB9ED8E4A}"/>
          </ac:spMkLst>
        </pc:spChg>
        <pc:spChg chg="mod">
          <ac:chgData name="Aurelien Domont" userId="6da7715ce44349b3" providerId="LiveId" clId="{AFF9B0D5-CA7D-40FB-964A-23276295459E}" dt="2021-07-06T04:55:27.110" v="6436" actId="207"/>
          <ac:spMkLst>
            <pc:docMk/>
            <pc:sldMk cId="2365006287" sldId="2193"/>
            <ac:spMk id="49" creationId="{6C51E034-D463-40F4-A6FE-1AD0EECC2E18}"/>
          </ac:spMkLst>
        </pc:spChg>
        <pc:spChg chg="mod">
          <ac:chgData name="Aurelien Domont" userId="6da7715ce44349b3" providerId="LiveId" clId="{AFF9B0D5-CA7D-40FB-964A-23276295459E}" dt="2021-07-06T04:55:27.110" v="6436" actId="207"/>
          <ac:spMkLst>
            <pc:docMk/>
            <pc:sldMk cId="2365006287" sldId="2193"/>
            <ac:spMk id="50" creationId="{4DB629D9-D3D7-42A5-B2E5-376B2910CE6E}"/>
          </ac:spMkLst>
        </pc:spChg>
        <pc:spChg chg="mod">
          <ac:chgData name="Aurelien Domont" userId="6da7715ce44349b3" providerId="LiveId" clId="{AFF9B0D5-CA7D-40FB-964A-23276295459E}" dt="2021-07-06T04:55:27.110" v="6436" actId="207"/>
          <ac:spMkLst>
            <pc:docMk/>
            <pc:sldMk cId="2365006287" sldId="2193"/>
            <ac:spMk id="51" creationId="{0508A820-EDC6-4023-B09A-569DACAA89BC}"/>
          </ac:spMkLst>
        </pc:spChg>
        <pc:spChg chg="mod">
          <ac:chgData name="Aurelien Domont" userId="6da7715ce44349b3" providerId="LiveId" clId="{AFF9B0D5-CA7D-40FB-964A-23276295459E}" dt="2021-07-06T04:55:27.110" v="6436" actId="207"/>
          <ac:spMkLst>
            <pc:docMk/>
            <pc:sldMk cId="2365006287" sldId="2193"/>
            <ac:spMk id="52" creationId="{0598C82B-5B19-4ECD-A9F9-210E620301CE}"/>
          </ac:spMkLst>
        </pc:spChg>
        <pc:spChg chg="mod">
          <ac:chgData name="Aurelien Domont" userId="6da7715ce44349b3" providerId="LiveId" clId="{AFF9B0D5-CA7D-40FB-964A-23276295459E}" dt="2021-07-06T04:55:27.110" v="6436" actId="207"/>
          <ac:spMkLst>
            <pc:docMk/>
            <pc:sldMk cId="2365006287" sldId="2193"/>
            <ac:spMk id="53" creationId="{69AA8412-F4FC-49E9-8098-BA5431F25AEC}"/>
          </ac:spMkLst>
        </pc:spChg>
        <pc:spChg chg="mod">
          <ac:chgData name="Aurelien Domont" userId="6da7715ce44349b3" providerId="LiveId" clId="{AFF9B0D5-CA7D-40FB-964A-23276295459E}" dt="2021-07-06T04:55:27.110" v="6436" actId="207"/>
          <ac:spMkLst>
            <pc:docMk/>
            <pc:sldMk cId="2365006287" sldId="2193"/>
            <ac:spMk id="54" creationId="{FD10D8C9-608D-4706-9C95-87B692F7BC52}"/>
          </ac:spMkLst>
        </pc:spChg>
        <pc:spChg chg="mod">
          <ac:chgData name="Aurelien Domont" userId="6da7715ce44349b3" providerId="LiveId" clId="{AFF9B0D5-CA7D-40FB-964A-23276295459E}" dt="2021-07-06T04:55:27.110" v="6436" actId="207"/>
          <ac:spMkLst>
            <pc:docMk/>
            <pc:sldMk cId="2365006287" sldId="2193"/>
            <ac:spMk id="55" creationId="{F96E8F5D-13F7-4F5F-B0C7-43F495BBE507}"/>
          </ac:spMkLst>
        </pc:spChg>
        <pc:spChg chg="mod">
          <ac:chgData name="Aurelien Domont" userId="6da7715ce44349b3" providerId="LiveId" clId="{AFF9B0D5-CA7D-40FB-964A-23276295459E}" dt="2021-07-06T04:55:27.110" v="6436" actId="207"/>
          <ac:spMkLst>
            <pc:docMk/>
            <pc:sldMk cId="2365006287" sldId="2193"/>
            <ac:spMk id="56" creationId="{1944C13D-7976-4FFF-9C1A-50B916EBC481}"/>
          </ac:spMkLst>
        </pc:spChg>
        <pc:spChg chg="mod">
          <ac:chgData name="Aurelien Domont" userId="6da7715ce44349b3" providerId="LiveId" clId="{AFF9B0D5-CA7D-40FB-964A-23276295459E}" dt="2021-07-06T04:55:27.110" v="6436" actId="207"/>
          <ac:spMkLst>
            <pc:docMk/>
            <pc:sldMk cId="2365006287" sldId="2193"/>
            <ac:spMk id="57" creationId="{596979FA-5547-40C5-9D2D-03C54409A1FB}"/>
          </ac:spMkLst>
        </pc:spChg>
        <pc:spChg chg="mod">
          <ac:chgData name="Aurelien Domont" userId="6da7715ce44349b3" providerId="LiveId" clId="{AFF9B0D5-CA7D-40FB-964A-23276295459E}" dt="2021-07-06T04:55:27.110" v="6436" actId="207"/>
          <ac:spMkLst>
            <pc:docMk/>
            <pc:sldMk cId="2365006287" sldId="2193"/>
            <ac:spMk id="58" creationId="{E2562560-CC9C-4394-9A98-D6C4F0C35DF1}"/>
          </ac:spMkLst>
        </pc:spChg>
        <pc:spChg chg="mod">
          <ac:chgData name="Aurelien Domont" userId="6da7715ce44349b3" providerId="LiveId" clId="{AFF9B0D5-CA7D-40FB-964A-23276295459E}" dt="2021-07-06T04:55:27.110" v="6436" actId="207"/>
          <ac:spMkLst>
            <pc:docMk/>
            <pc:sldMk cId="2365006287" sldId="2193"/>
            <ac:spMk id="59" creationId="{FBF447C9-790F-4E87-A5F0-245B9CBB2C5C}"/>
          </ac:spMkLst>
        </pc:spChg>
        <pc:spChg chg="mod">
          <ac:chgData name="Aurelien Domont" userId="6da7715ce44349b3" providerId="LiveId" clId="{AFF9B0D5-CA7D-40FB-964A-23276295459E}" dt="2021-07-06T04:55:27.110" v="6436" actId="207"/>
          <ac:spMkLst>
            <pc:docMk/>
            <pc:sldMk cId="2365006287" sldId="2193"/>
            <ac:spMk id="60" creationId="{70CE53DD-117C-493D-AD1D-1AB8E2D5511C}"/>
          </ac:spMkLst>
        </pc:spChg>
        <pc:spChg chg="mod">
          <ac:chgData name="Aurelien Domont" userId="6da7715ce44349b3" providerId="LiveId" clId="{AFF9B0D5-CA7D-40FB-964A-23276295459E}" dt="2021-07-06T04:55:27.110" v="6436" actId="207"/>
          <ac:spMkLst>
            <pc:docMk/>
            <pc:sldMk cId="2365006287" sldId="2193"/>
            <ac:spMk id="62" creationId="{4656F7B9-B091-4F59-B888-6DEA15CF287B}"/>
          </ac:spMkLst>
        </pc:spChg>
        <pc:spChg chg="mod">
          <ac:chgData name="Aurelien Domont" userId="6da7715ce44349b3" providerId="LiveId" clId="{AFF9B0D5-CA7D-40FB-964A-23276295459E}" dt="2021-07-06T04:55:27.110" v="6436" actId="207"/>
          <ac:spMkLst>
            <pc:docMk/>
            <pc:sldMk cId="2365006287" sldId="2193"/>
            <ac:spMk id="63" creationId="{F743838F-4369-4298-8BDF-24B1A81D7CC9}"/>
          </ac:spMkLst>
        </pc:spChg>
        <pc:spChg chg="mod">
          <ac:chgData name="Aurelien Domont" userId="6da7715ce44349b3" providerId="LiveId" clId="{AFF9B0D5-CA7D-40FB-964A-23276295459E}" dt="2021-07-06T04:55:27.110" v="6436" actId="207"/>
          <ac:spMkLst>
            <pc:docMk/>
            <pc:sldMk cId="2365006287" sldId="2193"/>
            <ac:spMk id="64" creationId="{84D7C36D-FE20-4E88-8829-94E2EC4CEE79}"/>
          </ac:spMkLst>
        </pc:spChg>
        <pc:spChg chg="mod">
          <ac:chgData name="Aurelien Domont" userId="6da7715ce44349b3" providerId="LiveId" clId="{AFF9B0D5-CA7D-40FB-964A-23276295459E}" dt="2021-07-06T04:55:27.110" v="6436" actId="207"/>
          <ac:spMkLst>
            <pc:docMk/>
            <pc:sldMk cId="2365006287" sldId="2193"/>
            <ac:spMk id="65" creationId="{8AA055DE-5DEA-480F-9D58-EB35AB60A4AF}"/>
          </ac:spMkLst>
        </pc:spChg>
        <pc:spChg chg="mod">
          <ac:chgData name="Aurelien Domont" userId="6da7715ce44349b3" providerId="LiveId" clId="{AFF9B0D5-CA7D-40FB-964A-23276295459E}" dt="2021-07-06T04:55:27.110" v="6436" actId="207"/>
          <ac:spMkLst>
            <pc:docMk/>
            <pc:sldMk cId="2365006287" sldId="2193"/>
            <ac:spMk id="66" creationId="{5B305A7E-46F5-43B2-ACBF-71567A90F965}"/>
          </ac:spMkLst>
        </pc:spChg>
        <pc:spChg chg="mod">
          <ac:chgData name="Aurelien Domont" userId="6da7715ce44349b3" providerId="LiveId" clId="{AFF9B0D5-CA7D-40FB-964A-23276295459E}" dt="2021-07-06T04:55:27.110" v="6436" actId="207"/>
          <ac:spMkLst>
            <pc:docMk/>
            <pc:sldMk cId="2365006287" sldId="2193"/>
            <ac:spMk id="67" creationId="{7455C64C-AFC5-4C29-93D3-4332E1BAEE9C}"/>
          </ac:spMkLst>
        </pc:spChg>
        <pc:spChg chg="mod">
          <ac:chgData name="Aurelien Domont" userId="6da7715ce44349b3" providerId="LiveId" clId="{AFF9B0D5-CA7D-40FB-964A-23276295459E}" dt="2021-07-06T04:55:27.110" v="6436" actId="207"/>
          <ac:spMkLst>
            <pc:docMk/>
            <pc:sldMk cId="2365006287" sldId="2193"/>
            <ac:spMk id="68" creationId="{5E8A23BD-D375-4967-ACA7-E1CCA49242EA}"/>
          </ac:spMkLst>
        </pc:spChg>
        <pc:spChg chg="mod">
          <ac:chgData name="Aurelien Domont" userId="6da7715ce44349b3" providerId="LiveId" clId="{AFF9B0D5-CA7D-40FB-964A-23276295459E}" dt="2021-07-06T04:55:27.110" v="6436" actId="207"/>
          <ac:spMkLst>
            <pc:docMk/>
            <pc:sldMk cId="2365006287" sldId="2193"/>
            <ac:spMk id="69" creationId="{4030F0B9-06DB-4A6A-968B-33EF931731CE}"/>
          </ac:spMkLst>
        </pc:spChg>
        <pc:spChg chg="mod">
          <ac:chgData name="Aurelien Domont" userId="6da7715ce44349b3" providerId="LiveId" clId="{AFF9B0D5-CA7D-40FB-964A-23276295459E}" dt="2021-07-06T04:55:27.110" v="6436" actId="207"/>
          <ac:spMkLst>
            <pc:docMk/>
            <pc:sldMk cId="2365006287" sldId="2193"/>
            <ac:spMk id="70" creationId="{A2C60355-D617-4490-8E3E-1D6F4CB8A214}"/>
          </ac:spMkLst>
        </pc:spChg>
        <pc:spChg chg="mod">
          <ac:chgData name="Aurelien Domont" userId="6da7715ce44349b3" providerId="LiveId" clId="{AFF9B0D5-CA7D-40FB-964A-23276295459E}" dt="2021-07-06T04:55:27.110" v="6436" actId="207"/>
          <ac:spMkLst>
            <pc:docMk/>
            <pc:sldMk cId="2365006287" sldId="2193"/>
            <ac:spMk id="71" creationId="{CA9EB5AA-76BB-4143-A0DE-34A4DC0010AC}"/>
          </ac:spMkLst>
        </pc:spChg>
        <pc:spChg chg="mod">
          <ac:chgData name="Aurelien Domont" userId="6da7715ce44349b3" providerId="LiveId" clId="{AFF9B0D5-CA7D-40FB-964A-23276295459E}" dt="2021-07-06T04:55:27.110" v="6436" actId="207"/>
          <ac:spMkLst>
            <pc:docMk/>
            <pc:sldMk cId="2365006287" sldId="2193"/>
            <ac:spMk id="72" creationId="{966691BF-5126-4A33-8916-C81706F25C90}"/>
          </ac:spMkLst>
        </pc:spChg>
        <pc:spChg chg="mod">
          <ac:chgData name="Aurelien Domont" userId="6da7715ce44349b3" providerId="LiveId" clId="{AFF9B0D5-CA7D-40FB-964A-23276295459E}" dt="2021-07-06T04:55:27.110" v="6436" actId="207"/>
          <ac:spMkLst>
            <pc:docMk/>
            <pc:sldMk cId="2365006287" sldId="2193"/>
            <ac:spMk id="73" creationId="{5390EC5E-7055-4804-84A3-7E70E3904E93}"/>
          </ac:spMkLst>
        </pc:spChg>
        <pc:spChg chg="mod">
          <ac:chgData name="Aurelien Domont" userId="6da7715ce44349b3" providerId="LiveId" clId="{AFF9B0D5-CA7D-40FB-964A-23276295459E}" dt="2021-07-06T04:55:27.110" v="6436" actId="207"/>
          <ac:spMkLst>
            <pc:docMk/>
            <pc:sldMk cId="2365006287" sldId="2193"/>
            <ac:spMk id="74" creationId="{E65D02F2-FDEC-478F-8C7C-EF6B6E889CDF}"/>
          </ac:spMkLst>
        </pc:spChg>
        <pc:spChg chg="mod">
          <ac:chgData name="Aurelien Domont" userId="6da7715ce44349b3" providerId="LiveId" clId="{AFF9B0D5-CA7D-40FB-964A-23276295459E}" dt="2021-07-06T04:55:27.110" v="6436" actId="207"/>
          <ac:spMkLst>
            <pc:docMk/>
            <pc:sldMk cId="2365006287" sldId="2193"/>
            <ac:spMk id="75" creationId="{10C7DD6A-EDF4-4E97-BF30-74BFFFD36441}"/>
          </ac:spMkLst>
        </pc:spChg>
        <pc:spChg chg="mod">
          <ac:chgData name="Aurelien Domont" userId="6da7715ce44349b3" providerId="LiveId" clId="{AFF9B0D5-CA7D-40FB-964A-23276295459E}" dt="2021-07-06T04:55:27.110" v="6436" actId="207"/>
          <ac:spMkLst>
            <pc:docMk/>
            <pc:sldMk cId="2365006287" sldId="2193"/>
            <ac:spMk id="76" creationId="{12F4E801-8132-4F0C-B8DA-A36568ECCC40}"/>
          </ac:spMkLst>
        </pc:spChg>
        <pc:spChg chg="mod">
          <ac:chgData name="Aurelien Domont" userId="6da7715ce44349b3" providerId="LiveId" clId="{AFF9B0D5-CA7D-40FB-964A-23276295459E}" dt="2021-07-06T04:55:27.110" v="6436" actId="207"/>
          <ac:spMkLst>
            <pc:docMk/>
            <pc:sldMk cId="2365006287" sldId="2193"/>
            <ac:spMk id="77" creationId="{C5615F12-CE48-4C91-BA28-3C8B3DDC3F58}"/>
          </ac:spMkLst>
        </pc:spChg>
        <pc:spChg chg="mod">
          <ac:chgData name="Aurelien Domont" userId="6da7715ce44349b3" providerId="LiveId" clId="{AFF9B0D5-CA7D-40FB-964A-23276295459E}" dt="2021-07-06T04:55:27.110" v="6436" actId="207"/>
          <ac:spMkLst>
            <pc:docMk/>
            <pc:sldMk cId="2365006287" sldId="2193"/>
            <ac:spMk id="78" creationId="{22A89C04-5EB4-44E9-A32D-27408ED8CB56}"/>
          </ac:spMkLst>
        </pc:spChg>
        <pc:spChg chg="mod">
          <ac:chgData name="Aurelien Domont" userId="6da7715ce44349b3" providerId="LiveId" clId="{AFF9B0D5-CA7D-40FB-964A-23276295459E}" dt="2021-07-06T04:55:27.110" v="6436" actId="207"/>
          <ac:spMkLst>
            <pc:docMk/>
            <pc:sldMk cId="2365006287" sldId="2193"/>
            <ac:spMk id="79" creationId="{56A025F8-D352-4D26-97E8-71FDE85A31BB}"/>
          </ac:spMkLst>
        </pc:spChg>
        <pc:spChg chg="mod">
          <ac:chgData name="Aurelien Domont" userId="6da7715ce44349b3" providerId="LiveId" clId="{AFF9B0D5-CA7D-40FB-964A-23276295459E}" dt="2021-07-06T04:55:27.110" v="6436" actId="207"/>
          <ac:spMkLst>
            <pc:docMk/>
            <pc:sldMk cId="2365006287" sldId="2193"/>
            <ac:spMk id="80" creationId="{9A3331CC-8CC9-46B2-B479-BF612DE96A49}"/>
          </ac:spMkLst>
        </pc:spChg>
        <pc:spChg chg="mod">
          <ac:chgData name="Aurelien Domont" userId="6da7715ce44349b3" providerId="LiveId" clId="{AFF9B0D5-CA7D-40FB-964A-23276295459E}" dt="2021-07-06T04:55:27.110" v="6436" actId="207"/>
          <ac:spMkLst>
            <pc:docMk/>
            <pc:sldMk cId="2365006287" sldId="2193"/>
            <ac:spMk id="81" creationId="{AE32AB5F-2BE3-4D9C-A624-18BF13205C37}"/>
          </ac:spMkLst>
        </pc:spChg>
        <pc:spChg chg="mod">
          <ac:chgData name="Aurelien Domont" userId="6da7715ce44349b3" providerId="LiveId" clId="{AFF9B0D5-CA7D-40FB-964A-23276295459E}" dt="2021-07-06T04:55:27.110" v="6436" actId="207"/>
          <ac:spMkLst>
            <pc:docMk/>
            <pc:sldMk cId="2365006287" sldId="2193"/>
            <ac:spMk id="82" creationId="{3F3D471F-019C-499B-849A-3C0555B66D7C}"/>
          </ac:spMkLst>
        </pc:spChg>
        <pc:spChg chg="mod">
          <ac:chgData name="Aurelien Domont" userId="6da7715ce44349b3" providerId="LiveId" clId="{AFF9B0D5-CA7D-40FB-964A-23276295459E}" dt="2021-07-06T04:55:27.110" v="6436" actId="207"/>
          <ac:spMkLst>
            <pc:docMk/>
            <pc:sldMk cId="2365006287" sldId="2193"/>
            <ac:spMk id="83" creationId="{89794A8E-92B0-4F14-BCC8-8E09C4E8EB7B}"/>
          </ac:spMkLst>
        </pc:spChg>
        <pc:spChg chg="mod">
          <ac:chgData name="Aurelien Domont" userId="6da7715ce44349b3" providerId="LiveId" clId="{AFF9B0D5-CA7D-40FB-964A-23276295459E}" dt="2021-07-06T04:55:27.110" v="6436" actId="207"/>
          <ac:spMkLst>
            <pc:docMk/>
            <pc:sldMk cId="2365006287" sldId="2193"/>
            <ac:spMk id="84" creationId="{7CD25A7C-1C59-4AF8-8A24-ADDD1091CAA3}"/>
          </ac:spMkLst>
        </pc:spChg>
        <pc:spChg chg="mod">
          <ac:chgData name="Aurelien Domont" userId="6da7715ce44349b3" providerId="LiveId" clId="{AFF9B0D5-CA7D-40FB-964A-23276295459E}" dt="2021-07-06T04:55:27.110" v="6436" actId="207"/>
          <ac:spMkLst>
            <pc:docMk/>
            <pc:sldMk cId="2365006287" sldId="2193"/>
            <ac:spMk id="85" creationId="{C4050E01-DB91-4148-825F-4017F471C329}"/>
          </ac:spMkLst>
        </pc:spChg>
        <pc:spChg chg="mod">
          <ac:chgData name="Aurelien Domont" userId="6da7715ce44349b3" providerId="LiveId" clId="{AFF9B0D5-CA7D-40FB-964A-23276295459E}" dt="2021-07-06T04:55:27.110" v="6436" actId="207"/>
          <ac:spMkLst>
            <pc:docMk/>
            <pc:sldMk cId="2365006287" sldId="2193"/>
            <ac:spMk id="86" creationId="{7EA15ED6-46A5-43A0-B67C-11BDD4BF88EB}"/>
          </ac:spMkLst>
        </pc:spChg>
        <pc:spChg chg="mod">
          <ac:chgData name="Aurelien Domont" userId="6da7715ce44349b3" providerId="LiveId" clId="{AFF9B0D5-CA7D-40FB-964A-23276295459E}" dt="2021-07-06T04:55:27.110" v="6436" actId="207"/>
          <ac:spMkLst>
            <pc:docMk/>
            <pc:sldMk cId="2365006287" sldId="2193"/>
            <ac:spMk id="87" creationId="{FC2D8D47-DCE8-41DC-B4D8-D14FEC5472C2}"/>
          </ac:spMkLst>
        </pc:spChg>
        <pc:spChg chg="mod">
          <ac:chgData name="Aurelien Domont" userId="6da7715ce44349b3" providerId="LiveId" clId="{AFF9B0D5-CA7D-40FB-964A-23276295459E}" dt="2021-07-06T04:55:27.110" v="6436" actId="207"/>
          <ac:spMkLst>
            <pc:docMk/>
            <pc:sldMk cId="2365006287" sldId="2193"/>
            <ac:spMk id="88" creationId="{4C383830-3025-4A26-80CA-D9DD9FFC4366}"/>
          </ac:spMkLst>
        </pc:spChg>
        <pc:spChg chg="mod">
          <ac:chgData name="Aurelien Domont" userId="6da7715ce44349b3" providerId="LiveId" clId="{AFF9B0D5-CA7D-40FB-964A-23276295459E}" dt="2021-07-06T04:55:27.110" v="6436" actId="207"/>
          <ac:spMkLst>
            <pc:docMk/>
            <pc:sldMk cId="2365006287" sldId="2193"/>
            <ac:spMk id="89" creationId="{0A9438A0-9A3F-408D-8570-5955D7D53414}"/>
          </ac:spMkLst>
        </pc:spChg>
        <pc:spChg chg="mod">
          <ac:chgData name="Aurelien Domont" userId="6da7715ce44349b3" providerId="LiveId" clId="{AFF9B0D5-CA7D-40FB-964A-23276295459E}" dt="2021-07-06T04:55:27.110" v="6436" actId="207"/>
          <ac:spMkLst>
            <pc:docMk/>
            <pc:sldMk cId="2365006287" sldId="2193"/>
            <ac:spMk id="90" creationId="{CCF6A828-CC27-43AB-81DC-A5E4A45B8030}"/>
          </ac:spMkLst>
        </pc:spChg>
        <pc:spChg chg="mod">
          <ac:chgData name="Aurelien Domont" userId="6da7715ce44349b3" providerId="LiveId" clId="{AFF9B0D5-CA7D-40FB-964A-23276295459E}" dt="2021-07-06T04:55:27.110" v="6436" actId="207"/>
          <ac:spMkLst>
            <pc:docMk/>
            <pc:sldMk cId="2365006287" sldId="2193"/>
            <ac:spMk id="91" creationId="{EDB86CFC-23D4-4473-B846-3DA806F5108D}"/>
          </ac:spMkLst>
        </pc:spChg>
        <pc:spChg chg="mod">
          <ac:chgData name="Aurelien Domont" userId="6da7715ce44349b3" providerId="LiveId" clId="{AFF9B0D5-CA7D-40FB-964A-23276295459E}" dt="2021-07-06T04:55:27.110" v="6436" actId="207"/>
          <ac:spMkLst>
            <pc:docMk/>
            <pc:sldMk cId="2365006287" sldId="2193"/>
            <ac:spMk id="92" creationId="{9E27841A-5BBF-4869-8CB3-6677215968FD}"/>
          </ac:spMkLst>
        </pc:spChg>
        <pc:spChg chg="mod">
          <ac:chgData name="Aurelien Domont" userId="6da7715ce44349b3" providerId="LiveId" clId="{AFF9B0D5-CA7D-40FB-964A-23276295459E}" dt="2021-07-06T04:55:27.110" v="6436" actId="207"/>
          <ac:spMkLst>
            <pc:docMk/>
            <pc:sldMk cId="2365006287" sldId="2193"/>
            <ac:spMk id="93" creationId="{848846B1-BA0C-4806-B1DC-2FCF6F3B46EF}"/>
          </ac:spMkLst>
        </pc:spChg>
        <pc:spChg chg="mod">
          <ac:chgData name="Aurelien Domont" userId="6da7715ce44349b3" providerId="LiveId" clId="{AFF9B0D5-CA7D-40FB-964A-23276295459E}" dt="2021-07-06T04:55:27.110" v="6436" actId="207"/>
          <ac:spMkLst>
            <pc:docMk/>
            <pc:sldMk cId="2365006287" sldId="2193"/>
            <ac:spMk id="94" creationId="{B32F85AD-308E-4382-B339-9D0E3532E3B1}"/>
          </ac:spMkLst>
        </pc:spChg>
        <pc:spChg chg="mod">
          <ac:chgData name="Aurelien Domont" userId="6da7715ce44349b3" providerId="LiveId" clId="{AFF9B0D5-CA7D-40FB-964A-23276295459E}" dt="2021-07-06T04:55:27.110" v="6436" actId="207"/>
          <ac:spMkLst>
            <pc:docMk/>
            <pc:sldMk cId="2365006287" sldId="2193"/>
            <ac:spMk id="95" creationId="{F081A304-2C8F-4778-8EC0-5DCF78B4211E}"/>
          </ac:spMkLst>
        </pc:spChg>
        <pc:spChg chg="mod">
          <ac:chgData name="Aurelien Domont" userId="6da7715ce44349b3" providerId="LiveId" clId="{AFF9B0D5-CA7D-40FB-964A-23276295459E}" dt="2021-07-06T04:55:27.110" v="6436" actId="207"/>
          <ac:spMkLst>
            <pc:docMk/>
            <pc:sldMk cId="2365006287" sldId="2193"/>
            <ac:spMk id="96" creationId="{5B9E9E35-688A-4E46-AD17-958B53B2A9BD}"/>
          </ac:spMkLst>
        </pc:spChg>
        <pc:spChg chg="mod">
          <ac:chgData name="Aurelien Domont" userId="6da7715ce44349b3" providerId="LiveId" clId="{AFF9B0D5-CA7D-40FB-964A-23276295459E}" dt="2021-07-06T04:55:27.110" v="6436" actId="207"/>
          <ac:spMkLst>
            <pc:docMk/>
            <pc:sldMk cId="2365006287" sldId="2193"/>
            <ac:spMk id="97" creationId="{A76194B1-A38E-4BB8-8B3F-AE4835F7AC4E}"/>
          </ac:spMkLst>
        </pc:spChg>
        <pc:spChg chg="mod">
          <ac:chgData name="Aurelien Domont" userId="6da7715ce44349b3" providerId="LiveId" clId="{AFF9B0D5-CA7D-40FB-964A-23276295459E}" dt="2021-07-06T04:55:27.110" v="6436" actId="207"/>
          <ac:spMkLst>
            <pc:docMk/>
            <pc:sldMk cId="2365006287" sldId="2193"/>
            <ac:spMk id="98" creationId="{55792372-BB82-4ECA-8C77-C82715CC6A14}"/>
          </ac:spMkLst>
        </pc:spChg>
        <pc:spChg chg="mod">
          <ac:chgData name="Aurelien Domont" userId="6da7715ce44349b3" providerId="LiveId" clId="{AFF9B0D5-CA7D-40FB-964A-23276295459E}" dt="2021-07-06T04:55:27.110" v="6436" actId="207"/>
          <ac:spMkLst>
            <pc:docMk/>
            <pc:sldMk cId="2365006287" sldId="2193"/>
            <ac:spMk id="99" creationId="{90896AAA-AEDF-49B2-8503-7CA2DF421D32}"/>
          </ac:spMkLst>
        </pc:spChg>
        <pc:spChg chg="mod">
          <ac:chgData name="Aurelien Domont" userId="6da7715ce44349b3" providerId="LiveId" clId="{AFF9B0D5-CA7D-40FB-964A-23276295459E}" dt="2021-07-06T04:55:27.110" v="6436" actId="207"/>
          <ac:spMkLst>
            <pc:docMk/>
            <pc:sldMk cId="2365006287" sldId="2193"/>
            <ac:spMk id="100" creationId="{4E419948-B362-4317-B94F-EB6EEF93D5F8}"/>
          </ac:spMkLst>
        </pc:spChg>
        <pc:spChg chg="mod">
          <ac:chgData name="Aurelien Domont" userId="6da7715ce44349b3" providerId="LiveId" clId="{AFF9B0D5-CA7D-40FB-964A-23276295459E}" dt="2021-07-06T04:55:27.110" v="6436" actId="207"/>
          <ac:spMkLst>
            <pc:docMk/>
            <pc:sldMk cId="2365006287" sldId="2193"/>
            <ac:spMk id="101" creationId="{F0E0088D-D528-4463-A7EF-0CD7ED8D8194}"/>
          </ac:spMkLst>
        </pc:spChg>
        <pc:spChg chg="mod">
          <ac:chgData name="Aurelien Domont" userId="6da7715ce44349b3" providerId="LiveId" clId="{AFF9B0D5-CA7D-40FB-964A-23276295459E}" dt="2021-07-06T04:55:27.110" v="6436" actId="207"/>
          <ac:spMkLst>
            <pc:docMk/>
            <pc:sldMk cId="2365006287" sldId="2193"/>
            <ac:spMk id="102" creationId="{75C95256-B79D-4118-9B21-A8859DCC2637}"/>
          </ac:spMkLst>
        </pc:spChg>
        <pc:spChg chg="mod">
          <ac:chgData name="Aurelien Domont" userId="6da7715ce44349b3" providerId="LiveId" clId="{AFF9B0D5-CA7D-40FB-964A-23276295459E}" dt="2021-07-06T04:55:27.110" v="6436" actId="207"/>
          <ac:spMkLst>
            <pc:docMk/>
            <pc:sldMk cId="2365006287" sldId="2193"/>
            <ac:spMk id="103" creationId="{65BF41B5-CFC3-43AD-A8E2-6B26904CC06B}"/>
          </ac:spMkLst>
        </pc:spChg>
        <pc:spChg chg="mod">
          <ac:chgData name="Aurelien Domont" userId="6da7715ce44349b3" providerId="LiveId" clId="{AFF9B0D5-CA7D-40FB-964A-23276295459E}" dt="2021-07-06T04:55:27.110" v="6436" actId="207"/>
          <ac:spMkLst>
            <pc:docMk/>
            <pc:sldMk cId="2365006287" sldId="2193"/>
            <ac:spMk id="104" creationId="{E1AE7574-E20A-43ED-86E1-67FF47EE59E9}"/>
          </ac:spMkLst>
        </pc:spChg>
        <pc:spChg chg="mod">
          <ac:chgData name="Aurelien Domont" userId="6da7715ce44349b3" providerId="LiveId" clId="{AFF9B0D5-CA7D-40FB-964A-23276295459E}" dt="2021-07-06T04:55:27.110" v="6436" actId="207"/>
          <ac:spMkLst>
            <pc:docMk/>
            <pc:sldMk cId="2365006287" sldId="2193"/>
            <ac:spMk id="105" creationId="{1CA686F3-4B48-4FCA-9990-4A687AED190F}"/>
          </ac:spMkLst>
        </pc:spChg>
        <pc:spChg chg="mod">
          <ac:chgData name="Aurelien Domont" userId="6da7715ce44349b3" providerId="LiveId" clId="{AFF9B0D5-CA7D-40FB-964A-23276295459E}" dt="2021-07-06T04:55:27.110" v="6436" actId="207"/>
          <ac:spMkLst>
            <pc:docMk/>
            <pc:sldMk cId="2365006287" sldId="2193"/>
            <ac:spMk id="106" creationId="{230C6DFA-375D-4416-9E4E-067C619F1BFF}"/>
          </ac:spMkLst>
        </pc:spChg>
        <pc:spChg chg="mod">
          <ac:chgData name="Aurelien Domont" userId="6da7715ce44349b3" providerId="LiveId" clId="{AFF9B0D5-CA7D-40FB-964A-23276295459E}" dt="2021-07-06T04:55:27.110" v="6436" actId="207"/>
          <ac:spMkLst>
            <pc:docMk/>
            <pc:sldMk cId="2365006287" sldId="2193"/>
            <ac:spMk id="107" creationId="{77E2697D-9897-4A3B-A255-C96C05DFB65E}"/>
          </ac:spMkLst>
        </pc:spChg>
        <pc:spChg chg="mod">
          <ac:chgData name="Aurelien Domont" userId="6da7715ce44349b3" providerId="LiveId" clId="{AFF9B0D5-CA7D-40FB-964A-23276295459E}" dt="2021-07-06T04:55:27.110" v="6436" actId="207"/>
          <ac:spMkLst>
            <pc:docMk/>
            <pc:sldMk cId="2365006287" sldId="2193"/>
            <ac:spMk id="108" creationId="{FC706995-E8AA-43E2-8476-DA80D70E249C}"/>
          </ac:spMkLst>
        </pc:spChg>
        <pc:spChg chg="mod">
          <ac:chgData name="Aurelien Domont" userId="6da7715ce44349b3" providerId="LiveId" clId="{AFF9B0D5-CA7D-40FB-964A-23276295459E}" dt="2021-07-06T04:55:27.110" v="6436" actId="207"/>
          <ac:spMkLst>
            <pc:docMk/>
            <pc:sldMk cId="2365006287" sldId="2193"/>
            <ac:spMk id="109" creationId="{2B07D6D4-194B-4146-A1AE-508C73D392A6}"/>
          </ac:spMkLst>
        </pc:spChg>
        <pc:spChg chg="mod">
          <ac:chgData name="Aurelien Domont" userId="6da7715ce44349b3" providerId="LiveId" clId="{AFF9B0D5-CA7D-40FB-964A-23276295459E}" dt="2021-07-06T04:55:27.110" v="6436" actId="207"/>
          <ac:spMkLst>
            <pc:docMk/>
            <pc:sldMk cId="2365006287" sldId="2193"/>
            <ac:spMk id="110" creationId="{C5A5E31E-BC3F-4031-B4BD-96322C581A05}"/>
          </ac:spMkLst>
        </pc:spChg>
        <pc:spChg chg="mod">
          <ac:chgData name="Aurelien Domont" userId="6da7715ce44349b3" providerId="LiveId" clId="{AFF9B0D5-CA7D-40FB-964A-23276295459E}" dt="2021-07-06T04:55:27.110" v="6436" actId="207"/>
          <ac:spMkLst>
            <pc:docMk/>
            <pc:sldMk cId="2365006287" sldId="2193"/>
            <ac:spMk id="111" creationId="{632D5824-AD44-4E4F-AF47-F307A1FA0E2C}"/>
          </ac:spMkLst>
        </pc:spChg>
        <pc:spChg chg="mod">
          <ac:chgData name="Aurelien Domont" userId="6da7715ce44349b3" providerId="LiveId" clId="{AFF9B0D5-CA7D-40FB-964A-23276295459E}" dt="2021-07-06T04:55:27.110" v="6436" actId="207"/>
          <ac:spMkLst>
            <pc:docMk/>
            <pc:sldMk cId="2365006287" sldId="2193"/>
            <ac:spMk id="112" creationId="{6F83E090-B402-410D-AFC1-C419C6F8E4CB}"/>
          </ac:spMkLst>
        </pc:spChg>
        <pc:spChg chg="mod">
          <ac:chgData name="Aurelien Domont" userId="6da7715ce44349b3" providerId="LiveId" clId="{AFF9B0D5-CA7D-40FB-964A-23276295459E}" dt="2021-07-06T04:55:27.110" v="6436" actId="207"/>
          <ac:spMkLst>
            <pc:docMk/>
            <pc:sldMk cId="2365006287" sldId="2193"/>
            <ac:spMk id="113" creationId="{651407DE-861B-4C05-842D-A44085EFF369}"/>
          </ac:spMkLst>
        </pc:spChg>
        <pc:spChg chg="mod">
          <ac:chgData name="Aurelien Domont" userId="6da7715ce44349b3" providerId="LiveId" clId="{AFF9B0D5-CA7D-40FB-964A-23276295459E}" dt="2021-07-06T04:55:27.110" v="6436" actId="207"/>
          <ac:spMkLst>
            <pc:docMk/>
            <pc:sldMk cId="2365006287" sldId="2193"/>
            <ac:spMk id="114" creationId="{783A9BBE-48DB-4AE1-8421-30B47ED6B068}"/>
          </ac:spMkLst>
        </pc:spChg>
        <pc:spChg chg="mod">
          <ac:chgData name="Aurelien Domont" userId="6da7715ce44349b3" providerId="LiveId" clId="{AFF9B0D5-CA7D-40FB-964A-23276295459E}" dt="2021-07-06T04:55:27.110" v="6436" actId="207"/>
          <ac:spMkLst>
            <pc:docMk/>
            <pc:sldMk cId="2365006287" sldId="2193"/>
            <ac:spMk id="115" creationId="{BF2EC1BE-F8C3-4855-8D2E-4C26D0C250BD}"/>
          </ac:spMkLst>
        </pc:spChg>
        <pc:spChg chg="mod">
          <ac:chgData name="Aurelien Domont" userId="6da7715ce44349b3" providerId="LiveId" clId="{AFF9B0D5-CA7D-40FB-964A-23276295459E}" dt="2021-07-06T04:55:27.110" v="6436" actId="207"/>
          <ac:spMkLst>
            <pc:docMk/>
            <pc:sldMk cId="2365006287" sldId="2193"/>
            <ac:spMk id="116" creationId="{3B25F4FD-B5EE-4E5D-A3A5-1ABDEAD5F06B}"/>
          </ac:spMkLst>
        </pc:spChg>
        <pc:spChg chg="mod">
          <ac:chgData name="Aurelien Domont" userId="6da7715ce44349b3" providerId="LiveId" clId="{AFF9B0D5-CA7D-40FB-964A-23276295459E}" dt="2021-07-06T04:55:27.110" v="6436" actId="207"/>
          <ac:spMkLst>
            <pc:docMk/>
            <pc:sldMk cId="2365006287" sldId="2193"/>
            <ac:spMk id="117" creationId="{4150CB89-F485-436E-97D1-4FB1609F4986}"/>
          </ac:spMkLst>
        </pc:spChg>
        <pc:spChg chg="mod">
          <ac:chgData name="Aurelien Domont" userId="6da7715ce44349b3" providerId="LiveId" clId="{AFF9B0D5-CA7D-40FB-964A-23276295459E}" dt="2021-07-06T04:55:27.110" v="6436" actId="207"/>
          <ac:spMkLst>
            <pc:docMk/>
            <pc:sldMk cId="2365006287" sldId="2193"/>
            <ac:spMk id="118" creationId="{49E8AE7E-7F5A-4A11-9512-6C7079D464A2}"/>
          </ac:spMkLst>
        </pc:spChg>
        <pc:spChg chg="mod">
          <ac:chgData name="Aurelien Domont" userId="6da7715ce44349b3" providerId="LiveId" clId="{AFF9B0D5-CA7D-40FB-964A-23276295459E}" dt="2021-07-06T04:55:27.110" v="6436" actId="207"/>
          <ac:spMkLst>
            <pc:docMk/>
            <pc:sldMk cId="2365006287" sldId="2193"/>
            <ac:spMk id="119" creationId="{82534475-B316-4ED5-BDD3-1061DFF13294}"/>
          </ac:spMkLst>
        </pc:spChg>
        <pc:spChg chg="mod">
          <ac:chgData name="Aurelien Domont" userId="6da7715ce44349b3" providerId="LiveId" clId="{AFF9B0D5-CA7D-40FB-964A-23276295459E}" dt="2021-07-06T04:55:27.110" v="6436" actId="207"/>
          <ac:spMkLst>
            <pc:docMk/>
            <pc:sldMk cId="2365006287" sldId="2193"/>
            <ac:spMk id="120" creationId="{894A3104-C61D-488C-BD9D-15689C082991}"/>
          </ac:spMkLst>
        </pc:spChg>
        <pc:spChg chg="mod">
          <ac:chgData name="Aurelien Domont" userId="6da7715ce44349b3" providerId="LiveId" clId="{AFF9B0D5-CA7D-40FB-964A-23276295459E}" dt="2021-07-06T04:55:27.110" v="6436" actId="207"/>
          <ac:spMkLst>
            <pc:docMk/>
            <pc:sldMk cId="2365006287" sldId="2193"/>
            <ac:spMk id="121" creationId="{19010C2B-F3E6-484A-A3F9-6592B0831B41}"/>
          </ac:spMkLst>
        </pc:spChg>
        <pc:spChg chg="mod">
          <ac:chgData name="Aurelien Domont" userId="6da7715ce44349b3" providerId="LiveId" clId="{AFF9B0D5-CA7D-40FB-964A-23276295459E}" dt="2021-07-06T04:55:27.110" v="6436" actId="207"/>
          <ac:spMkLst>
            <pc:docMk/>
            <pc:sldMk cId="2365006287" sldId="2193"/>
            <ac:spMk id="122" creationId="{39FEB8F0-3332-4428-AEEA-741658E4FDC4}"/>
          </ac:spMkLst>
        </pc:spChg>
        <pc:spChg chg="mod">
          <ac:chgData name="Aurelien Domont" userId="6da7715ce44349b3" providerId="LiveId" clId="{AFF9B0D5-CA7D-40FB-964A-23276295459E}" dt="2021-07-06T04:55:27.110" v="6436" actId="207"/>
          <ac:spMkLst>
            <pc:docMk/>
            <pc:sldMk cId="2365006287" sldId="2193"/>
            <ac:spMk id="123" creationId="{7499BFA2-541F-43A4-8B7D-28E1FABD6E23}"/>
          </ac:spMkLst>
        </pc:spChg>
        <pc:spChg chg="mod">
          <ac:chgData name="Aurelien Domont" userId="6da7715ce44349b3" providerId="LiveId" clId="{AFF9B0D5-CA7D-40FB-964A-23276295459E}" dt="2021-07-06T04:55:27.110" v="6436" actId="207"/>
          <ac:spMkLst>
            <pc:docMk/>
            <pc:sldMk cId="2365006287" sldId="2193"/>
            <ac:spMk id="125" creationId="{2C9E90AE-B1D5-4F9C-BFCF-DCC3E4BCD4E2}"/>
          </ac:spMkLst>
        </pc:spChg>
        <pc:spChg chg="mod">
          <ac:chgData name="Aurelien Domont" userId="6da7715ce44349b3" providerId="LiveId" clId="{AFF9B0D5-CA7D-40FB-964A-23276295459E}" dt="2021-07-06T04:55:27.110" v="6436" actId="207"/>
          <ac:spMkLst>
            <pc:docMk/>
            <pc:sldMk cId="2365006287" sldId="2193"/>
            <ac:spMk id="127" creationId="{378FBEAB-0A9B-4243-98E7-1FEF1F9571B3}"/>
          </ac:spMkLst>
        </pc:spChg>
        <pc:spChg chg="mod">
          <ac:chgData name="Aurelien Domont" userId="6da7715ce44349b3" providerId="LiveId" clId="{AFF9B0D5-CA7D-40FB-964A-23276295459E}" dt="2021-07-06T04:55:27.110" v="6436" actId="207"/>
          <ac:spMkLst>
            <pc:docMk/>
            <pc:sldMk cId="2365006287" sldId="2193"/>
            <ac:spMk id="129" creationId="{C5A5F10F-556A-4AE1-A4ED-861F2945FF0C}"/>
          </ac:spMkLst>
        </pc:spChg>
        <pc:spChg chg="mod">
          <ac:chgData name="Aurelien Domont" userId="6da7715ce44349b3" providerId="LiveId" clId="{AFF9B0D5-CA7D-40FB-964A-23276295459E}" dt="2021-07-06T04:55:27.110" v="6436" actId="207"/>
          <ac:spMkLst>
            <pc:docMk/>
            <pc:sldMk cId="2365006287" sldId="2193"/>
            <ac:spMk id="131" creationId="{350273C7-56F8-484A-88FB-9CC9C5B030D4}"/>
          </ac:spMkLst>
        </pc:spChg>
        <pc:spChg chg="mod">
          <ac:chgData name="Aurelien Domont" userId="6da7715ce44349b3" providerId="LiveId" clId="{AFF9B0D5-CA7D-40FB-964A-23276295459E}" dt="2021-07-06T04:55:27.110" v="6436" actId="207"/>
          <ac:spMkLst>
            <pc:docMk/>
            <pc:sldMk cId="2365006287" sldId="2193"/>
            <ac:spMk id="132" creationId="{BC6174EC-1DA5-446D-880E-B7EA6E2BB114}"/>
          </ac:spMkLst>
        </pc:spChg>
        <pc:spChg chg="mod">
          <ac:chgData name="Aurelien Domont" userId="6da7715ce44349b3" providerId="LiveId" clId="{AFF9B0D5-CA7D-40FB-964A-23276295459E}" dt="2021-07-06T04:55:27.110" v="6436" actId="207"/>
          <ac:spMkLst>
            <pc:docMk/>
            <pc:sldMk cId="2365006287" sldId="2193"/>
            <ac:spMk id="133" creationId="{512FA95D-9A9C-4659-B363-4DC368AFFBCF}"/>
          </ac:spMkLst>
        </pc:spChg>
        <pc:spChg chg="mod">
          <ac:chgData name="Aurelien Domont" userId="6da7715ce44349b3" providerId="LiveId" clId="{AFF9B0D5-CA7D-40FB-964A-23276295459E}" dt="2021-07-06T04:55:27.110" v="6436" actId="207"/>
          <ac:spMkLst>
            <pc:docMk/>
            <pc:sldMk cId="2365006287" sldId="2193"/>
            <ac:spMk id="134" creationId="{CF8EEA38-F094-4816-918B-C5ECB1F04613}"/>
          </ac:spMkLst>
        </pc:spChg>
        <pc:spChg chg="mod">
          <ac:chgData name="Aurelien Domont" userId="6da7715ce44349b3" providerId="LiveId" clId="{AFF9B0D5-CA7D-40FB-964A-23276295459E}" dt="2021-07-06T04:55:27.110" v="6436" actId="207"/>
          <ac:spMkLst>
            <pc:docMk/>
            <pc:sldMk cId="2365006287" sldId="2193"/>
            <ac:spMk id="135" creationId="{B477CF5F-A7AF-43CE-8582-FAB481858132}"/>
          </ac:spMkLst>
        </pc:spChg>
        <pc:spChg chg="mod">
          <ac:chgData name="Aurelien Domont" userId="6da7715ce44349b3" providerId="LiveId" clId="{AFF9B0D5-CA7D-40FB-964A-23276295459E}" dt="2021-07-06T04:55:27.110" v="6436" actId="207"/>
          <ac:spMkLst>
            <pc:docMk/>
            <pc:sldMk cId="2365006287" sldId="2193"/>
            <ac:spMk id="136" creationId="{3A8CD19A-AC64-4532-A17D-3F89472AF0E5}"/>
          </ac:spMkLst>
        </pc:spChg>
        <pc:spChg chg="mod">
          <ac:chgData name="Aurelien Domont" userId="6da7715ce44349b3" providerId="LiveId" clId="{AFF9B0D5-CA7D-40FB-964A-23276295459E}" dt="2021-07-06T04:55:27.110" v="6436" actId="207"/>
          <ac:spMkLst>
            <pc:docMk/>
            <pc:sldMk cId="2365006287" sldId="2193"/>
            <ac:spMk id="137" creationId="{CAE23BEF-B51F-4CF7-8DEE-8420F4B8CC48}"/>
          </ac:spMkLst>
        </pc:spChg>
        <pc:spChg chg="mod">
          <ac:chgData name="Aurelien Domont" userId="6da7715ce44349b3" providerId="LiveId" clId="{AFF9B0D5-CA7D-40FB-964A-23276295459E}" dt="2021-07-06T04:55:27.110" v="6436" actId="207"/>
          <ac:spMkLst>
            <pc:docMk/>
            <pc:sldMk cId="2365006287" sldId="2193"/>
            <ac:spMk id="138" creationId="{985FBAC8-C39C-4F76-BF89-235488B6688A}"/>
          </ac:spMkLst>
        </pc:spChg>
        <pc:spChg chg="mod">
          <ac:chgData name="Aurelien Domont" userId="6da7715ce44349b3" providerId="LiveId" clId="{AFF9B0D5-CA7D-40FB-964A-23276295459E}" dt="2021-07-06T04:55:27.110" v="6436" actId="207"/>
          <ac:spMkLst>
            <pc:docMk/>
            <pc:sldMk cId="2365006287" sldId="2193"/>
            <ac:spMk id="139" creationId="{B2B8939D-415D-4191-AE3F-6BF5ACDF3066}"/>
          </ac:spMkLst>
        </pc:spChg>
        <pc:spChg chg="mod">
          <ac:chgData name="Aurelien Domont" userId="6da7715ce44349b3" providerId="LiveId" clId="{AFF9B0D5-CA7D-40FB-964A-23276295459E}" dt="2021-07-06T04:55:27.110" v="6436" actId="207"/>
          <ac:spMkLst>
            <pc:docMk/>
            <pc:sldMk cId="2365006287" sldId="2193"/>
            <ac:spMk id="140" creationId="{7752E709-95CB-4091-AB1E-A5086F134AC1}"/>
          </ac:spMkLst>
        </pc:spChg>
        <pc:spChg chg="mod">
          <ac:chgData name="Aurelien Domont" userId="6da7715ce44349b3" providerId="LiveId" clId="{AFF9B0D5-CA7D-40FB-964A-23276295459E}" dt="2021-07-06T04:55:27.110" v="6436" actId="207"/>
          <ac:spMkLst>
            <pc:docMk/>
            <pc:sldMk cId="2365006287" sldId="2193"/>
            <ac:spMk id="142" creationId="{BDDB4D79-5A59-41A1-B66F-8B658F59082A}"/>
          </ac:spMkLst>
        </pc:spChg>
        <pc:spChg chg="mod">
          <ac:chgData name="Aurelien Domont" userId="6da7715ce44349b3" providerId="LiveId" clId="{AFF9B0D5-CA7D-40FB-964A-23276295459E}" dt="2021-07-06T04:55:27.110" v="6436" actId="207"/>
          <ac:spMkLst>
            <pc:docMk/>
            <pc:sldMk cId="2365006287" sldId="2193"/>
            <ac:spMk id="143" creationId="{1D1E885F-74AF-4A3B-95AC-54D9FE340769}"/>
          </ac:spMkLst>
        </pc:spChg>
        <pc:spChg chg="mod">
          <ac:chgData name="Aurelien Domont" userId="6da7715ce44349b3" providerId="LiveId" clId="{AFF9B0D5-CA7D-40FB-964A-23276295459E}" dt="2021-07-06T04:55:27.110" v="6436" actId="207"/>
          <ac:spMkLst>
            <pc:docMk/>
            <pc:sldMk cId="2365006287" sldId="2193"/>
            <ac:spMk id="144" creationId="{D74FA934-62DC-4E2B-BDE0-202AF8CB9A49}"/>
          </ac:spMkLst>
        </pc:spChg>
        <pc:spChg chg="mod">
          <ac:chgData name="Aurelien Domont" userId="6da7715ce44349b3" providerId="LiveId" clId="{AFF9B0D5-CA7D-40FB-964A-23276295459E}" dt="2021-07-06T04:55:27.110" v="6436" actId="207"/>
          <ac:spMkLst>
            <pc:docMk/>
            <pc:sldMk cId="2365006287" sldId="2193"/>
            <ac:spMk id="145" creationId="{16FC8BD7-DDAE-44C2-B89E-C4034E712BED}"/>
          </ac:spMkLst>
        </pc:spChg>
        <pc:spChg chg="mod">
          <ac:chgData name="Aurelien Domont" userId="6da7715ce44349b3" providerId="LiveId" clId="{AFF9B0D5-CA7D-40FB-964A-23276295459E}" dt="2021-07-06T04:55:27.110" v="6436" actId="207"/>
          <ac:spMkLst>
            <pc:docMk/>
            <pc:sldMk cId="2365006287" sldId="2193"/>
            <ac:spMk id="146" creationId="{41B138E6-41E9-4AF6-A29C-165D08513D2D}"/>
          </ac:spMkLst>
        </pc:spChg>
        <pc:spChg chg="mod">
          <ac:chgData name="Aurelien Domont" userId="6da7715ce44349b3" providerId="LiveId" clId="{AFF9B0D5-CA7D-40FB-964A-23276295459E}" dt="2021-07-06T04:55:27.110" v="6436" actId="207"/>
          <ac:spMkLst>
            <pc:docMk/>
            <pc:sldMk cId="2365006287" sldId="2193"/>
            <ac:spMk id="147" creationId="{1C8FEC86-DF11-4FE6-A64F-AF70A02773BE}"/>
          </ac:spMkLst>
        </pc:spChg>
        <pc:spChg chg="mod">
          <ac:chgData name="Aurelien Domont" userId="6da7715ce44349b3" providerId="LiveId" clId="{AFF9B0D5-CA7D-40FB-964A-23276295459E}" dt="2021-07-06T04:55:27.110" v="6436" actId="207"/>
          <ac:spMkLst>
            <pc:docMk/>
            <pc:sldMk cId="2365006287" sldId="2193"/>
            <ac:spMk id="148" creationId="{7BFF15EB-F63D-4FAD-BCE0-0A283F0ACECB}"/>
          </ac:spMkLst>
        </pc:spChg>
        <pc:spChg chg="mod">
          <ac:chgData name="Aurelien Domont" userId="6da7715ce44349b3" providerId="LiveId" clId="{AFF9B0D5-CA7D-40FB-964A-23276295459E}" dt="2021-07-06T04:55:27.110" v="6436" actId="207"/>
          <ac:spMkLst>
            <pc:docMk/>
            <pc:sldMk cId="2365006287" sldId="2193"/>
            <ac:spMk id="149" creationId="{62DDC113-79AB-4405-8A05-4AF26497DD0C}"/>
          </ac:spMkLst>
        </pc:spChg>
        <pc:spChg chg="mod">
          <ac:chgData name="Aurelien Domont" userId="6da7715ce44349b3" providerId="LiveId" clId="{AFF9B0D5-CA7D-40FB-964A-23276295459E}" dt="2021-07-06T04:55:27.110" v="6436" actId="207"/>
          <ac:spMkLst>
            <pc:docMk/>
            <pc:sldMk cId="2365006287" sldId="2193"/>
            <ac:spMk id="150" creationId="{4365A171-557B-4606-A3EB-AF8BC2288201}"/>
          </ac:spMkLst>
        </pc:spChg>
        <pc:spChg chg="mod">
          <ac:chgData name="Aurelien Domont" userId="6da7715ce44349b3" providerId="LiveId" clId="{AFF9B0D5-CA7D-40FB-964A-23276295459E}" dt="2021-07-06T04:55:27.110" v="6436" actId="207"/>
          <ac:spMkLst>
            <pc:docMk/>
            <pc:sldMk cId="2365006287" sldId="2193"/>
            <ac:spMk id="151" creationId="{EEFF0CDB-017C-4A77-BB78-49C959810886}"/>
          </ac:spMkLst>
        </pc:spChg>
        <pc:spChg chg="mod">
          <ac:chgData name="Aurelien Domont" userId="6da7715ce44349b3" providerId="LiveId" clId="{AFF9B0D5-CA7D-40FB-964A-23276295459E}" dt="2021-07-06T04:55:27.110" v="6436" actId="207"/>
          <ac:spMkLst>
            <pc:docMk/>
            <pc:sldMk cId="2365006287" sldId="2193"/>
            <ac:spMk id="152" creationId="{8D03B6DB-D72C-4AB8-97B4-A9A20666B2CD}"/>
          </ac:spMkLst>
        </pc:spChg>
        <pc:spChg chg="mod">
          <ac:chgData name="Aurelien Domont" userId="6da7715ce44349b3" providerId="LiveId" clId="{AFF9B0D5-CA7D-40FB-964A-23276295459E}" dt="2021-07-06T04:55:27.110" v="6436" actId="207"/>
          <ac:spMkLst>
            <pc:docMk/>
            <pc:sldMk cId="2365006287" sldId="2193"/>
            <ac:spMk id="153" creationId="{A259B0CE-4E24-4931-A600-EAB7EE0723CE}"/>
          </ac:spMkLst>
        </pc:spChg>
        <pc:spChg chg="mod">
          <ac:chgData name="Aurelien Domont" userId="6da7715ce44349b3" providerId="LiveId" clId="{AFF9B0D5-CA7D-40FB-964A-23276295459E}" dt="2021-07-06T04:55:27.110" v="6436" actId="207"/>
          <ac:spMkLst>
            <pc:docMk/>
            <pc:sldMk cId="2365006287" sldId="2193"/>
            <ac:spMk id="154" creationId="{ABD91C8D-FC50-47FE-A53C-35530B9E6A4C}"/>
          </ac:spMkLst>
        </pc:spChg>
        <pc:spChg chg="mod">
          <ac:chgData name="Aurelien Domont" userId="6da7715ce44349b3" providerId="LiveId" clId="{AFF9B0D5-CA7D-40FB-964A-23276295459E}" dt="2021-07-06T04:55:27.110" v="6436" actId="207"/>
          <ac:spMkLst>
            <pc:docMk/>
            <pc:sldMk cId="2365006287" sldId="2193"/>
            <ac:spMk id="155" creationId="{25B903D7-A74D-430A-8D7F-DCA08103D522}"/>
          </ac:spMkLst>
        </pc:spChg>
        <pc:spChg chg="mod">
          <ac:chgData name="Aurelien Domont" userId="6da7715ce44349b3" providerId="LiveId" clId="{AFF9B0D5-CA7D-40FB-964A-23276295459E}" dt="2021-07-06T04:55:27.110" v="6436" actId="207"/>
          <ac:spMkLst>
            <pc:docMk/>
            <pc:sldMk cId="2365006287" sldId="2193"/>
            <ac:spMk id="156" creationId="{C0E7B4A7-61CE-422B-839A-837E9A743E3A}"/>
          </ac:spMkLst>
        </pc:spChg>
        <pc:spChg chg="mod">
          <ac:chgData name="Aurelien Domont" userId="6da7715ce44349b3" providerId="LiveId" clId="{AFF9B0D5-CA7D-40FB-964A-23276295459E}" dt="2021-07-06T04:55:27.110" v="6436" actId="207"/>
          <ac:spMkLst>
            <pc:docMk/>
            <pc:sldMk cId="2365006287" sldId="2193"/>
            <ac:spMk id="157" creationId="{3D657CDC-FAA8-4289-82C8-81810B6165D3}"/>
          </ac:spMkLst>
        </pc:spChg>
        <pc:spChg chg="mod">
          <ac:chgData name="Aurelien Domont" userId="6da7715ce44349b3" providerId="LiveId" clId="{AFF9B0D5-CA7D-40FB-964A-23276295459E}" dt="2021-07-06T04:55:27.110" v="6436" actId="207"/>
          <ac:spMkLst>
            <pc:docMk/>
            <pc:sldMk cId="2365006287" sldId="2193"/>
            <ac:spMk id="158" creationId="{B17EB213-4950-42CF-9699-018AD4232B1A}"/>
          </ac:spMkLst>
        </pc:spChg>
        <pc:spChg chg="mod">
          <ac:chgData name="Aurelien Domont" userId="6da7715ce44349b3" providerId="LiveId" clId="{AFF9B0D5-CA7D-40FB-964A-23276295459E}" dt="2021-07-06T04:55:27.110" v="6436" actId="207"/>
          <ac:spMkLst>
            <pc:docMk/>
            <pc:sldMk cId="2365006287" sldId="2193"/>
            <ac:spMk id="159" creationId="{8CA38F92-3E3C-43A5-90D1-5E8700DAB383}"/>
          </ac:spMkLst>
        </pc:spChg>
        <pc:spChg chg="mod">
          <ac:chgData name="Aurelien Domont" userId="6da7715ce44349b3" providerId="LiveId" clId="{AFF9B0D5-CA7D-40FB-964A-23276295459E}" dt="2021-07-06T04:55:27.110" v="6436" actId="207"/>
          <ac:spMkLst>
            <pc:docMk/>
            <pc:sldMk cId="2365006287" sldId="2193"/>
            <ac:spMk id="160" creationId="{23EDF098-AA5C-4CC4-A915-B946B8E572BC}"/>
          </ac:spMkLst>
        </pc:spChg>
        <pc:spChg chg="mod">
          <ac:chgData name="Aurelien Domont" userId="6da7715ce44349b3" providerId="LiveId" clId="{AFF9B0D5-CA7D-40FB-964A-23276295459E}" dt="2021-07-06T04:55:27.110" v="6436" actId="207"/>
          <ac:spMkLst>
            <pc:docMk/>
            <pc:sldMk cId="2365006287" sldId="2193"/>
            <ac:spMk id="161" creationId="{D56F5FB8-B708-4119-9373-80F1E11159C9}"/>
          </ac:spMkLst>
        </pc:spChg>
        <pc:spChg chg="mod">
          <ac:chgData name="Aurelien Domont" userId="6da7715ce44349b3" providerId="LiveId" clId="{AFF9B0D5-CA7D-40FB-964A-23276295459E}" dt="2021-07-06T04:55:27.110" v="6436" actId="207"/>
          <ac:spMkLst>
            <pc:docMk/>
            <pc:sldMk cId="2365006287" sldId="2193"/>
            <ac:spMk id="162" creationId="{BA676946-82C1-4EBE-B717-21F7E57ED277}"/>
          </ac:spMkLst>
        </pc:spChg>
        <pc:spChg chg="mod">
          <ac:chgData name="Aurelien Domont" userId="6da7715ce44349b3" providerId="LiveId" clId="{AFF9B0D5-CA7D-40FB-964A-23276295459E}" dt="2021-07-06T04:55:27.110" v="6436" actId="207"/>
          <ac:spMkLst>
            <pc:docMk/>
            <pc:sldMk cId="2365006287" sldId="2193"/>
            <ac:spMk id="163" creationId="{60EB86DE-7405-492F-9024-C261802C202B}"/>
          </ac:spMkLst>
        </pc:spChg>
        <pc:spChg chg="mod">
          <ac:chgData name="Aurelien Domont" userId="6da7715ce44349b3" providerId="LiveId" clId="{AFF9B0D5-CA7D-40FB-964A-23276295459E}" dt="2021-07-06T04:55:27.110" v="6436" actId="207"/>
          <ac:spMkLst>
            <pc:docMk/>
            <pc:sldMk cId="2365006287" sldId="2193"/>
            <ac:spMk id="164" creationId="{BDBE1806-5F82-440C-B248-5D0992D119E4}"/>
          </ac:spMkLst>
        </pc:spChg>
        <pc:spChg chg="mod">
          <ac:chgData name="Aurelien Domont" userId="6da7715ce44349b3" providerId="LiveId" clId="{AFF9B0D5-CA7D-40FB-964A-23276295459E}" dt="2021-07-06T04:55:27.110" v="6436" actId="207"/>
          <ac:spMkLst>
            <pc:docMk/>
            <pc:sldMk cId="2365006287" sldId="2193"/>
            <ac:spMk id="165" creationId="{0CB2C5FB-2220-441B-A825-6A63E1B5CE87}"/>
          </ac:spMkLst>
        </pc:spChg>
        <pc:spChg chg="mod">
          <ac:chgData name="Aurelien Domont" userId="6da7715ce44349b3" providerId="LiveId" clId="{AFF9B0D5-CA7D-40FB-964A-23276295459E}" dt="2021-07-06T04:55:27.110" v="6436" actId="207"/>
          <ac:spMkLst>
            <pc:docMk/>
            <pc:sldMk cId="2365006287" sldId="2193"/>
            <ac:spMk id="166" creationId="{9FACDA72-1072-4DEE-B174-2A6F35E08C8D}"/>
          </ac:spMkLst>
        </pc:spChg>
        <pc:spChg chg="mod">
          <ac:chgData name="Aurelien Domont" userId="6da7715ce44349b3" providerId="LiveId" clId="{AFF9B0D5-CA7D-40FB-964A-23276295459E}" dt="2021-07-06T04:55:27.110" v="6436" actId="207"/>
          <ac:spMkLst>
            <pc:docMk/>
            <pc:sldMk cId="2365006287" sldId="2193"/>
            <ac:spMk id="167" creationId="{52057368-38F5-4FC7-89D7-71864828E198}"/>
          </ac:spMkLst>
        </pc:spChg>
        <pc:spChg chg="mod">
          <ac:chgData name="Aurelien Domont" userId="6da7715ce44349b3" providerId="LiveId" clId="{AFF9B0D5-CA7D-40FB-964A-23276295459E}" dt="2021-07-06T04:55:27.110" v="6436" actId="207"/>
          <ac:spMkLst>
            <pc:docMk/>
            <pc:sldMk cId="2365006287" sldId="2193"/>
            <ac:spMk id="168" creationId="{99762878-AFAD-4D28-9244-65AC64A29FAB}"/>
          </ac:spMkLst>
        </pc:spChg>
        <pc:spChg chg="mod">
          <ac:chgData name="Aurelien Domont" userId="6da7715ce44349b3" providerId="LiveId" clId="{AFF9B0D5-CA7D-40FB-964A-23276295459E}" dt="2021-07-06T04:55:27.110" v="6436" actId="207"/>
          <ac:spMkLst>
            <pc:docMk/>
            <pc:sldMk cId="2365006287" sldId="2193"/>
            <ac:spMk id="169" creationId="{C6E0C370-1AE7-4B71-B582-54390B3E9756}"/>
          </ac:spMkLst>
        </pc:spChg>
        <pc:spChg chg="mod">
          <ac:chgData name="Aurelien Domont" userId="6da7715ce44349b3" providerId="LiveId" clId="{AFF9B0D5-CA7D-40FB-964A-23276295459E}" dt="2021-07-06T04:55:27.110" v="6436" actId="207"/>
          <ac:spMkLst>
            <pc:docMk/>
            <pc:sldMk cId="2365006287" sldId="2193"/>
            <ac:spMk id="170" creationId="{89396123-E9E1-41A2-9494-24C475D336FD}"/>
          </ac:spMkLst>
        </pc:spChg>
        <pc:spChg chg="mod">
          <ac:chgData name="Aurelien Domont" userId="6da7715ce44349b3" providerId="LiveId" clId="{AFF9B0D5-CA7D-40FB-964A-23276295459E}" dt="2021-07-06T04:55:27.110" v="6436" actId="207"/>
          <ac:spMkLst>
            <pc:docMk/>
            <pc:sldMk cId="2365006287" sldId="2193"/>
            <ac:spMk id="171" creationId="{823194CC-6111-4944-B231-CB5B35E28962}"/>
          </ac:spMkLst>
        </pc:spChg>
        <pc:spChg chg="mod">
          <ac:chgData name="Aurelien Domont" userId="6da7715ce44349b3" providerId="LiveId" clId="{AFF9B0D5-CA7D-40FB-964A-23276295459E}" dt="2021-07-06T04:55:27.110" v="6436" actId="207"/>
          <ac:spMkLst>
            <pc:docMk/>
            <pc:sldMk cId="2365006287" sldId="2193"/>
            <ac:spMk id="172" creationId="{4D754B61-CAB2-4876-AD55-A97070A02FF7}"/>
          </ac:spMkLst>
        </pc:spChg>
        <pc:spChg chg="mod">
          <ac:chgData name="Aurelien Domont" userId="6da7715ce44349b3" providerId="LiveId" clId="{AFF9B0D5-CA7D-40FB-964A-23276295459E}" dt="2021-07-06T04:55:27.110" v="6436" actId="207"/>
          <ac:spMkLst>
            <pc:docMk/>
            <pc:sldMk cId="2365006287" sldId="2193"/>
            <ac:spMk id="173" creationId="{92A6D021-607D-4A3A-9541-A61366B44512}"/>
          </ac:spMkLst>
        </pc:spChg>
        <pc:spChg chg="mod">
          <ac:chgData name="Aurelien Domont" userId="6da7715ce44349b3" providerId="LiveId" clId="{AFF9B0D5-CA7D-40FB-964A-23276295459E}" dt="2021-07-06T04:55:27.110" v="6436" actId="207"/>
          <ac:spMkLst>
            <pc:docMk/>
            <pc:sldMk cId="2365006287" sldId="2193"/>
            <ac:spMk id="174" creationId="{7CC84701-7558-4313-BB29-B13B7F846F11}"/>
          </ac:spMkLst>
        </pc:spChg>
        <pc:spChg chg="mod">
          <ac:chgData name="Aurelien Domont" userId="6da7715ce44349b3" providerId="LiveId" clId="{AFF9B0D5-CA7D-40FB-964A-23276295459E}" dt="2021-07-06T04:55:27.110" v="6436" actId="207"/>
          <ac:spMkLst>
            <pc:docMk/>
            <pc:sldMk cId="2365006287" sldId="2193"/>
            <ac:spMk id="175" creationId="{03B4CC72-2489-41BE-A1DA-877AE3EA9DF3}"/>
          </ac:spMkLst>
        </pc:spChg>
        <pc:spChg chg="mod">
          <ac:chgData name="Aurelien Domont" userId="6da7715ce44349b3" providerId="LiveId" clId="{AFF9B0D5-CA7D-40FB-964A-23276295459E}" dt="2021-07-06T04:55:27.110" v="6436" actId="207"/>
          <ac:spMkLst>
            <pc:docMk/>
            <pc:sldMk cId="2365006287" sldId="2193"/>
            <ac:spMk id="176" creationId="{47D6B5AF-3BB1-4F40-80A3-E718FFB2BBF9}"/>
          </ac:spMkLst>
        </pc:spChg>
        <pc:spChg chg="mod">
          <ac:chgData name="Aurelien Domont" userId="6da7715ce44349b3" providerId="LiveId" clId="{AFF9B0D5-CA7D-40FB-964A-23276295459E}" dt="2021-07-06T04:55:27.110" v="6436" actId="207"/>
          <ac:spMkLst>
            <pc:docMk/>
            <pc:sldMk cId="2365006287" sldId="2193"/>
            <ac:spMk id="177" creationId="{4DCF5414-4CBF-45A5-B95E-85CED01A12B7}"/>
          </ac:spMkLst>
        </pc:spChg>
        <pc:spChg chg="mod">
          <ac:chgData name="Aurelien Domont" userId="6da7715ce44349b3" providerId="LiveId" clId="{AFF9B0D5-CA7D-40FB-964A-23276295459E}" dt="2021-07-06T04:55:27.110" v="6436" actId="207"/>
          <ac:spMkLst>
            <pc:docMk/>
            <pc:sldMk cId="2365006287" sldId="2193"/>
            <ac:spMk id="178" creationId="{2678A3CD-131E-4EDF-A30A-53317901811B}"/>
          </ac:spMkLst>
        </pc:spChg>
        <pc:spChg chg="mod">
          <ac:chgData name="Aurelien Domont" userId="6da7715ce44349b3" providerId="LiveId" clId="{AFF9B0D5-CA7D-40FB-964A-23276295459E}" dt="2021-07-06T04:55:27.110" v="6436" actId="207"/>
          <ac:spMkLst>
            <pc:docMk/>
            <pc:sldMk cId="2365006287" sldId="2193"/>
            <ac:spMk id="179" creationId="{46610A0A-B8CE-41D9-91CC-A7B06C419CAF}"/>
          </ac:spMkLst>
        </pc:spChg>
        <pc:spChg chg="mod">
          <ac:chgData name="Aurelien Domont" userId="6da7715ce44349b3" providerId="LiveId" clId="{AFF9B0D5-CA7D-40FB-964A-23276295459E}" dt="2021-07-06T04:55:27.110" v="6436" actId="207"/>
          <ac:spMkLst>
            <pc:docMk/>
            <pc:sldMk cId="2365006287" sldId="2193"/>
            <ac:spMk id="180" creationId="{808EFAEC-EFEE-465B-9F07-B3397A83BC3D}"/>
          </ac:spMkLst>
        </pc:spChg>
        <pc:spChg chg="mod">
          <ac:chgData name="Aurelien Domont" userId="6da7715ce44349b3" providerId="LiveId" clId="{AFF9B0D5-CA7D-40FB-964A-23276295459E}" dt="2021-07-06T04:55:27.110" v="6436" actId="207"/>
          <ac:spMkLst>
            <pc:docMk/>
            <pc:sldMk cId="2365006287" sldId="2193"/>
            <ac:spMk id="181" creationId="{B0EA3EF7-DB1A-48F5-8310-A1017DB54E6F}"/>
          </ac:spMkLst>
        </pc:spChg>
        <pc:spChg chg="mod">
          <ac:chgData name="Aurelien Domont" userId="6da7715ce44349b3" providerId="LiveId" clId="{AFF9B0D5-CA7D-40FB-964A-23276295459E}" dt="2021-07-06T04:55:27.110" v="6436" actId="207"/>
          <ac:spMkLst>
            <pc:docMk/>
            <pc:sldMk cId="2365006287" sldId="2193"/>
            <ac:spMk id="182" creationId="{16651324-4218-4C8D-848C-EC8DDB563767}"/>
          </ac:spMkLst>
        </pc:spChg>
        <pc:spChg chg="mod">
          <ac:chgData name="Aurelien Domont" userId="6da7715ce44349b3" providerId="LiveId" clId="{AFF9B0D5-CA7D-40FB-964A-23276295459E}" dt="2021-07-06T04:55:27.110" v="6436" actId="207"/>
          <ac:spMkLst>
            <pc:docMk/>
            <pc:sldMk cId="2365006287" sldId="2193"/>
            <ac:spMk id="183" creationId="{2D1C61DB-DB9D-4FCD-A59D-5698A6522902}"/>
          </ac:spMkLst>
        </pc:spChg>
        <pc:spChg chg="mod">
          <ac:chgData name="Aurelien Domont" userId="6da7715ce44349b3" providerId="LiveId" clId="{AFF9B0D5-CA7D-40FB-964A-23276295459E}" dt="2021-07-06T04:55:27.110" v="6436" actId="207"/>
          <ac:spMkLst>
            <pc:docMk/>
            <pc:sldMk cId="2365006287" sldId="2193"/>
            <ac:spMk id="184" creationId="{72B0C558-0604-4F2E-8F50-BDE457973D38}"/>
          </ac:spMkLst>
        </pc:spChg>
        <pc:spChg chg="mod">
          <ac:chgData name="Aurelien Domont" userId="6da7715ce44349b3" providerId="LiveId" clId="{AFF9B0D5-CA7D-40FB-964A-23276295459E}" dt="2021-07-06T04:55:27.110" v="6436" actId="207"/>
          <ac:spMkLst>
            <pc:docMk/>
            <pc:sldMk cId="2365006287" sldId="2193"/>
            <ac:spMk id="185" creationId="{D5A1BFFB-B8FB-4800-BC3D-EE46E81A5431}"/>
          </ac:spMkLst>
        </pc:spChg>
        <pc:spChg chg="mod">
          <ac:chgData name="Aurelien Domont" userId="6da7715ce44349b3" providerId="LiveId" clId="{AFF9B0D5-CA7D-40FB-964A-23276295459E}" dt="2021-07-06T04:55:27.110" v="6436" actId="207"/>
          <ac:spMkLst>
            <pc:docMk/>
            <pc:sldMk cId="2365006287" sldId="2193"/>
            <ac:spMk id="186" creationId="{27671FE5-EDAE-4670-BEF7-A720F30F3665}"/>
          </ac:spMkLst>
        </pc:spChg>
        <pc:spChg chg="mod">
          <ac:chgData name="Aurelien Domont" userId="6da7715ce44349b3" providerId="LiveId" clId="{AFF9B0D5-CA7D-40FB-964A-23276295459E}" dt="2021-07-06T04:55:27.110" v="6436" actId="207"/>
          <ac:spMkLst>
            <pc:docMk/>
            <pc:sldMk cId="2365006287" sldId="2193"/>
            <ac:spMk id="187" creationId="{27C7BAE0-2998-41E2-ADC9-71D60AE6372D}"/>
          </ac:spMkLst>
        </pc:spChg>
        <pc:spChg chg="mod">
          <ac:chgData name="Aurelien Domont" userId="6da7715ce44349b3" providerId="LiveId" clId="{AFF9B0D5-CA7D-40FB-964A-23276295459E}" dt="2021-07-06T04:55:27.110" v="6436" actId="207"/>
          <ac:spMkLst>
            <pc:docMk/>
            <pc:sldMk cId="2365006287" sldId="2193"/>
            <ac:spMk id="188" creationId="{3800CFC3-6C5F-4327-98F1-E4477F94260D}"/>
          </ac:spMkLst>
        </pc:spChg>
        <pc:spChg chg="mod">
          <ac:chgData name="Aurelien Domont" userId="6da7715ce44349b3" providerId="LiveId" clId="{AFF9B0D5-CA7D-40FB-964A-23276295459E}" dt="2021-07-06T04:55:27.110" v="6436" actId="207"/>
          <ac:spMkLst>
            <pc:docMk/>
            <pc:sldMk cId="2365006287" sldId="2193"/>
            <ac:spMk id="189" creationId="{BD3D661E-CE23-4A3A-862C-A4530123CB0A}"/>
          </ac:spMkLst>
        </pc:spChg>
        <pc:spChg chg="mod">
          <ac:chgData name="Aurelien Domont" userId="6da7715ce44349b3" providerId="LiveId" clId="{AFF9B0D5-CA7D-40FB-964A-23276295459E}" dt="2021-07-06T04:55:27.110" v="6436" actId="207"/>
          <ac:spMkLst>
            <pc:docMk/>
            <pc:sldMk cId="2365006287" sldId="2193"/>
            <ac:spMk id="190" creationId="{1BF0723C-6F69-4D40-B7B3-E15B38FA66D9}"/>
          </ac:spMkLst>
        </pc:spChg>
        <pc:spChg chg="mod">
          <ac:chgData name="Aurelien Domont" userId="6da7715ce44349b3" providerId="LiveId" clId="{AFF9B0D5-CA7D-40FB-964A-23276295459E}" dt="2021-07-06T04:55:27.110" v="6436" actId="207"/>
          <ac:spMkLst>
            <pc:docMk/>
            <pc:sldMk cId="2365006287" sldId="2193"/>
            <ac:spMk id="191" creationId="{21AE6CAF-9A47-4EE1-A1D6-3C8CED98D246}"/>
          </ac:spMkLst>
        </pc:spChg>
        <pc:spChg chg="mod">
          <ac:chgData name="Aurelien Domont" userId="6da7715ce44349b3" providerId="LiveId" clId="{AFF9B0D5-CA7D-40FB-964A-23276295459E}" dt="2021-07-06T04:55:27.110" v="6436" actId="207"/>
          <ac:spMkLst>
            <pc:docMk/>
            <pc:sldMk cId="2365006287" sldId="2193"/>
            <ac:spMk id="192" creationId="{2373E3CE-B579-453F-89B1-B7E1CF0C0EB6}"/>
          </ac:spMkLst>
        </pc:spChg>
        <pc:spChg chg="mod">
          <ac:chgData name="Aurelien Domont" userId="6da7715ce44349b3" providerId="LiveId" clId="{AFF9B0D5-CA7D-40FB-964A-23276295459E}" dt="2021-07-06T04:55:27.110" v="6436" actId="207"/>
          <ac:spMkLst>
            <pc:docMk/>
            <pc:sldMk cId="2365006287" sldId="2193"/>
            <ac:spMk id="193" creationId="{E0AE16BE-90F8-40E4-A739-7DAF8EA978B2}"/>
          </ac:spMkLst>
        </pc:spChg>
        <pc:spChg chg="mod">
          <ac:chgData name="Aurelien Domont" userId="6da7715ce44349b3" providerId="LiveId" clId="{AFF9B0D5-CA7D-40FB-964A-23276295459E}" dt="2021-07-06T04:55:27.110" v="6436" actId="207"/>
          <ac:spMkLst>
            <pc:docMk/>
            <pc:sldMk cId="2365006287" sldId="2193"/>
            <ac:spMk id="194" creationId="{3E230726-7D04-48F3-A135-4F04E3E248FA}"/>
          </ac:spMkLst>
        </pc:spChg>
        <pc:spChg chg="mod">
          <ac:chgData name="Aurelien Domont" userId="6da7715ce44349b3" providerId="LiveId" clId="{AFF9B0D5-CA7D-40FB-964A-23276295459E}" dt="2021-07-06T04:55:27.110" v="6436" actId="207"/>
          <ac:spMkLst>
            <pc:docMk/>
            <pc:sldMk cId="2365006287" sldId="2193"/>
            <ac:spMk id="195" creationId="{E435410C-3B5C-4565-9E8D-60834A321263}"/>
          </ac:spMkLst>
        </pc:spChg>
        <pc:spChg chg="mod">
          <ac:chgData name="Aurelien Domont" userId="6da7715ce44349b3" providerId="LiveId" clId="{AFF9B0D5-CA7D-40FB-964A-23276295459E}" dt="2021-07-06T04:55:27.110" v="6436" actId="207"/>
          <ac:spMkLst>
            <pc:docMk/>
            <pc:sldMk cId="2365006287" sldId="2193"/>
            <ac:spMk id="196" creationId="{46F36E87-E302-412F-BB37-08F349D2161D}"/>
          </ac:spMkLst>
        </pc:spChg>
        <pc:spChg chg="mod">
          <ac:chgData name="Aurelien Domont" userId="6da7715ce44349b3" providerId="LiveId" clId="{AFF9B0D5-CA7D-40FB-964A-23276295459E}" dt="2021-07-06T04:55:27.110" v="6436" actId="207"/>
          <ac:spMkLst>
            <pc:docMk/>
            <pc:sldMk cId="2365006287" sldId="2193"/>
            <ac:spMk id="197" creationId="{C7ACEAE5-152B-49D2-8F07-FFD86767A0FB}"/>
          </ac:spMkLst>
        </pc:spChg>
        <pc:spChg chg="mod">
          <ac:chgData name="Aurelien Domont" userId="6da7715ce44349b3" providerId="LiveId" clId="{AFF9B0D5-CA7D-40FB-964A-23276295459E}" dt="2021-07-06T04:55:27.110" v="6436" actId="207"/>
          <ac:spMkLst>
            <pc:docMk/>
            <pc:sldMk cId="2365006287" sldId="2193"/>
            <ac:spMk id="198" creationId="{7104C839-48BF-4BA4-BF53-6AFD43BAED39}"/>
          </ac:spMkLst>
        </pc:spChg>
        <pc:spChg chg="mod">
          <ac:chgData name="Aurelien Domont" userId="6da7715ce44349b3" providerId="LiveId" clId="{AFF9B0D5-CA7D-40FB-964A-23276295459E}" dt="2021-07-06T04:55:27.110" v="6436" actId="207"/>
          <ac:spMkLst>
            <pc:docMk/>
            <pc:sldMk cId="2365006287" sldId="2193"/>
            <ac:spMk id="199" creationId="{0A27973E-F093-4443-948D-6F5E0135F593}"/>
          </ac:spMkLst>
        </pc:spChg>
        <pc:spChg chg="mod">
          <ac:chgData name="Aurelien Domont" userId="6da7715ce44349b3" providerId="LiveId" clId="{AFF9B0D5-CA7D-40FB-964A-23276295459E}" dt="2021-07-06T04:55:27.110" v="6436" actId="207"/>
          <ac:spMkLst>
            <pc:docMk/>
            <pc:sldMk cId="2365006287" sldId="2193"/>
            <ac:spMk id="200" creationId="{0C367E29-D0D4-4244-8139-3B655EF87F12}"/>
          </ac:spMkLst>
        </pc:spChg>
        <pc:spChg chg="mod">
          <ac:chgData name="Aurelien Domont" userId="6da7715ce44349b3" providerId="LiveId" clId="{AFF9B0D5-CA7D-40FB-964A-23276295459E}" dt="2021-07-06T04:55:27.110" v="6436" actId="207"/>
          <ac:spMkLst>
            <pc:docMk/>
            <pc:sldMk cId="2365006287" sldId="2193"/>
            <ac:spMk id="201" creationId="{1726BD3E-877B-4098-9E8D-71732ED9C71C}"/>
          </ac:spMkLst>
        </pc:spChg>
        <pc:spChg chg="mod">
          <ac:chgData name="Aurelien Domont" userId="6da7715ce44349b3" providerId="LiveId" clId="{AFF9B0D5-CA7D-40FB-964A-23276295459E}" dt="2021-07-06T04:55:27.110" v="6436" actId="207"/>
          <ac:spMkLst>
            <pc:docMk/>
            <pc:sldMk cId="2365006287" sldId="2193"/>
            <ac:spMk id="202" creationId="{417DE7D5-87EB-4446-90B6-E380A5B3F9E1}"/>
          </ac:spMkLst>
        </pc:spChg>
        <pc:spChg chg="mod">
          <ac:chgData name="Aurelien Domont" userId="6da7715ce44349b3" providerId="LiveId" clId="{AFF9B0D5-CA7D-40FB-964A-23276295459E}" dt="2021-07-06T04:55:27.110" v="6436" actId="207"/>
          <ac:spMkLst>
            <pc:docMk/>
            <pc:sldMk cId="2365006287" sldId="2193"/>
            <ac:spMk id="203" creationId="{F8234C4E-1277-4509-A12C-171C20B61378}"/>
          </ac:spMkLst>
        </pc:spChg>
        <pc:spChg chg="mod">
          <ac:chgData name="Aurelien Domont" userId="6da7715ce44349b3" providerId="LiveId" clId="{AFF9B0D5-CA7D-40FB-964A-23276295459E}" dt="2021-07-06T04:55:27.110" v="6436" actId="207"/>
          <ac:spMkLst>
            <pc:docMk/>
            <pc:sldMk cId="2365006287" sldId="2193"/>
            <ac:spMk id="204" creationId="{6CD2DCA3-6635-45E3-BAA3-A827175806C8}"/>
          </ac:spMkLst>
        </pc:spChg>
        <pc:spChg chg="mod">
          <ac:chgData name="Aurelien Domont" userId="6da7715ce44349b3" providerId="LiveId" clId="{AFF9B0D5-CA7D-40FB-964A-23276295459E}" dt="2021-07-06T04:55:27.110" v="6436" actId="207"/>
          <ac:spMkLst>
            <pc:docMk/>
            <pc:sldMk cId="2365006287" sldId="2193"/>
            <ac:spMk id="205" creationId="{D0EE785C-B516-4A7F-9FD6-932B3B082390}"/>
          </ac:spMkLst>
        </pc:spChg>
        <pc:spChg chg="mod">
          <ac:chgData name="Aurelien Domont" userId="6da7715ce44349b3" providerId="LiveId" clId="{AFF9B0D5-CA7D-40FB-964A-23276295459E}" dt="2021-07-06T04:55:27.110" v="6436" actId="207"/>
          <ac:spMkLst>
            <pc:docMk/>
            <pc:sldMk cId="2365006287" sldId="2193"/>
            <ac:spMk id="206" creationId="{69F9CB50-A8DF-4971-A970-65EBA0D3708C}"/>
          </ac:spMkLst>
        </pc:spChg>
        <pc:spChg chg="mod">
          <ac:chgData name="Aurelien Domont" userId="6da7715ce44349b3" providerId="LiveId" clId="{AFF9B0D5-CA7D-40FB-964A-23276295459E}" dt="2021-07-06T04:55:27.110" v="6436" actId="207"/>
          <ac:spMkLst>
            <pc:docMk/>
            <pc:sldMk cId="2365006287" sldId="2193"/>
            <ac:spMk id="207" creationId="{3A5C33E5-CB47-49F3-9703-5FABDAB57EC3}"/>
          </ac:spMkLst>
        </pc:spChg>
        <pc:spChg chg="mod">
          <ac:chgData name="Aurelien Domont" userId="6da7715ce44349b3" providerId="LiveId" clId="{AFF9B0D5-CA7D-40FB-964A-23276295459E}" dt="2021-07-06T04:55:27.110" v="6436" actId="207"/>
          <ac:spMkLst>
            <pc:docMk/>
            <pc:sldMk cId="2365006287" sldId="2193"/>
            <ac:spMk id="208" creationId="{85E7AF01-E658-4CF9-91AD-AAA4D538385C}"/>
          </ac:spMkLst>
        </pc:spChg>
        <pc:spChg chg="mod">
          <ac:chgData name="Aurelien Domont" userId="6da7715ce44349b3" providerId="LiveId" clId="{AFF9B0D5-CA7D-40FB-964A-23276295459E}" dt="2021-07-06T04:55:27.110" v="6436" actId="207"/>
          <ac:spMkLst>
            <pc:docMk/>
            <pc:sldMk cId="2365006287" sldId="2193"/>
            <ac:spMk id="209" creationId="{80F74A73-23C5-4D68-9D8A-23DC7F7E918C}"/>
          </ac:spMkLst>
        </pc:spChg>
        <pc:spChg chg="mod">
          <ac:chgData name="Aurelien Domont" userId="6da7715ce44349b3" providerId="LiveId" clId="{AFF9B0D5-CA7D-40FB-964A-23276295459E}" dt="2021-07-06T04:55:27.110" v="6436" actId="207"/>
          <ac:spMkLst>
            <pc:docMk/>
            <pc:sldMk cId="2365006287" sldId="2193"/>
            <ac:spMk id="210" creationId="{1C34C438-EB6D-4823-B4F5-43F46CB4F136}"/>
          </ac:spMkLst>
        </pc:spChg>
        <pc:spChg chg="mod">
          <ac:chgData name="Aurelien Domont" userId="6da7715ce44349b3" providerId="LiveId" clId="{AFF9B0D5-CA7D-40FB-964A-23276295459E}" dt="2021-07-06T04:55:27.110" v="6436" actId="207"/>
          <ac:spMkLst>
            <pc:docMk/>
            <pc:sldMk cId="2365006287" sldId="2193"/>
            <ac:spMk id="211" creationId="{62858DE9-8389-40F0-B1B8-BFA176A1109C}"/>
          </ac:spMkLst>
        </pc:spChg>
        <pc:spChg chg="mod">
          <ac:chgData name="Aurelien Domont" userId="6da7715ce44349b3" providerId="LiveId" clId="{AFF9B0D5-CA7D-40FB-964A-23276295459E}" dt="2021-07-06T04:55:27.110" v="6436" actId="207"/>
          <ac:spMkLst>
            <pc:docMk/>
            <pc:sldMk cId="2365006287" sldId="2193"/>
            <ac:spMk id="212" creationId="{35FA5D01-3B25-4F8D-9A0F-7FFF9F3BE0FB}"/>
          </ac:spMkLst>
        </pc:spChg>
        <pc:spChg chg="mod">
          <ac:chgData name="Aurelien Domont" userId="6da7715ce44349b3" providerId="LiveId" clId="{AFF9B0D5-CA7D-40FB-964A-23276295459E}" dt="2021-07-06T04:55:27.110" v="6436" actId="207"/>
          <ac:spMkLst>
            <pc:docMk/>
            <pc:sldMk cId="2365006287" sldId="2193"/>
            <ac:spMk id="213" creationId="{F07095F0-5F81-4E87-8152-6FA12EAABAAF}"/>
          </ac:spMkLst>
        </pc:spChg>
        <pc:spChg chg="mod">
          <ac:chgData name="Aurelien Domont" userId="6da7715ce44349b3" providerId="LiveId" clId="{AFF9B0D5-CA7D-40FB-964A-23276295459E}" dt="2021-07-06T04:55:27.110" v="6436" actId="207"/>
          <ac:spMkLst>
            <pc:docMk/>
            <pc:sldMk cId="2365006287" sldId="2193"/>
            <ac:spMk id="214" creationId="{6D88220E-9BA8-4095-9058-A84188E97F6B}"/>
          </ac:spMkLst>
        </pc:spChg>
        <pc:spChg chg="mod">
          <ac:chgData name="Aurelien Domont" userId="6da7715ce44349b3" providerId="LiveId" clId="{AFF9B0D5-CA7D-40FB-964A-23276295459E}" dt="2021-07-06T04:55:27.110" v="6436" actId="207"/>
          <ac:spMkLst>
            <pc:docMk/>
            <pc:sldMk cId="2365006287" sldId="2193"/>
            <ac:spMk id="215" creationId="{FA0F2FA6-CE91-4B62-9BA1-78C7638E7621}"/>
          </ac:spMkLst>
        </pc:spChg>
        <pc:spChg chg="mod">
          <ac:chgData name="Aurelien Domont" userId="6da7715ce44349b3" providerId="LiveId" clId="{AFF9B0D5-CA7D-40FB-964A-23276295459E}" dt="2021-07-06T04:55:27.110" v="6436" actId="207"/>
          <ac:spMkLst>
            <pc:docMk/>
            <pc:sldMk cId="2365006287" sldId="2193"/>
            <ac:spMk id="216" creationId="{02503988-11CB-45E2-8EBE-8DB0875F0A48}"/>
          </ac:spMkLst>
        </pc:spChg>
        <pc:spChg chg="mod">
          <ac:chgData name="Aurelien Domont" userId="6da7715ce44349b3" providerId="LiveId" clId="{AFF9B0D5-CA7D-40FB-964A-23276295459E}" dt="2021-07-06T04:55:27.110" v="6436" actId="207"/>
          <ac:spMkLst>
            <pc:docMk/>
            <pc:sldMk cId="2365006287" sldId="2193"/>
            <ac:spMk id="217" creationId="{A2D11221-FFDD-40DB-8071-FB96292CF32F}"/>
          </ac:spMkLst>
        </pc:spChg>
        <pc:spChg chg="mod">
          <ac:chgData name="Aurelien Domont" userId="6da7715ce44349b3" providerId="LiveId" clId="{AFF9B0D5-CA7D-40FB-964A-23276295459E}" dt="2021-07-06T04:55:27.110" v="6436" actId="207"/>
          <ac:spMkLst>
            <pc:docMk/>
            <pc:sldMk cId="2365006287" sldId="2193"/>
            <ac:spMk id="218" creationId="{F89419B7-8002-4A66-8E1F-B15EA2EF54CE}"/>
          </ac:spMkLst>
        </pc:spChg>
        <pc:spChg chg="mod">
          <ac:chgData name="Aurelien Domont" userId="6da7715ce44349b3" providerId="LiveId" clId="{AFF9B0D5-CA7D-40FB-964A-23276295459E}" dt="2021-07-06T04:55:27.110" v="6436" actId="207"/>
          <ac:spMkLst>
            <pc:docMk/>
            <pc:sldMk cId="2365006287" sldId="2193"/>
            <ac:spMk id="219" creationId="{2104C40C-A33D-4E6D-9D98-BC4F83960F51}"/>
          </ac:spMkLst>
        </pc:spChg>
        <pc:spChg chg="mod">
          <ac:chgData name="Aurelien Domont" userId="6da7715ce44349b3" providerId="LiveId" clId="{AFF9B0D5-CA7D-40FB-964A-23276295459E}" dt="2021-07-06T04:55:27.110" v="6436" actId="207"/>
          <ac:spMkLst>
            <pc:docMk/>
            <pc:sldMk cId="2365006287" sldId="2193"/>
            <ac:spMk id="220" creationId="{AE069398-DCB6-4C53-AE55-140B6878653C}"/>
          </ac:spMkLst>
        </pc:spChg>
        <pc:spChg chg="mod">
          <ac:chgData name="Aurelien Domont" userId="6da7715ce44349b3" providerId="LiveId" clId="{AFF9B0D5-CA7D-40FB-964A-23276295459E}" dt="2021-07-06T04:55:27.110" v="6436" actId="207"/>
          <ac:spMkLst>
            <pc:docMk/>
            <pc:sldMk cId="2365006287" sldId="2193"/>
            <ac:spMk id="221" creationId="{EA413C8C-5A81-4A84-9508-42F13C4C0267}"/>
          </ac:spMkLst>
        </pc:spChg>
        <pc:spChg chg="mod">
          <ac:chgData name="Aurelien Domont" userId="6da7715ce44349b3" providerId="LiveId" clId="{AFF9B0D5-CA7D-40FB-964A-23276295459E}" dt="2021-07-06T04:55:27.110" v="6436" actId="207"/>
          <ac:spMkLst>
            <pc:docMk/>
            <pc:sldMk cId="2365006287" sldId="2193"/>
            <ac:spMk id="222" creationId="{6F011FD1-4573-4382-B364-DB6F82607017}"/>
          </ac:spMkLst>
        </pc:spChg>
        <pc:spChg chg="mod">
          <ac:chgData name="Aurelien Domont" userId="6da7715ce44349b3" providerId="LiveId" clId="{AFF9B0D5-CA7D-40FB-964A-23276295459E}" dt="2021-07-06T04:55:27.110" v="6436" actId="207"/>
          <ac:spMkLst>
            <pc:docMk/>
            <pc:sldMk cId="2365006287" sldId="2193"/>
            <ac:spMk id="223" creationId="{B9602CC6-B71E-4ED6-9041-140D27C4E4E3}"/>
          </ac:spMkLst>
        </pc:spChg>
        <pc:spChg chg="mod">
          <ac:chgData name="Aurelien Domont" userId="6da7715ce44349b3" providerId="LiveId" clId="{AFF9B0D5-CA7D-40FB-964A-23276295459E}" dt="2021-07-06T04:55:27.110" v="6436" actId="207"/>
          <ac:spMkLst>
            <pc:docMk/>
            <pc:sldMk cId="2365006287" sldId="2193"/>
            <ac:spMk id="224" creationId="{E713764D-8FD9-4C54-A023-D80F71593A6B}"/>
          </ac:spMkLst>
        </pc:spChg>
        <pc:spChg chg="mod">
          <ac:chgData name="Aurelien Domont" userId="6da7715ce44349b3" providerId="LiveId" clId="{AFF9B0D5-CA7D-40FB-964A-23276295459E}" dt="2021-07-06T04:55:27.110" v="6436" actId="207"/>
          <ac:spMkLst>
            <pc:docMk/>
            <pc:sldMk cId="2365006287" sldId="2193"/>
            <ac:spMk id="225" creationId="{40198528-FAD1-4DF1-BE03-1F5CE0DF5115}"/>
          </ac:spMkLst>
        </pc:spChg>
        <pc:spChg chg="mod">
          <ac:chgData name="Aurelien Domont" userId="6da7715ce44349b3" providerId="LiveId" clId="{AFF9B0D5-CA7D-40FB-964A-23276295459E}" dt="2021-07-06T04:55:27.110" v="6436" actId="207"/>
          <ac:spMkLst>
            <pc:docMk/>
            <pc:sldMk cId="2365006287" sldId="2193"/>
            <ac:spMk id="226" creationId="{FF7CCC2D-2F86-44F8-B589-36D24F6BD3BC}"/>
          </ac:spMkLst>
        </pc:spChg>
        <pc:spChg chg="mod">
          <ac:chgData name="Aurelien Domont" userId="6da7715ce44349b3" providerId="LiveId" clId="{AFF9B0D5-CA7D-40FB-964A-23276295459E}" dt="2021-07-06T04:55:27.110" v="6436" actId="207"/>
          <ac:spMkLst>
            <pc:docMk/>
            <pc:sldMk cId="2365006287" sldId="2193"/>
            <ac:spMk id="227" creationId="{355CCFEB-EFF7-4767-B082-7F25BBEF1865}"/>
          </ac:spMkLst>
        </pc:spChg>
        <pc:spChg chg="mod">
          <ac:chgData name="Aurelien Domont" userId="6da7715ce44349b3" providerId="LiveId" clId="{AFF9B0D5-CA7D-40FB-964A-23276295459E}" dt="2021-07-06T04:55:27.110" v="6436" actId="207"/>
          <ac:spMkLst>
            <pc:docMk/>
            <pc:sldMk cId="2365006287" sldId="2193"/>
            <ac:spMk id="228" creationId="{3FEB8FE2-A508-41DC-AE11-14061B6EABC9}"/>
          </ac:spMkLst>
        </pc:spChg>
        <pc:spChg chg="mod">
          <ac:chgData name="Aurelien Domont" userId="6da7715ce44349b3" providerId="LiveId" clId="{AFF9B0D5-CA7D-40FB-964A-23276295459E}" dt="2021-07-06T04:55:27.110" v="6436" actId="207"/>
          <ac:spMkLst>
            <pc:docMk/>
            <pc:sldMk cId="2365006287" sldId="2193"/>
            <ac:spMk id="229" creationId="{B264EC5D-A47A-48AA-B4C5-9EF7968CDDAF}"/>
          </ac:spMkLst>
        </pc:spChg>
        <pc:spChg chg="mod">
          <ac:chgData name="Aurelien Domont" userId="6da7715ce44349b3" providerId="LiveId" clId="{AFF9B0D5-CA7D-40FB-964A-23276295459E}" dt="2021-07-06T04:55:27.110" v="6436" actId="207"/>
          <ac:spMkLst>
            <pc:docMk/>
            <pc:sldMk cId="2365006287" sldId="2193"/>
            <ac:spMk id="230" creationId="{4F1CECCC-B7AE-4091-99C7-3D8A57509494}"/>
          </ac:spMkLst>
        </pc:spChg>
        <pc:spChg chg="mod">
          <ac:chgData name="Aurelien Domont" userId="6da7715ce44349b3" providerId="LiveId" clId="{AFF9B0D5-CA7D-40FB-964A-23276295459E}" dt="2021-07-06T04:55:27.110" v="6436" actId="207"/>
          <ac:spMkLst>
            <pc:docMk/>
            <pc:sldMk cId="2365006287" sldId="2193"/>
            <ac:spMk id="231" creationId="{9D9F2C61-12B2-4CFC-9F59-A5D246962912}"/>
          </ac:spMkLst>
        </pc:spChg>
        <pc:spChg chg="mod">
          <ac:chgData name="Aurelien Domont" userId="6da7715ce44349b3" providerId="LiveId" clId="{AFF9B0D5-CA7D-40FB-964A-23276295459E}" dt="2021-07-06T04:55:27.110" v="6436" actId="207"/>
          <ac:spMkLst>
            <pc:docMk/>
            <pc:sldMk cId="2365006287" sldId="2193"/>
            <ac:spMk id="232" creationId="{038E4FC5-3825-4C9D-9C75-4359EB4187B2}"/>
          </ac:spMkLst>
        </pc:spChg>
        <pc:spChg chg="mod">
          <ac:chgData name="Aurelien Domont" userId="6da7715ce44349b3" providerId="LiveId" clId="{AFF9B0D5-CA7D-40FB-964A-23276295459E}" dt="2021-07-06T04:55:27.110" v="6436" actId="207"/>
          <ac:spMkLst>
            <pc:docMk/>
            <pc:sldMk cId="2365006287" sldId="2193"/>
            <ac:spMk id="233" creationId="{63489E06-23B3-4FDE-985E-9363B3EC7F8A}"/>
          </ac:spMkLst>
        </pc:spChg>
        <pc:spChg chg="mod">
          <ac:chgData name="Aurelien Domont" userId="6da7715ce44349b3" providerId="LiveId" clId="{AFF9B0D5-CA7D-40FB-964A-23276295459E}" dt="2021-07-06T04:55:27.110" v="6436" actId="207"/>
          <ac:spMkLst>
            <pc:docMk/>
            <pc:sldMk cId="2365006287" sldId="2193"/>
            <ac:spMk id="234" creationId="{79221B8C-59C2-42DB-BF50-6900D8AEB4D8}"/>
          </ac:spMkLst>
        </pc:spChg>
        <pc:spChg chg="mod">
          <ac:chgData name="Aurelien Domont" userId="6da7715ce44349b3" providerId="LiveId" clId="{AFF9B0D5-CA7D-40FB-964A-23276295459E}" dt="2021-07-06T04:55:27.110" v="6436" actId="207"/>
          <ac:spMkLst>
            <pc:docMk/>
            <pc:sldMk cId="2365006287" sldId="2193"/>
            <ac:spMk id="235" creationId="{8A915F83-38FE-40E1-B654-F200BD2669BB}"/>
          </ac:spMkLst>
        </pc:spChg>
        <pc:spChg chg="mod">
          <ac:chgData name="Aurelien Domont" userId="6da7715ce44349b3" providerId="LiveId" clId="{AFF9B0D5-CA7D-40FB-964A-23276295459E}" dt="2021-07-06T04:55:27.110" v="6436" actId="207"/>
          <ac:spMkLst>
            <pc:docMk/>
            <pc:sldMk cId="2365006287" sldId="2193"/>
            <ac:spMk id="236" creationId="{9A5EE1FD-B9F0-4328-8FAD-B440111B9798}"/>
          </ac:spMkLst>
        </pc:spChg>
        <pc:spChg chg="mod">
          <ac:chgData name="Aurelien Domont" userId="6da7715ce44349b3" providerId="LiveId" clId="{AFF9B0D5-CA7D-40FB-964A-23276295459E}" dt="2021-07-06T04:55:27.110" v="6436" actId="207"/>
          <ac:spMkLst>
            <pc:docMk/>
            <pc:sldMk cId="2365006287" sldId="2193"/>
            <ac:spMk id="237" creationId="{B1485E9E-08D1-4969-9994-4C08790CE3A9}"/>
          </ac:spMkLst>
        </pc:spChg>
        <pc:spChg chg="mod">
          <ac:chgData name="Aurelien Domont" userId="6da7715ce44349b3" providerId="LiveId" clId="{AFF9B0D5-CA7D-40FB-964A-23276295459E}" dt="2021-07-06T04:55:27.110" v="6436" actId="207"/>
          <ac:spMkLst>
            <pc:docMk/>
            <pc:sldMk cId="2365006287" sldId="2193"/>
            <ac:spMk id="238" creationId="{F9145D23-22F4-41E3-9E8D-910174B5DBB8}"/>
          </ac:spMkLst>
        </pc:spChg>
        <pc:spChg chg="mod">
          <ac:chgData name="Aurelien Domont" userId="6da7715ce44349b3" providerId="LiveId" clId="{AFF9B0D5-CA7D-40FB-964A-23276295459E}" dt="2021-07-06T04:55:27.110" v="6436" actId="207"/>
          <ac:spMkLst>
            <pc:docMk/>
            <pc:sldMk cId="2365006287" sldId="2193"/>
            <ac:spMk id="239" creationId="{A9742A27-D2E8-4A37-AA55-EB1308A6DA74}"/>
          </ac:spMkLst>
        </pc:spChg>
        <pc:spChg chg="mod">
          <ac:chgData name="Aurelien Domont" userId="6da7715ce44349b3" providerId="LiveId" clId="{AFF9B0D5-CA7D-40FB-964A-23276295459E}" dt="2021-07-06T04:55:27.110" v="6436" actId="207"/>
          <ac:spMkLst>
            <pc:docMk/>
            <pc:sldMk cId="2365006287" sldId="2193"/>
            <ac:spMk id="240" creationId="{A2DC8A6B-373E-4CAF-A535-BF54006E617E}"/>
          </ac:spMkLst>
        </pc:spChg>
        <pc:spChg chg="mod">
          <ac:chgData name="Aurelien Domont" userId="6da7715ce44349b3" providerId="LiveId" clId="{AFF9B0D5-CA7D-40FB-964A-23276295459E}" dt="2021-07-06T04:55:27.110" v="6436" actId="207"/>
          <ac:spMkLst>
            <pc:docMk/>
            <pc:sldMk cId="2365006287" sldId="2193"/>
            <ac:spMk id="241" creationId="{48655EB1-407B-43A0-8829-E858DAE63D9D}"/>
          </ac:spMkLst>
        </pc:spChg>
        <pc:spChg chg="mod">
          <ac:chgData name="Aurelien Domont" userId="6da7715ce44349b3" providerId="LiveId" clId="{AFF9B0D5-CA7D-40FB-964A-23276295459E}" dt="2021-07-06T04:55:27.110" v="6436" actId="207"/>
          <ac:spMkLst>
            <pc:docMk/>
            <pc:sldMk cId="2365006287" sldId="2193"/>
            <ac:spMk id="242" creationId="{B70CA7DC-536C-4452-8F7E-D2876C88E093}"/>
          </ac:spMkLst>
        </pc:spChg>
        <pc:spChg chg="mod">
          <ac:chgData name="Aurelien Domont" userId="6da7715ce44349b3" providerId="LiveId" clId="{AFF9B0D5-CA7D-40FB-964A-23276295459E}" dt="2021-07-06T04:55:27.110" v="6436" actId="207"/>
          <ac:spMkLst>
            <pc:docMk/>
            <pc:sldMk cId="2365006287" sldId="2193"/>
            <ac:spMk id="243" creationId="{9790A531-4D0D-41B6-94DE-DB614334F6D0}"/>
          </ac:spMkLst>
        </pc:spChg>
        <pc:spChg chg="mod">
          <ac:chgData name="Aurelien Domont" userId="6da7715ce44349b3" providerId="LiveId" clId="{AFF9B0D5-CA7D-40FB-964A-23276295459E}" dt="2021-07-06T04:55:27.110" v="6436" actId="207"/>
          <ac:spMkLst>
            <pc:docMk/>
            <pc:sldMk cId="2365006287" sldId="2193"/>
            <ac:spMk id="244" creationId="{98351D31-2037-45FE-AB54-87A5B51FBFDF}"/>
          </ac:spMkLst>
        </pc:spChg>
        <pc:spChg chg="mod">
          <ac:chgData name="Aurelien Domont" userId="6da7715ce44349b3" providerId="LiveId" clId="{AFF9B0D5-CA7D-40FB-964A-23276295459E}" dt="2021-07-06T04:55:27.110" v="6436" actId="207"/>
          <ac:spMkLst>
            <pc:docMk/>
            <pc:sldMk cId="2365006287" sldId="2193"/>
            <ac:spMk id="245" creationId="{8C3D4576-60DD-4805-812B-AA65ED83D9BA}"/>
          </ac:spMkLst>
        </pc:spChg>
        <pc:spChg chg="mod">
          <ac:chgData name="Aurelien Domont" userId="6da7715ce44349b3" providerId="LiveId" clId="{AFF9B0D5-CA7D-40FB-964A-23276295459E}" dt="2021-07-06T04:55:27.110" v="6436" actId="207"/>
          <ac:spMkLst>
            <pc:docMk/>
            <pc:sldMk cId="2365006287" sldId="2193"/>
            <ac:spMk id="246" creationId="{2195CA09-EFC7-4007-A7A7-10C502924E47}"/>
          </ac:spMkLst>
        </pc:spChg>
        <pc:spChg chg="mod">
          <ac:chgData name="Aurelien Domont" userId="6da7715ce44349b3" providerId="LiveId" clId="{AFF9B0D5-CA7D-40FB-964A-23276295459E}" dt="2021-07-06T04:55:27.110" v="6436" actId="207"/>
          <ac:spMkLst>
            <pc:docMk/>
            <pc:sldMk cId="2365006287" sldId="2193"/>
            <ac:spMk id="247" creationId="{07127B3D-D91B-4436-9C4C-CEB05642FF43}"/>
          </ac:spMkLst>
        </pc:spChg>
        <pc:spChg chg="mod">
          <ac:chgData name="Aurelien Domont" userId="6da7715ce44349b3" providerId="LiveId" clId="{AFF9B0D5-CA7D-40FB-964A-23276295459E}" dt="2021-07-06T04:55:27.110" v="6436" actId="207"/>
          <ac:spMkLst>
            <pc:docMk/>
            <pc:sldMk cId="2365006287" sldId="2193"/>
            <ac:spMk id="248" creationId="{C7E65F49-CA35-4C6F-99EF-A86431087C5C}"/>
          </ac:spMkLst>
        </pc:spChg>
        <pc:spChg chg="mod">
          <ac:chgData name="Aurelien Domont" userId="6da7715ce44349b3" providerId="LiveId" clId="{AFF9B0D5-CA7D-40FB-964A-23276295459E}" dt="2021-07-06T04:55:27.110" v="6436" actId="207"/>
          <ac:spMkLst>
            <pc:docMk/>
            <pc:sldMk cId="2365006287" sldId="2193"/>
            <ac:spMk id="249" creationId="{3CF81980-D6F0-499D-B952-0CCA99157FF3}"/>
          </ac:spMkLst>
        </pc:spChg>
        <pc:spChg chg="mod">
          <ac:chgData name="Aurelien Domont" userId="6da7715ce44349b3" providerId="LiveId" clId="{AFF9B0D5-CA7D-40FB-964A-23276295459E}" dt="2021-07-06T04:55:27.110" v="6436" actId="207"/>
          <ac:spMkLst>
            <pc:docMk/>
            <pc:sldMk cId="2365006287" sldId="2193"/>
            <ac:spMk id="250" creationId="{66CF125E-C950-46E1-AEB4-530BE2B6DB79}"/>
          </ac:spMkLst>
        </pc:spChg>
        <pc:spChg chg="mod">
          <ac:chgData name="Aurelien Domont" userId="6da7715ce44349b3" providerId="LiveId" clId="{AFF9B0D5-CA7D-40FB-964A-23276295459E}" dt="2021-07-06T04:55:27.110" v="6436" actId="207"/>
          <ac:spMkLst>
            <pc:docMk/>
            <pc:sldMk cId="2365006287" sldId="2193"/>
            <ac:spMk id="251" creationId="{E83F2309-B010-4B76-8F84-FB31FFAF091C}"/>
          </ac:spMkLst>
        </pc:spChg>
        <pc:spChg chg="mod">
          <ac:chgData name="Aurelien Domont" userId="6da7715ce44349b3" providerId="LiveId" clId="{AFF9B0D5-CA7D-40FB-964A-23276295459E}" dt="2021-07-06T04:55:27.110" v="6436" actId="207"/>
          <ac:spMkLst>
            <pc:docMk/>
            <pc:sldMk cId="2365006287" sldId="2193"/>
            <ac:spMk id="252" creationId="{BD6CF8CB-15A3-4ABD-AA76-432170908F04}"/>
          </ac:spMkLst>
        </pc:spChg>
        <pc:spChg chg="mod">
          <ac:chgData name="Aurelien Domont" userId="6da7715ce44349b3" providerId="LiveId" clId="{AFF9B0D5-CA7D-40FB-964A-23276295459E}" dt="2021-07-06T04:55:27.110" v="6436" actId="207"/>
          <ac:spMkLst>
            <pc:docMk/>
            <pc:sldMk cId="2365006287" sldId="2193"/>
            <ac:spMk id="253" creationId="{16517373-9328-4E32-9357-EDC75FAFB99B}"/>
          </ac:spMkLst>
        </pc:spChg>
        <pc:spChg chg="mod">
          <ac:chgData name="Aurelien Domont" userId="6da7715ce44349b3" providerId="LiveId" clId="{AFF9B0D5-CA7D-40FB-964A-23276295459E}" dt="2021-07-06T04:55:27.110" v="6436" actId="207"/>
          <ac:spMkLst>
            <pc:docMk/>
            <pc:sldMk cId="2365006287" sldId="2193"/>
            <ac:spMk id="254" creationId="{5C6F5702-5102-42BA-987D-E7B0AA7A99F5}"/>
          </ac:spMkLst>
        </pc:spChg>
        <pc:spChg chg="mod">
          <ac:chgData name="Aurelien Domont" userId="6da7715ce44349b3" providerId="LiveId" clId="{AFF9B0D5-CA7D-40FB-964A-23276295459E}" dt="2021-07-06T04:55:27.110" v="6436" actId="207"/>
          <ac:spMkLst>
            <pc:docMk/>
            <pc:sldMk cId="2365006287" sldId="2193"/>
            <ac:spMk id="255" creationId="{1DAAAD97-AE64-4EA0-95F4-DD6481A8F3FB}"/>
          </ac:spMkLst>
        </pc:spChg>
        <pc:spChg chg="mod">
          <ac:chgData name="Aurelien Domont" userId="6da7715ce44349b3" providerId="LiveId" clId="{AFF9B0D5-CA7D-40FB-964A-23276295459E}" dt="2021-07-06T04:55:27.110" v="6436" actId="207"/>
          <ac:spMkLst>
            <pc:docMk/>
            <pc:sldMk cId="2365006287" sldId="2193"/>
            <ac:spMk id="256" creationId="{FD77AEA8-D3B9-4B03-AAC1-D84292DB27F0}"/>
          </ac:spMkLst>
        </pc:spChg>
        <pc:spChg chg="mod">
          <ac:chgData name="Aurelien Domont" userId="6da7715ce44349b3" providerId="LiveId" clId="{AFF9B0D5-CA7D-40FB-964A-23276295459E}" dt="2021-07-06T04:55:27.110" v="6436" actId="207"/>
          <ac:spMkLst>
            <pc:docMk/>
            <pc:sldMk cId="2365006287" sldId="2193"/>
            <ac:spMk id="257" creationId="{C127406E-D506-41FE-A862-08B214DF7054}"/>
          </ac:spMkLst>
        </pc:spChg>
        <pc:spChg chg="mod">
          <ac:chgData name="Aurelien Domont" userId="6da7715ce44349b3" providerId="LiveId" clId="{AFF9B0D5-CA7D-40FB-964A-23276295459E}" dt="2021-07-06T04:55:27.110" v="6436" actId="207"/>
          <ac:spMkLst>
            <pc:docMk/>
            <pc:sldMk cId="2365006287" sldId="2193"/>
            <ac:spMk id="258" creationId="{5DDC51BE-2E59-4C3A-8264-BEC5D35F1086}"/>
          </ac:spMkLst>
        </pc:spChg>
        <pc:spChg chg="mod">
          <ac:chgData name="Aurelien Domont" userId="6da7715ce44349b3" providerId="LiveId" clId="{AFF9B0D5-CA7D-40FB-964A-23276295459E}" dt="2021-07-06T04:55:27.110" v="6436" actId="207"/>
          <ac:spMkLst>
            <pc:docMk/>
            <pc:sldMk cId="2365006287" sldId="2193"/>
            <ac:spMk id="259" creationId="{CA2283F1-72A8-46AB-A13B-BA6216774DA7}"/>
          </ac:spMkLst>
        </pc:spChg>
        <pc:spChg chg="mod">
          <ac:chgData name="Aurelien Domont" userId="6da7715ce44349b3" providerId="LiveId" clId="{AFF9B0D5-CA7D-40FB-964A-23276295459E}" dt="2021-07-06T04:55:27.110" v="6436" actId="207"/>
          <ac:spMkLst>
            <pc:docMk/>
            <pc:sldMk cId="2365006287" sldId="2193"/>
            <ac:spMk id="260" creationId="{19CBF73B-27AF-4FD5-B04C-456C7BBDDE93}"/>
          </ac:spMkLst>
        </pc:spChg>
        <pc:spChg chg="mod">
          <ac:chgData name="Aurelien Domont" userId="6da7715ce44349b3" providerId="LiveId" clId="{AFF9B0D5-CA7D-40FB-964A-23276295459E}" dt="2021-07-06T04:55:27.110" v="6436" actId="207"/>
          <ac:spMkLst>
            <pc:docMk/>
            <pc:sldMk cId="2365006287" sldId="2193"/>
            <ac:spMk id="261" creationId="{CB30A25C-C0BC-40C3-85C7-63C06C8CA694}"/>
          </ac:spMkLst>
        </pc:spChg>
        <pc:spChg chg="mod">
          <ac:chgData name="Aurelien Domont" userId="6da7715ce44349b3" providerId="LiveId" clId="{AFF9B0D5-CA7D-40FB-964A-23276295459E}" dt="2021-07-06T04:55:27.110" v="6436" actId="207"/>
          <ac:spMkLst>
            <pc:docMk/>
            <pc:sldMk cId="2365006287" sldId="2193"/>
            <ac:spMk id="262" creationId="{BB2E7AAB-6375-440E-8852-5A60B21E702E}"/>
          </ac:spMkLst>
        </pc:spChg>
        <pc:spChg chg="mod">
          <ac:chgData name="Aurelien Domont" userId="6da7715ce44349b3" providerId="LiveId" clId="{AFF9B0D5-CA7D-40FB-964A-23276295459E}" dt="2021-07-06T04:55:27.110" v="6436" actId="207"/>
          <ac:spMkLst>
            <pc:docMk/>
            <pc:sldMk cId="2365006287" sldId="2193"/>
            <ac:spMk id="263" creationId="{961625A5-71D7-4650-BA45-0A4B47CD917E}"/>
          </ac:spMkLst>
        </pc:spChg>
        <pc:spChg chg="mod">
          <ac:chgData name="Aurelien Domont" userId="6da7715ce44349b3" providerId="LiveId" clId="{AFF9B0D5-CA7D-40FB-964A-23276295459E}" dt="2021-07-06T04:55:27.110" v="6436" actId="207"/>
          <ac:spMkLst>
            <pc:docMk/>
            <pc:sldMk cId="2365006287" sldId="2193"/>
            <ac:spMk id="264" creationId="{448618C1-00F6-490C-AD92-E80B56FBF251}"/>
          </ac:spMkLst>
        </pc:spChg>
        <pc:spChg chg="mod">
          <ac:chgData name="Aurelien Domont" userId="6da7715ce44349b3" providerId="LiveId" clId="{AFF9B0D5-CA7D-40FB-964A-23276295459E}" dt="2021-07-06T04:55:27.110" v="6436" actId="207"/>
          <ac:spMkLst>
            <pc:docMk/>
            <pc:sldMk cId="2365006287" sldId="2193"/>
            <ac:spMk id="265" creationId="{AE388402-2123-4899-BB6F-5DEB0273117E}"/>
          </ac:spMkLst>
        </pc:spChg>
        <pc:spChg chg="mod">
          <ac:chgData name="Aurelien Domont" userId="6da7715ce44349b3" providerId="LiveId" clId="{AFF9B0D5-CA7D-40FB-964A-23276295459E}" dt="2021-07-06T04:55:27.110" v="6436" actId="207"/>
          <ac:spMkLst>
            <pc:docMk/>
            <pc:sldMk cId="2365006287" sldId="2193"/>
            <ac:spMk id="266" creationId="{CC680189-A550-4858-B692-80EA0F57D67A}"/>
          </ac:spMkLst>
        </pc:spChg>
        <pc:spChg chg="mod">
          <ac:chgData name="Aurelien Domont" userId="6da7715ce44349b3" providerId="LiveId" clId="{AFF9B0D5-CA7D-40FB-964A-23276295459E}" dt="2021-07-06T04:55:27.110" v="6436" actId="207"/>
          <ac:spMkLst>
            <pc:docMk/>
            <pc:sldMk cId="2365006287" sldId="2193"/>
            <ac:spMk id="267" creationId="{BEC58D69-1743-401D-995B-3DABB105C38E}"/>
          </ac:spMkLst>
        </pc:spChg>
        <pc:spChg chg="mod">
          <ac:chgData name="Aurelien Domont" userId="6da7715ce44349b3" providerId="LiveId" clId="{AFF9B0D5-CA7D-40FB-964A-23276295459E}" dt="2021-07-06T04:55:27.110" v="6436" actId="207"/>
          <ac:spMkLst>
            <pc:docMk/>
            <pc:sldMk cId="2365006287" sldId="2193"/>
            <ac:spMk id="268" creationId="{B2308CBA-51DB-4327-8C83-430D1BC9B381}"/>
          </ac:spMkLst>
        </pc:spChg>
        <pc:spChg chg="mod">
          <ac:chgData name="Aurelien Domont" userId="6da7715ce44349b3" providerId="LiveId" clId="{AFF9B0D5-CA7D-40FB-964A-23276295459E}" dt="2021-07-06T04:55:27.110" v="6436" actId="207"/>
          <ac:spMkLst>
            <pc:docMk/>
            <pc:sldMk cId="2365006287" sldId="2193"/>
            <ac:spMk id="269" creationId="{02D02326-76F8-489F-902D-E13229606DF4}"/>
          </ac:spMkLst>
        </pc:spChg>
        <pc:spChg chg="mod">
          <ac:chgData name="Aurelien Domont" userId="6da7715ce44349b3" providerId="LiveId" clId="{AFF9B0D5-CA7D-40FB-964A-23276295459E}" dt="2021-07-06T04:55:27.110" v="6436" actId="207"/>
          <ac:spMkLst>
            <pc:docMk/>
            <pc:sldMk cId="2365006287" sldId="2193"/>
            <ac:spMk id="270" creationId="{82A7A041-2D44-4311-932E-FF002429C68A}"/>
          </ac:spMkLst>
        </pc:spChg>
        <pc:spChg chg="mod">
          <ac:chgData name="Aurelien Domont" userId="6da7715ce44349b3" providerId="LiveId" clId="{AFF9B0D5-CA7D-40FB-964A-23276295459E}" dt="2021-07-06T04:55:27.110" v="6436" actId="207"/>
          <ac:spMkLst>
            <pc:docMk/>
            <pc:sldMk cId="2365006287" sldId="2193"/>
            <ac:spMk id="271" creationId="{B75C87F4-4973-47EC-BF93-3A8A98330813}"/>
          </ac:spMkLst>
        </pc:spChg>
        <pc:spChg chg="mod">
          <ac:chgData name="Aurelien Domont" userId="6da7715ce44349b3" providerId="LiveId" clId="{AFF9B0D5-CA7D-40FB-964A-23276295459E}" dt="2021-07-06T04:55:27.110" v="6436" actId="207"/>
          <ac:spMkLst>
            <pc:docMk/>
            <pc:sldMk cId="2365006287" sldId="2193"/>
            <ac:spMk id="272" creationId="{C9320842-AFED-47CC-94CD-949B95E4D937}"/>
          </ac:spMkLst>
        </pc:spChg>
        <pc:spChg chg="mod">
          <ac:chgData name="Aurelien Domont" userId="6da7715ce44349b3" providerId="LiveId" clId="{AFF9B0D5-CA7D-40FB-964A-23276295459E}" dt="2021-07-06T04:55:27.110" v="6436" actId="207"/>
          <ac:spMkLst>
            <pc:docMk/>
            <pc:sldMk cId="2365006287" sldId="2193"/>
            <ac:spMk id="273" creationId="{ED2EA6C0-2417-4198-9D9D-07017AF226EB}"/>
          </ac:spMkLst>
        </pc:spChg>
        <pc:spChg chg="mod">
          <ac:chgData name="Aurelien Domont" userId="6da7715ce44349b3" providerId="LiveId" clId="{AFF9B0D5-CA7D-40FB-964A-23276295459E}" dt="2021-07-06T04:55:27.110" v="6436" actId="207"/>
          <ac:spMkLst>
            <pc:docMk/>
            <pc:sldMk cId="2365006287" sldId="2193"/>
            <ac:spMk id="274" creationId="{98B7D588-D563-4CB9-B794-36C95C9DD022}"/>
          </ac:spMkLst>
        </pc:spChg>
        <pc:spChg chg="mod">
          <ac:chgData name="Aurelien Domont" userId="6da7715ce44349b3" providerId="LiveId" clId="{AFF9B0D5-CA7D-40FB-964A-23276295459E}" dt="2021-07-06T04:55:27.110" v="6436" actId="207"/>
          <ac:spMkLst>
            <pc:docMk/>
            <pc:sldMk cId="2365006287" sldId="2193"/>
            <ac:spMk id="275" creationId="{BB8E45AA-5429-4C1A-B292-889E0D29C23D}"/>
          </ac:spMkLst>
        </pc:spChg>
        <pc:spChg chg="mod">
          <ac:chgData name="Aurelien Domont" userId="6da7715ce44349b3" providerId="LiveId" clId="{AFF9B0D5-CA7D-40FB-964A-23276295459E}" dt="2021-07-06T04:55:27.110" v="6436" actId="207"/>
          <ac:spMkLst>
            <pc:docMk/>
            <pc:sldMk cId="2365006287" sldId="2193"/>
            <ac:spMk id="276" creationId="{6D62197F-F232-483F-BD40-DE7097ED8BCC}"/>
          </ac:spMkLst>
        </pc:spChg>
        <pc:spChg chg="mod">
          <ac:chgData name="Aurelien Domont" userId="6da7715ce44349b3" providerId="LiveId" clId="{AFF9B0D5-CA7D-40FB-964A-23276295459E}" dt="2021-07-06T04:55:27.110" v="6436" actId="207"/>
          <ac:spMkLst>
            <pc:docMk/>
            <pc:sldMk cId="2365006287" sldId="2193"/>
            <ac:spMk id="277" creationId="{D18B01B6-7A89-49E8-ACED-449071B54FF2}"/>
          </ac:spMkLst>
        </pc:spChg>
        <pc:spChg chg="mod">
          <ac:chgData name="Aurelien Domont" userId="6da7715ce44349b3" providerId="LiveId" clId="{AFF9B0D5-CA7D-40FB-964A-23276295459E}" dt="2021-07-06T04:55:27.110" v="6436" actId="207"/>
          <ac:spMkLst>
            <pc:docMk/>
            <pc:sldMk cId="2365006287" sldId="2193"/>
            <ac:spMk id="278" creationId="{F69E19C1-53F0-4BF5-81BD-52D5EE13A71E}"/>
          </ac:spMkLst>
        </pc:spChg>
        <pc:spChg chg="mod">
          <ac:chgData name="Aurelien Domont" userId="6da7715ce44349b3" providerId="LiveId" clId="{AFF9B0D5-CA7D-40FB-964A-23276295459E}" dt="2021-07-06T04:55:27.110" v="6436" actId="207"/>
          <ac:spMkLst>
            <pc:docMk/>
            <pc:sldMk cId="2365006287" sldId="2193"/>
            <ac:spMk id="279" creationId="{264919A1-9FA5-47E9-AE8B-4EC40CDB2256}"/>
          </ac:spMkLst>
        </pc:spChg>
        <pc:spChg chg="mod">
          <ac:chgData name="Aurelien Domont" userId="6da7715ce44349b3" providerId="LiveId" clId="{AFF9B0D5-CA7D-40FB-964A-23276295459E}" dt="2021-07-06T04:55:27.110" v="6436" actId="207"/>
          <ac:spMkLst>
            <pc:docMk/>
            <pc:sldMk cId="2365006287" sldId="2193"/>
            <ac:spMk id="280" creationId="{E4146AC9-FAA9-4FDA-B045-443AC2FD4ACF}"/>
          </ac:spMkLst>
        </pc:spChg>
        <pc:spChg chg="mod">
          <ac:chgData name="Aurelien Domont" userId="6da7715ce44349b3" providerId="LiveId" clId="{AFF9B0D5-CA7D-40FB-964A-23276295459E}" dt="2021-07-06T04:55:27.110" v="6436" actId="207"/>
          <ac:spMkLst>
            <pc:docMk/>
            <pc:sldMk cId="2365006287" sldId="2193"/>
            <ac:spMk id="281" creationId="{F23081F6-AB2E-4599-AF93-E2918EB05AAA}"/>
          </ac:spMkLst>
        </pc:spChg>
        <pc:spChg chg="mod">
          <ac:chgData name="Aurelien Domont" userId="6da7715ce44349b3" providerId="LiveId" clId="{AFF9B0D5-CA7D-40FB-964A-23276295459E}" dt="2021-07-06T04:55:27.110" v="6436" actId="207"/>
          <ac:spMkLst>
            <pc:docMk/>
            <pc:sldMk cId="2365006287" sldId="2193"/>
            <ac:spMk id="282" creationId="{DE94D9E9-CBB8-44AA-A4E5-8CE0C707EF6C}"/>
          </ac:spMkLst>
        </pc:spChg>
        <pc:spChg chg="mod">
          <ac:chgData name="Aurelien Domont" userId="6da7715ce44349b3" providerId="LiveId" clId="{AFF9B0D5-CA7D-40FB-964A-23276295459E}" dt="2021-07-06T04:55:27.110" v="6436" actId="207"/>
          <ac:spMkLst>
            <pc:docMk/>
            <pc:sldMk cId="2365006287" sldId="2193"/>
            <ac:spMk id="283" creationId="{8B25ABEE-9536-4BE8-94F1-AAD91DBA02D5}"/>
          </ac:spMkLst>
        </pc:spChg>
        <pc:spChg chg="mod">
          <ac:chgData name="Aurelien Domont" userId="6da7715ce44349b3" providerId="LiveId" clId="{AFF9B0D5-CA7D-40FB-964A-23276295459E}" dt="2021-07-06T04:55:27.110" v="6436" actId="207"/>
          <ac:spMkLst>
            <pc:docMk/>
            <pc:sldMk cId="2365006287" sldId="2193"/>
            <ac:spMk id="284" creationId="{1D668561-C8ED-4D80-BF96-03CE41435EEC}"/>
          </ac:spMkLst>
        </pc:spChg>
        <pc:spChg chg="mod">
          <ac:chgData name="Aurelien Domont" userId="6da7715ce44349b3" providerId="LiveId" clId="{AFF9B0D5-CA7D-40FB-964A-23276295459E}" dt="2021-07-06T04:55:27.110" v="6436" actId="207"/>
          <ac:spMkLst>
            <pc:docMk/>
            <pc:sldMk cId="2365006287" sldId="2193"/>
            <ac:spMk id="285" creationId="{98B10F92-DA53-484B-8844-DE36C140D00E}"/>
          </ac:spMkLst>
        </pc:spChg>
        <pc:spChg chg="mod">
          <ac:chgData name="Aurelien Domont" userId="6da7715ce44349b3" providerId="LiveId" clId="{AFF9B0D5-CA7D-40FB-964A-23276295459E}" dt="2021-07-06T04:55:27.110" v="6436" actId="207"/>
          <ac:spMkLst>
            <pc:docMk/>
            <pc:sldMk cId="2365006287" sldId="2193"/>
            <ac:spMk id="286" creationId="{70B179E6-E53C-48F0-874F-640E3D3516FA}"/>
          </ac:spMkLst>
        </pc:spChg>
        <pc:spChg chg="add del mod">
          <ac:chgData name="Aurelien Domont" userId="6da7715ce44349b3" providerId="LiveId" clId="{AFF9B0D5-CA7D-40FB-964A-23276295459E}" dt="2021-07-06T04:55:36.891" v="6440" actId="478"/>
          <ac:spMkLst>
            <pc:docMk/>
            <pc:sldMk cId="2365006287" sldId="2193"/>
            <ac:spMk id="287" creationId="{CF08BEEC-A553-4644-B181-2A8A18463B96}"/>
          </ac:spMkLst>
        </pc:spChg>
        <pc:grpChg chg="mod">
          <ac:chgData name="Aurelien Domont" userId="6da7715ce44349b3" providerId="LiveId" clId="{AFF9B0D5-CA7D-40FB-964A-23276295459E}" dt="2021-07-06T04:55:27.110" v="6436" actId="207"/>
          <ac:grpSpMkLst>
            <pc:docMk/>
            <pc:sldMk cId="2365006287" sldId="2193"/>
            <ac:grpSpMk id="15" creationId="{9C0E45AE-B2E6-4B14-B298-BE405EA25E84}"/>
          </ac:grpSpMkLst>
        </pc:grpChg>
        <pc:grpChg chg="mod">
          <ac:chgData name="Aurelien Domont" userId="6da7715ce44349b3" providerId="LiveId" clId="{AFF9B0D5-CA7D-40FB-964A-23276295459E}" dt="2021-07-06T04:55:27.110" v="6436" actId="207"/>
          <ac:grpSpMkLst>
            <pc:docMk/>
            <pc:sldMk cId="2365006287" sldId="2193"/>
            <ac:grpSpMk id="17" creationId="{D7FD3650-AC39-4106-8A94-C39AD36375A5}"/>
          </ac:grpSpMkLst>
        </pc:grpChg>
        <pc:grpChg chg="mod">
          <ac:chgData name="Aurelien Domont" userId="6da7715ce44349b3" providerId="LiveId" clId="{AFF9B0D5-CA7D-40FB-964A-23276295459E}" dt="2021-07-06T04:55:27.110" v="6436" actId="207"/>
          <ac:grpSpMkLst>
            <pc:docMk/>
            <pc:sldMk cId="2365006287" sldId="2193"/>
            <ac:grpSpMk id="21" creationId="{968782E9-CA2E-480E-8CE1-A8E01F2D48CD}"/>
          </ac:grpSpMkLst>
        </pc:grpChg>
        <pc:grpChg chg="mod">
          <ac:chgData name="Aurelien Domont" userId="6da7715ce44349b3" providerId="LiveId" clId="{AFF9B0D5-CA7D-40FB-964A-23276295459E}" dt="2021-07-06T04:55:27.110" v="6436" actId="207"/>
          <ac:grpSpMkLst>
            <pc:docMk/>
            <pc:sldMk cId="2365006287" sldId="2193"/>
            <ac:grpSpMk id="28" creationId="{EE95D2F9-12D6-4383-9822-1B3404DCE0BA}"/>
          </ac:grpSpMkLst>
        </pc:grpChg>
        <pc:grpChg chg="mod">
          <ac:chgData name="Aurelien Domont" userId="6da7715ce44349b3" providerId="LiveId" clId="{AFF9B0D5-CA7D-40FB-964A-23276295459E}" dt="2021-07-06T04:55:27.110" v="6436" actId="207"/>
          <ac:grpSpMkLst>
            <pc:docMk/>
            <pc:sldMk cId="2365006287" sldId="2193"/>
            <ac:grpSpMk id="32" creationId="{C2AA4E4D-F099-4B69-BB71-8D05B53DA0FD}"/>
          </ac:grpSpMkLst>
        </pc:grpChg>
        <pc:grpChg chg="mod">
          <ac:chgData name="Aurelien Domont" userId="6da7715ce44349b3" providerId="LiveId" clId="{AFF9B0D5-CA7D-40FB-964A-23276295459E}" dt="2021-07-06T04:55:27.110" v="6436" actId="207"/>
          <ac:grpSpMkLst>
            <pc:docMk/>
            <pc:sldMk cId="2365006287" sldId="2193"/>
            <ac:grpSpMk id="36" creationId="{52771FB2-67D6-4FCE-A682-36315160C6EE}"/>
          </ac:grpSpMkLst>
        </pc:grpChg>
        <pc:grpChg chg="mod">
          <ac:chgData name="Aurelien Domont" userId="6da7715ce44349b3" providerId="LiveId" clId="{AFF9B0D5-CA7D-40FB-964A-23276295459E}" dt="2021-07-06T04:55:27.110" v="6436" actId="207"/>
          <ac:grpSpMkLst>
            <pc:docMk/>
            <pc:sldMk cId="2365006287" sldId="2193"/>
            <ac:grpSpMk id="43" creationId="{0D073FB2-9887-4DC7-9A8E-55301515F760}"/>
          </ac:grpSpMkLst>
        </pc:grpChg>
        <pc:grpChg chg="mod">
          <ac:chgData name="Aurelien Domont" userId="6da7715ce44349b3" providerId="LiveId" clId="{AFF9B0D5-CA7D-40FB-964A-23276295459E}" dt="2021-07-06T04:55:27.110" v="6436" actId="207"/>
          <ac:grpSpMkLst>
            <pc:docMk/>
            <pc:sldMk cId="2365006287" sldId="2193"/>
            <ac:grpSpMk id="45" creationId="{7C8F2046-8479-458F-BD6E-6311EC3DBB77}"/>
          </ac:grpSpMkLst>
        </pc:grpChg>
        <pc:grpChg chg="mod">
          <ac:chgData name="Aurelien Domont" userId="6da7715ce44349b3" providerId="LiveId" clId="{AFF9B0D5-CA7D-40FB-964A-23276295459E}" dt="2021-07-06T04:55:27.110" v="6436" actId="207"/>
          <ac:grpSpMkLst>
            <pc:docMk/>
            <pc:sldMk cId="2365006287" sldId="2193"/>
            <ac:grpSpMk id="46" creationId="{C326D45F-63EE-4C85-9BB1-455E811D4BF3}"/>
          </ac:grpSpMkLst>
        </pc:grpChg>
        <pc:grpChg chg="mod">
          <ac:chgData name="Aurelien Domont" userId="6da7715ce44349b3" providerId="LiveId" clId="{AFF9B0D5-CA7D-40FB-964A-23276295459E}" dt="2021-07-06T04:55:27.110" v="6436" actId="207"/>
          <ac:grpSpMkLst>
            <pc:docMk/>
            <pc:sldMk cId="2365006287" sldId="2193"/>
            <ac:grpSpMk id="61" creationId="{F9192B0A-60BC-458A-A90A-64E6BCF7B168}"/>
          </ac:grpSpMkLst>
        </pc:grpChg>
        <pc:grpChg chg="mod">
          <ac:chgData name="Aurelien Domont" userId="6da7715ce44349b3" providerId="LiveId" clId="{AFF9B0D5-CA7D-40FB-964A-23276295459E}" dt="2021-07-06T04:55:27.110" v="6436" actId="207"/>
          <ac:grpSpMkLst>
            <pc:docMk/>
            <pc:sldMk cId="2365006287" sldId="2193"/>
            <ac:grpSpMk id="124" creationId="{3F59DADE-E8D8-4B62-87BA-E7852DAF2A4A}"/>
          </ac:grpSpMkLst>
        </pc:grpChg>
        <pc:grpChg chg="mod">
          <ac:chgData name="Aurelien Domont" userId="6da7715ce44349b3" providerId="LiveId" clId="{AFF9B0D5-CA7D-40FB-964A-23276295459E}" dt="2021-07-06T04:55:27.110" v="6436" actId="207"/>
          <ac:grpSpMkLst>
            <pc:docMk/>
            <pc:sldMk cId="2365006287" sldId="2193"/>
            <ac:grpSpMk id="126" creationId="{695ED9C2-44C8-42C0-98F4-CDFA0A6FAB71}"/>
          </ac:grpSpMkLst>
        </pc:grpChg>
        <pc:grpChg chg="mod">
          <ac:chgData name="Aurelien Domont" userId="6da7715ce44349b3" providerId="LiveId" clId="{AFF9B0D5-CA7D-40FB-964A-23276295459E}" dt="2021-07-06T04:55:27.110" v="6436" actId="207"/>
          <ac:grpSpMkLst>
            <pc:docMk/>
            <pc:sldMk cId="2365006287" sldId="2193"/>
            <ac:grpSpMk id="128" creationId="{0CE860CB-0ACE-499B-B341-E9BAB83D7E19}"/>
          </ac:grpSpMkLst>
        </pc:grpChg>
        <pc:grpChg chg="mod">
          <ac:chgData name="Aurelien Domont" userId="6da7715ce44349b3" providerId="LiveId" clId="{AFF9B0D5-CA7D-40FB-964A-23276295459E}" dt="2021-07-06T04:55:27.110" v="6436" actId="207"/>
          <ac:grpSpMkLst>
            <pc:docMk/>
            <pc:sldMk cId="2365006287" sldId="2193"/>
            <ac:grpSpMk id="130" creationId="{C92112EC-D917-45DB-AC30-F792AAB9BB01}"/>
          </ac:grpSpMkLst>
        </pc:grpChg>
        <pc:grpChg chg="mod">
          <ac:chgData name="Aurelien Domont" userId="6da7715ce44349b3" providerId="LiveId" clId="{AFF9B0D5-CA7D-40FB-964A-23276295459E}" dt="2021-07-06T04:55:27.110" v="6436" actId="207"/>
          <ac:grpSpMkLst>
            <pc:docMk/>
            <pc:sldMk cId="2365006287" sldId="2193"/>
            <ac:grpSpMk id="141" creationId="{BF9644D1-2144-4F03-A2EB-F31C8C23F2B8}"/>
          </ac:grpSpMkLst>
        </pc:grpChg>
      </pc:sldChg>
      <pc:sldChg chg="add del">
        <pc:chgData name="Aurelien Domont" userId="6da7715ce44349b3" providerId="LiveId" clId="{AFF9B0D5-CA7D-40FB-964A-23276295459E}" dt="2021-07-06T05:45:33.756" v="7160" actId="47"/>
        <pc:sldMkLst>
          <pc:docMk/>
          <pc:sldMk cId="1733001810" sldId="2194"/>
        </pc:sldMkLst>
      </pc:sldChg>
      <pc:sldChg chg="addSp modSp add del mod">
        <pc:chgData name="Aurelien Domont" userId="6da7715ce44349b3" providerId="LiveId" clId="{AFF9B0D5-CA7D-40FB-964A-23276295459E}" dt="2021-07-06T05:45:33.756" v="7160" actId="47"/>
        <pc:sldMkLst>
          <pc:docMk/>
          <pc:sldMk cId="426468274" sldId="2195"/>
        </pc:sldMkLst>
        <pc:spChg chg="mod">
          <ac:chgData name="Aurelien Domont" userId="6da7715ce44349b3" providerId="LiveId" clId="{AFF9B0D5-CA7D-40FB-964A-23276295459E}" dt="2021-07-06T05:22:24.863" v="6856" actId="14100"/>
          <ac:spMkLst>
            <pc:docMk/>
            <pc:sldMk cId="426468274" sldId="2195"/>
            <ac:spMk id="28" creationId="{9890D867-710A-4021-80A0-9EDD68F8268E}"/>
          </ac:spMkLst>
        </pc:spChg>
        <pc:picChg chg="add mod">
          <ac:chgData name="Aurelien Domont" userId="6da7715ce44349b3" providerId="LiveId" clId="{AFF9B0D5-CA7D-40FB-964A-23276295459E}" dt="2021-07-06T05:22:10.919" v="6829" actId="1076"/>
          <ac:picMkLst>
            <pc:docMk/>
            <pc:sldMk cId="426468274" sldId="2195"/>
            <ac:picMk id="317" creationId="{2F450989-A408-4375-9CF4-35729A5A3E3C}"/>
          </ac:picMkLst>
        </pc:picChg>
      </pc:sldChg>
      <pc:sldChg chg="add del">
        <pc:chgData name="Aurelien Domont" userId="6da7715ce44349b3" providerId="LiveId" clId="{AFF9B0D5-CA7D-40FB-964A-23276295459E}" dt="2021-07-06T05:45:33.756" v="7160" actId="47"/>
        <pc:sldMkLst>
          <pc:docMk/>
          <pc:sldMk cId="3615286702" sldId="2196"/>
        </pc:sldMkLst>
      </pc:sldChg>
    </pc:docChg>
  </pc:docChgLst>
  <pc:docChgLst>
    <pc:chgData name="Aurelien Domont" userId="6da7715ce44349b3" providerId="LiveId" clId="{673D5AF3-7F98-4E18-80CE-01CD6ED7BC9D}"/>
    <pc:docChg chg="addSld delSld modSld">
      <pc:chgData name="Aurelien Domont" userId="6da7715ce44349b3" providerId="LiveId" clId="{673D5AF3-7F98-4E18-80CE-01CD6ED7BC9D}" dt="2021-04-21T04:24:27.041" v="1" actId="47"/>
      <pc:docMkLst>
        <pc:docMk/>
      </pc:docMkLst>
      <pc:sldChg chg="del">
        <pc:chgData name="Aurelien Domont" userId="6da7715ce44349b3" providerId="LiveId" clId="{673D5AF3-7F98-4E18-80CE-01CD6ED7BC9D}" dt="2021-04-21T04:24:27.041" v="1" actId="47"/>
        <pc:sldMkLst>
          <pc:docMk/>
          <pc:sldMk cId="3464255004" sldId="1693"/>
        </pc:sldMkLst>
      </pc:sldChg>
      <pc:sldChg chg="del">
        <pc:chgData name="Aurelien Domont" userId="6da7715ce44349b3" providerId="LiveId" clId="{673D5AF3-7F98-4E18-80CE-01CD6ED7BC9D}" dt="2021-04-21T04:24:27.041" v="1" actId="47"/>
        <pc:sldMkLst>
          <pc:docMk/>
          <pc:sldMk cId="81176075" sldId="2009"/>
        </pc:sldMkLst>
      </pc:sldChg>
      <pc:sldChg chg="add">
        <pc:chgData name="Aurelien Domont" userId="6da7715ce44349b3" providerId="LiveId" clId="{673D5AF3-7F98-4E18-80CE-01CD6ED7BC9D}" dt="2021-04-21T04:23:54.021" v="0"/>
        <pc:sldMkLst>
          <pc:docMk/>
          <pc:sldMk cId="1151893028" sldId="2029"/>
        </pc:sldMkLst>
      </pc:sldChg>
    </pc:docChg>
  </pc:docChgLst>
  <pc:docChgLst>
    <pc:chgData name="Aurelien Domont" userId="6da7715ce44349b3" providerId="LiveId" clId="{B7873C68-9BFD-4325-B07C-6245C360A5D1}"/>
    <pc:docChg chg="undo custSel addSld delSld modSld">
      <pc:chgData name="Aurelien Domont" userId="6da7715ce44349b3" providerId="LiveId" clId="{B7873C68-9BFD-4325-B07C-6245C360A5D1}" dt="2021-05-14T05:06:22.597" v="290" actId="47"/>
      <pc:docMkLst>
        <pc:docMk/>
      </pc:docMkLst>
      <pc:sldChg chg="modSp mod">
        <pc:chgData name="Aurelien Domont" userId="6da7715ce44349b3" providerId="LiveId" clId="{B7873C68-9BFD-4325-B07C-6245C360A5D1}" dt="2021-05-13T04:53:43.632" v="10"/>
        <pc:sldMkLst>
          <pc:docMk/>
          <pc:sldMk cId="1659127470" sldId="1924"/>
        </pc:sldMkLst>
        <pc:spChg chg="mod">
          <ac:chgData name="Aurelien Domont" userId="6da7715ce44349b3" providerId="LiveId" clId="{B7873C68-9BFD-4325-B07C-6245C360A5D1}" dt="2021-05-13T04:53:43.632" v="10"/>
          <ac:spMkLst>
            <pc:docMk/>
            <pc:sldMk cId="1659127470" sldId="1924"/>
            <ac:spMk id="24" creationId="{95714746-22CF-48C5-AD51-9D9AE6E5F2C8}"/>
          </ac:spMkLst>
        </pc:spChg>
      </pc:sldChg>
      <pc:sldChg chg="addSp modSp add del mod">
        <pc:chgData name="Aurelien Domont" userId="6da7715ce44349b3" providerId="LiveId" clId="{B7873C68-9BFD-4325-B07C-6245C360A5D1}" dt="2021-05-13T05:03:35.272" v="16" actId="47"/>
        <pc:sldMkLst>
          <pc:docMk/>
          <pc:sldMk cId="1714784991" sldId="2150"/>
        </pc:sldMkLst>
        <pc:spChg chg="add mod">
          <ac:chgData name="Aurelien Domont" userId="6da7715ce44349b3" providerId="LiveId" clId="{B7873C68-9BFD-4325-B07C-6245C360A5D1}" dt="2021-05-13T05:01:35.252" v="13" actId="207"/>
          <ac:spMkLst>
            <pc:docMk/>
            <pc:sldMk cId="1714784991" sldId="2150"/>
            <ac:spMk id="2" creationId="{4ED3F7DF-E9A5-480E-8B93-7A2E00451A92}"/>
          </ac:spMkLst>
        </pc:spChg>
        <pc:spChg chg="mod">
          <ac:chgData name="Aurelien Domont" userId="6da7715ce44349b3" providerId="LiveId" clId="{B7873C68-9BFD-4325-B07C-6245C360A5D1}" dt="2021-05-13T05:01:39.975" v="14" actId="12"/>
          <ac:spMkLst>
            <pc:docMk/>
            <pc:sldMk cId="1714784991" sldId="2150"/>
            <ac:spMk id="24" creationId="{95714746-22CF-48C5-AD51-9D9AE6E5F2C8}"/>
          </ac:spMkLst>
        </pc:spChg>
        <pc:spChg chg="mod">
          <ac:chgData name="Aurelien Domont" userId="6da7715ce44349b3" providerId="LiveId" clId="{B7873C68-9BFD-4325-B07C-6245C360A5D1}" dt="2021-05-13T05:02:40.900" v="15" actId="12"/>
          <ac:spMkLst>
            <pc:docMk/>
            <pc:sldMk cId="1714784991" sldId="2150"/>
            <ac:spMk id="25" creationId="{0B462317-12E0-4745-AFEC-1DF156C5EB17}"/>
          </ac:spMkLst>
        </pc:spChg>
      </pc:sldChg>
      <pc:sldChg chg="addSp delSp modSp new del mod">
        <pc:chgData name="Aurelien Domont" userId="6da7715ce44349b3" providerId="LiveId" clId="{B7873C68-9BFD-4325-B07C-6245C360A5D1}" dt="2021-05-14T05:06:22.597" v="290" actId="47"/>
        <pc:sldMkLst>
          <pc:docMk/>
          <pc:sldMk cId="4189768353" sldId="2150"/>
        </pc:sldMkLst>
        <pc:spChg chg="add mod">
          <ac:chgData name="Aurelien Domont" userId="6da7715ce44349b3" providerId="LiveId" clId="{B7873C68-9BFD-4325-B07C-6245C360A5D1}" dt="2021-05-13T07:35:33.014" v="224" actId="1076"/>
          <ac:spMkLst>
            <pc:docMk/>
            <pc:sldMk cId="4189768353" sldId="2150"/>
            <ac:spMk id="2" creationId="{E3244593-14AB-40F1-96D0-787E5C3BCF8E}"/>
          </ac:spMkLst>
        </pc:spChg>
        <pc:spChg chg="add del mod">
          <ac:chgData name="Aurelien Domont" userId="6da7715ce44349b3" providerId="LiveId" clId="{B7873C68-9BFD-4325-B07C-6245C360A5D1}" dt="2021-05-13T07:35:25.705" v="221" actId="478"/>
          <ac:spMkLst>
            <pc:docMk/>
            <pc:sldMk cId="4189768353" sldId="2150"/>
            <ac:spMk id="3" creationId="{783D8380-074E-4646-B2C9-4DF149192EB7}"/>
          </ac:spMkLst>
        </pc:spChg>
        <pc:spChg chg="add mod">
          <ac:chgData name="Aurelien Domont" userId="6da7715ce44349b3" providerId="LiveId" clId="{B7873C68-9BFD-4325-B07C-6245C360A5D1}" dt="2021-05-13T07:27:51.866" v="173" actId="20577"/>
          <ac:spMkLst>
            <pc:docMk/>
            <pc:sldMk cId="4189768353" sldId="2150"/>
            <ac:spMk id="4" creationId="{F110EECC-B326-47A3-AE11-DA5B5E4C1A62}"/>
          </ac:spMkLst>
        </pc:spChg>
        <pc:spChg chg="add mod">
          <ac:chgData name="Aurelien Domont" userId="6da7715ce44349b3" providerId="LiveId" clId="{B7873C68-9BFD-4325-B07C-6245C360A5D1}" dt="2021-05-13T07:31:32.283" v="217" actId="1076"/>
          <ac:spMkLst>
            <pc:docMk/>
            <pc:sldMk cId="4189768353" sldId="2150"/>
            <ac:spMk id="5" creationId="{2AAE4184-AECD-472D-8BBB-313C21CE89A3}"/>
          </ac:spMkLst>
        </pc:spChg>
        <pc:spChg chg="add del mod">
          <ac:chgData name="Aurelien Domont" userId="6da7715ce44349b3" providerId="LiveId" clId="{B7873C68-9BFD-4325-B07C-6245C360A5D1}" dt="2021-05-13T07:31:13.431" v="215"/>
          <ac:spMkLst>
            <pc:docMk/>
            <pc:sldMk cId="4189768353" sldId="2150"/>
            <ac:spMk id="6" creationId="{8F2034A6-4FFF-43EE-B4C4-2017C44071DF}"/>
          </ac:spMkLst>
        </pc:spChg>
        <pc:spChg chg="add mod">
          <ac:chgData name="Aurelien Domont" userId="6da7715ce44349b3" providerId="LiveId" clId="{B7873C68-9BFD-4325-B07C-6245C360A5D1}" dt="2021-05-13T07:33:22.024" v="219"/>
          <ac:spMkLst>
            <pc:docMk/>
            <pc:sldMk cId="4189768353" sldId="2150"/>
            <ac:spMk id="7" creationId="{59C734AD-4E2E-49E4-83D5-6C2C3CFF194B}"/>
          </ac:spMkLst>
        </pc:spChg>
        <pc:spChg chg="add mod">
          <ac:chgData name="Aurelien Domont" userId="6da7715ce44349b3" providerId="LiveId" clId="{B7873C68-9BFD-4325-B07C-6245C360A5D1}" dt="2021-05-13T07:36:54.598" v="289" actId="20577"/>
          <ac:spMkLst>
            <pc:docMk/>
            <pc:sldMk cId="4189768353" sldId="2150"/>
            <ac:spMk id="8" creationId="{DC5DA6E5-FEA6-4AB5-9996-63EBED53B952}"/>
          </ac:spMkLst>
        </pc:spChg>
      </pc:sldChg>
      <pc:sldMasterChg chg="delSldLayout">
        <pc:chgData name="Aurelien Domont" userId="6da7715ce44349b3" providerId="LiveId" clId="{B7873C68-9BFD-4325-B07C-6245C360A5D1}" dt="2021-05-14T05:06:22.597" v="290" actId="47"/>
        <pc:sldMasterMkLst>
          <pc:docMk/>
          <pc:sldMasterMk cId="630589790" sldId="2147483664"/>
        </pc:sldMasterMkLst>
        <pc:sldLayoutChg chg="del">
          <pc:chgData name="Aurelien Domont" userId="6da7715ce44349b3" providerId="LiveId" clId="{B7873C68-9BFD-4325-B07C-6245C360A5D1}" dt="2021-05-14T05:06:22.597" v="290" actId="47"/>
          <pc:sldLayoutMkLst>
            <pc:docMk/>
            <pc:sldMasterMk cId="630589790" sldId="2147483664"/>
            <pc:sldLayoutMk cId="479443308" sldId="2147483673"/>
          </pc:sldLayoutMkLst>
        </pc:sldLayoutChg>
      </pc:sldMasterChg>
    </pc:docChg>
  </pc:docChgLst>
  <pc:docChgLst>
    <pc:chgData name="Aurelien Domont" userId="6da7715ce44349b3" providerId="LiveId" clId="{B5E3E4B9-B753-4CD4-9C55-1054A4F7AC5B}"/>
    <pc:docChg chg="undo custSel modSld">
      <pc:chgData name="Aurelien Domont" userId="6da7715ce44349b3" providerId="LiveId" clId="{B5E3E4B9-B753-4CD4-9C55-1054A4F7AC5B}" dt="2021-04-29T06:44:16.192" v="31" actId="113"/>
      <pc:docMkLst>
        <pc:docMk/>
      </pc:docMkLst>
      <pc:sldChg chg="modSp mod">
        <pc:chgData name="Aurelien Domont" userId="6da7715ce44349b3" providerId="LiveId" clId="{B5E3E4B9-B753-4CD4-9C55-1054A4F7AC5B}" dt="2021-04-29T06:36:09.543" v="16" actId="113"/>
        <pc:sldMkLst>
          <pc:docMk/>
          <pc:sldMk cId="317099162" sldId="1749"/>
        </pc:sldMkLst>
        <pc:spChg chg="mod">
          <ac:chgData name="Aurelien Domont" userId="6da7715ce44349b3" providerId="LiveId" clId="{B5E3E4B9-B753-4CD4-9C55-1054A4F7AC5B}" dt="2021-04-29T06:36:09.543" v="16" actId="113"/>
          <ac:spMkLst>
            <pc:docMk/>
            <pc:sldMk cId="317099162" sldId="1749"/>
            <ac:spMk id="14" creationId="{58BC295C-D6CC-4682-B176-A5677EB177D0}"/>
          </ac:spMkLst>
        </pc:spChg>
      </pc:sldChg>
      <pc:sldChg chg="modSp mod">
        <pc:chgData name="Aurelien Domont" userId="6da7715ce44349b3" providerId="LiveId" clId="{B5E3E4B9-B753-4CD4-9C55-1054A4F7AC5B}" dt="2021-04-29T06:39:27.942" v="17" actId="120"/>
        <pc:sldMkLst>
          <pc:docMk/>
          <pc:sldMk cId="235018652" sldId="1927"/>
        </pc:sldMkLst>
        <pc:spChg chg="mod">
          <ac:chgData name="Aurelien Domont" userId="6da7715ce44349b3" providerId="LiveId" clId="{B5E3E4B9-B753-4CD4-9C55-1054A4F7AC5B}" dt="2021-04-29T06:39:27.942" v="17" actId="120"/>
          <ac:spMkLst>
            <pc:docMk/>
            <pc:sldMk cId="235018652" sldId="1927"/>
            <ac:spMk id="3" creationId="{CE2529A3-BA97-486F-9E02-8DFAAA7D8D38}"/>
          </ac:spMkLst>
        </pc:spChg>
        <pc:spChg chg="mod">
          <ac:chgData name="Aurelien Domont" userId="6da7715ce44349b3" providerId="LiveId" clId="{B5E3E4B9-B753-4CD4-9C55-1054A4F7AC5B}" dt="2021-04-29T06:39:27.942" v="17" actId="120"/>
          <ac:spMkLst>
            <pc:docMk/>
            <pc:sldMk cId="235018652" sldId="1927"/>
            <ac:spMk id="22" creationId="{4C65153E-2DC5-4549-9BEA-3CBB7CE57BAC}"/>
          </ac:spMkLst>
        </pc:spChg>
        <pc:spChg chg="mod">
          <ac:chgData name="Aurelien Domont" userId="6da7715ce44349b3" providerId="LiveId" clId="{B5E3E4B9-B753-4CD4-9C55-1054A4F7AC5B}" dt="2021-04-29T06:39:27.942" v="17" actId="120"/>
          <ac:spMkLst>
            <pc:docMk/>
            <pc:sldMk cId="235018652" sldId="1927"/>
            <ac:spMk id="24" creationId="{57B39C43-1692-4644-9018-578041BDAC00}"/>
          </ac:spMkLst>
        </pc:spChg>
        <pc:spChg chg="mod">
          <ac:chgData name="Aurelien Domont" userId="6da7715ce44349b3" providerId="LiveId" clId="{B5E3E4B9-B753-4CD4-9C55-1054A4F7AC5B}" dt="2021-04-29T06:39:27.942" v="17" actId="120"/>
          <ac:spMkLst>
            <pc:docMk/>
            <pc:sldMk cId="235018652" sldId="1927"/>
            <ac:spMk id="35" creationId="{68CAC4AC-FC9D-495D-A867-A1F7DFAB5EE5}"/>
          </ac:spMkLst>
        </pc:spChg>
        <pc:spChg chg="mod">
          <ac:chgData name="Aurelien Domont" userId="6da7715ce44349b3" providerId="LiveId" clId="{B5E3E4B9-B753-4CD4-9C55-1054A4F7AC5B}" dt="2021-04-29T06:39:27.942" v="17" actId="120"/>
          <ac:spMkLst>
            <pc:docMk/>
            <pc:sldMk cId="235018652" sldId="1927"/>
            <ac:spMk id="37" creationId="{8DD3C8A5-5216-47D7-8F63-A1BED34F8035}"/>
          </ac:spMkLst>
        </pc:spChg>
        <pc:spChg chg="mod">
          <ac:chgData name="Aurelien Domont" userId="6da7715ce44349b3" providerId="LiveId" clId="{B5E3E4B9-B753-4CD4-9C55-1054A4F7AC5B}" dt="2021-04-29T06:39:27.942" v="17" actId="120"/>
          <ac:spMkLst>
            <pc:docMk/>
            <pc:sldMk cId="235018652" sldId="1927"/>
            <ac:spMk id="39" creationId="{99497429-E6FA-47CD-BD12-B83ECF06216C}"/>
          </ac:spMkLst>
        </pc:spChg>
        <pc:spChg chg="mod">
          <ac:chgData name="Aurelien Domont" userId="6da7715ce44349b3" providerId="LiveId" clId="{B5E3E4B9-B753-4CD4-9C55-1054A4F7AC5B}" dt="2021-04-29T06:39:27.942" v="17" actId="120"/>
          <ac:spMkLst>
            <pc:docMk/>
            <pc:sldMk cId="235018652" sldId="1927"/>
            <ac:spMk id="42" creationId="{8AB09FC8-C5F5-4297-AD26-D8245375169B}"/>
          </ac:spMkLst>
        </pc:spChg>
      </pc:sldChg>
      <pc:sldChg chg="modSp mod">
        <pc:chgData name="Aurelien Domont" userId="6da7715ce44349b3" providerId="LiveId" clId="{B5E3E4B9-B753-4CD4-9C55-1054A4F7AC5B}" dt="2021-04-29T06:39:45.301" v="18" actId="120"/>
        <pc:sldMkLst>
          <pc:docMk/>
          <pc:sldMk cId="784211076" sldId="1931"/>
        </pc:sldMkLst>
        <pc:spChg chg="mod">
          <ac:chgData name="Aurelien Domont" userId="6da7715ce44349b3" providerId="LiveId" clId="{B5E3E4B9-B753-4CD4-9C55-1054A4F7AC5B}" dt="2021-04-29T06:39:45.301" v="18" actId="120"/>
          <ac:spMkLst>
            <pc:docMk/>
            <pc:sldMk cId="784211076" sldId="1931"/>
            <ac:spMk id="22" creationId="{EE78CAB5-920F-4474-9507-223D946A1013}"/>
          </ac:spMkLst>
        </pc:spChg>
        <pc:spChg chg="mod">
          <ac:chgData name="Aurelien Domont" userId="6da7715ce44349b3" providerId="LiveId" clId="{B5E3E4B9-B753-4CD4-9C55-1054A4F7AC5B}" dt="2021-04-29T06:39:45.301" v="18" actId="120"/>
          <ac:spMkLst>
            <pc:docMk/>
            <pc:sldMk cId="784211076" sldId="1931"/>
            <ac:spMk id="24" creationId="{E8E79278-3E47-491E-80C4-2745363AB20D}"/>
          </ac:spMkLst>
        </pc:spChg>
        <pc:spChg chg="mod">
          <ac:chgData name="Aurelien Domont" userId="6da7715ce44349b3" providerId="LiveId" clId="{B5E3E4B9-B753-4CD4-9C55-1054A4F7AC5B}" dt="2021-04-29T06:39:45.301" v="18" actId="120"/>
          <ac:spMkLst>
            <pc:docMk/>
            <pc:sldMk cId="784211076" sldId="1931"/>
            <ac:spMk id="35" creationId="{AE266B61-A26F-4864-A119-B73D8D3EEFE3}"/>
          </ac:spMkLst>
        </pc:spChg>
        <pc:spChg chg="mod">
          <ac:chgData name="Aurelien Domont" userId="6da7715ce44349b3" providerId="LiveId" clId="{B5E3E4B9-B753-4CD4-9C55-1054A4F7AC5B}" dt="2021-04-29T06:39:45.301" v="18" actId="120"/>
          <ac:spMkLst>
            <pc:docMk/>
            <pc:sldMk cId="784211076" sldId="1931"/>
            <ac:spMk id="37" creationId="{473EDCDD-9075-40AB-A47F-8FF455A2E444}"/>
          </ac:spMkLst>
        </pc:spChg>
        <pc:spChg chg="mod">
          <ac:chgData name="Aurelien Domont" userId="6da7715ce44349b3" providerId="LiveId" clId="{B5E3E4B9-B753-4CD4-9C55-1054A4F7AC5B}" dt="2021-04-29T06:39:45.301" v="18" actId="120"/>
          <ac:spMkLst>
            <pc:docMk/>
            <pc:sldMk cId="784211076" sldId="1931"/>
            <ac:spMk id="39" creationId="{25B98639-8371-4BB9-9FA0-6591943AEA62}"/>
          </ac:spMkLst>
        </pc:spChg>
        <pc:spChg chg="mod">
          <ac:chgData name="Aurelien Domont" userId="6da7715ce44349b3" providerId="LiveId" clId="{B5E3E4B9-B753-4CD4-9C55-1054A4F7AC5B}" dt="2021-04-29T06:39:45.301" v="18" actId="120"/>
          <ac:spMkLst>
            <pc:docMk/>
            <pc:sldMk cId="784211076" sldId="1931"/>
            <ac:spMk id="41" creationId="{60047BC4-494E-465F-BB2C-37A58D27A895}"/>
          </ac:spMkLst>
        </pc:spChg>
        <pc:spChg chg="mod">
          <ac:chgData name="Aurelien Domont" userId="6da7715ce44349b3" providerId="LiveId" clId="{B5E3E4B9-B753-4CD4-9C55-1054A4F7AC5B}" dt="2021-04-29T06:39:45.301" v="18" actId="120"/>
          <ac:spMkLst>
            <pc:docMk/>
            <pc:sldMk cId="784211076" sldId="1931"/>
            <ac:spMk id="43" creationId="{067232F5-DCB9-418C-AF5E-20A9ADF37A95}"/>
          </ac:spMkLst>
        </pc:spChg>
        <pc:spChg chg="mod">
          <ac:chgData name="Aurelien Domont" userId="6da7715ce44349b3" providerId="LiveId" clId="{B5E3E4B9-B753-4CD4-9C55-1054A4F7AC5B}" dt="2021-04-29T06:39:45.301" v="18" actId="120"/>
          <ac:spMkLst>
            <pc:docMk/>
            <pc:sldMk cId="784211076" sldId="1931"/>
            <ac:spMk id="45" creationId="{3C667C76-9848-4E10-980B-6994068638EA}"/>
          </ac:spMkLst>
        </pc:spChg>
      </pc:sldChg>
      <pc:sldChg chg="modSp mod">
        <pc:chgData name="Aurelien Domont" userId="6da7715ce44349b3" providerId="LiveId" clId="{B5E3E4B9-B753-4CD4-9C55-1054A4F7AC5B}" dt="2021-04-29T06:41:18.974" v="20" actId="113"/>
        <pc:sldMkLst>
          <pc:docMk/>
          <pc:sldMk cId="1403188377" sldId="1942"/>
        </pc:sldMkLst>
        <pc:spChg chg="mod">
          <ac:chgData name="Aurelien Domont" userId="6da7715ce44349b3" providerId="LiveId" clId="{B5E3E4B9-B753-4CD4-9C55-1054A4F7AC5B}" dt="2021-04-29T06:41:18.974" v="20" actId="113"/>
          <ac:spMkLst>
            <pc:docMk/>
            <pc:sldMk cId="1403188377" sldId="1942"/>
            <ac:spMk id="7" creationId="{2BB58BFC-0D2E-4A7A-8857-596DF7877E0D}"/>
          </ac:spMkLst>
        </pc:spChg>
      </pc:sldChg>
      <pc:sldChg chg="modSp mod">
        <pc:chgData name="Aurelien Domont" userId="6da7715ce44349b3" providerId="LiveId" clId="{B5E3E4B9-B753-4CD4-9C55-1054A4F7AC5B}" dt="2021-04-29T06:43:35.362" v="22" actId="113"/>
        <pc:sldMkLst>
          <pc:docMk/>
          <pc:sldMk cId="2434730998" sldId="1964"/>
        </pc:sldMkLst>
        <pc:spChg chg="mod">
          <ac:chgData name="Aurelien Domont" userId="6da7715ce44349b3" providerId="LiveId" clId="{B5E3E4B9-B753-4CD4-9C55-1054A4F7AC5B}" dt="2021-04-29T06:43:35.362" v="22" actId="113"/>
          <ac:spMkLst>
            <pc:docMk/>
            <pc:sldMk cId="2434730998" sldId="1964"/>
            <ac:spMk id="29" creationId="{E7057E1C-0379-4BF8-AFA9-1ADE9F123A50}"/>
          </ac:spMkLst>
        </pc:spChg>
      </pc:sldChg>
      <pc:sldChg chg="modSp mod">
        <pc:chgData name="Aurelien Domont" userId="6da7715ce44349b3" providerId="LiveId" clId="{B5E3E4B9-B753-4CD4-9C55-1054A4F7AC5B}" dt="2021-04-29T06:43:45.298" v="24" actId="113"/>
        <pc:sldMkLst>
          <pc:docMk/>
          <pc:sldMk cId="2118611170" sldId="1965"/>
        </pc:sldMkLst>
        <pc:spChg chg="mod">
          <ac:chgData name="Aurelien Domont" userId="6da7715ce44349b3" providerId="LiveId" clId="{B5E3E4B9-B753-4CD4-9C55-1054A4F7AC5B}" dt="2021-04-29T06:43:45.298" v="24" actId="113"/>
          <ac:spMkLst>
            <pc:docMk/>
            <pc:sldMk cId="2118611170" sldId="1965"/>
            <ac:spMk id="29" creationId="{E7057E1C-0379-4BF8-AFA9-1ADE9F123A50}"/>
          </ac:spMkLst>
        </pc:spChg>
      </pc:sldChg>
      <pc:sldChg chg="modSp mod">
        <pc:chgData name="Aurelien Domont" userId="6da7715ce44349b3" providerId="LiveId" clId="{B5E3E4B9-B753-4CD4-9C55-1054A4F7AC5B}" dt="2021-04-29T06:43:52.504" v="26" actId="113"/>
        <pc:sldMkLst>
          <pc:docMk/>
          <pc:sldMk cId="708328687" sldId="1966"/>
        </pc:sldMkLst>
        <pc:spChg chg="mod">
          <ac:chgData name="Aurelien Domont" userId="6da7715ce44349b3" providerId="LiveId" clId="{B5E3E4B9-B753-4CD4-9C55-1054A4F7AC5B}" dt="2021-04-29T06:43:52.504" v="26" actId="113"/>
          <ac:spMkLst>
            <pc:docMk/>
            <pc:sldMk cId="708328687" sldId="1966"/>
            <ac:spMk id="29" creationId="{E7057E1C-0379-4BF8-AFA9-1ADE9F123A50}"/>
          </ac:spMkLst>
        </pc:spChg>
      </pc:sldChg>
      <pc:sldChg chg="modSp mod">
        <pc:chgData name="Aurelien Domont" userId="6da7715ce44349b3" providerId="LiveId" clId="{B5E3E4B9-B753-4CD4-9C55-1054A4F7AC5B}" dt="2021-04-29T06:44:10.506" v="29" actId="33524"/>
        <pc:sldMkLst>
          <pc:docMk/>
          <pc:sldMk cId="3081941897" sldId="1967"/>
        </pc:sldMkLst>
        <pc:spChg chg="mod">
          <ac:chgData name="Aurelien Domont" userId="6da7715ce44349b3" providerId="LiveId" clId="{B5E3E4B9-B753-4CD4-9C55-1054A4F7AC5B}" dt="2021-04-29T06:44:02.469" v="28" actId="113"/>
          <ac:spMkLst>
            <pc:docMk/>
            <pc:sldMk cId="3081941897" sldId="1967"/>
            <ac:spMk id="29" creationId="{E7057E1C-0379-4BF8-AFA9-1ADE9F123A50}"/>
          </ac:spMkLst>
        </pc:spChg>
        <pc:spChg chg="mod">
          <ac:chgData name="Aurelien Domont" userId="6da7715ce44349b3" providerId="LiveId" clId="{B5E3E4B9-B753-4CD4-9C55-1054A4F7AC5B}" dt="2021-04-29T06:44:10.506" v="29" actId="33524"/>
          <ac:spMkLst>
            <pc:docMk/>
            <pc:sldMk cId="3081941897" sldId="1967"/>
            <ac:spMk id="31" creationId="{12BD58FF-B47F-4554-8B05-4AA19AC62680}"/>
          </ac:spMkLst>
        </pc:spChg>
      </pc:sldChg>
      <pc:sldChg chg="modSp mod">
        <pc:chgData name="Aurelien Domont" userId="6da7715ce44349b3" providerId="LiveId" clId="{B5E3E4B9-B753-4CD4-9C55-1054A4F7AC5B}" dt="2021-04-29T06:44:16.192" v="31" actId="113"/>
        <pc:sldMkLst>
          <pc:docMk/>
          <pc:sldMk cId="3440858440" sldId="1968"/>
        </pc:sldMkLst>
        <pc:spChg chg="mod">
          <ac:chgData name="Aurelien Domont" userId="6da7715ce44349b3" providerId="LiveId" clId="{B5E3E4B9-B753-4CD4-9C55-1054A4F7AC5B}" dt="2021-04-29T06:44:16.192" v="31" actId="113"/>
          <ac:spMkLst>
            <pc:docMk/>
            <pc:sldMk cId="3440858440" sldId="1968"/>
            <ac:spMk id="29" creationId="{E7057E1C-0379-4BF8-AFA9-1ADE9F123A50}"/>
          </ac:spMkLst>
        </pc:spChg>
      </pc:sldChg>
      <pc:sldChg chg="modSp mod">
        <pc:chgData name="Aurelien Domont" userId="6da7715ce44349b3" providerId="LiveId" clId="{B5E3E4B9-B753-4CD4-9C55-1054A4F7AC5B}" dt="2021-04-27T06:35:29.412" v="14" actId="14100"/>
        <pc:sldMkLst>
          <pc:docMk/>
          <pc:sldMk cId="3954766657" sldId="1969"/>
        </pc:sldMkLst>
        <pc:spChg chg="mod">
          <ac:chgData name="Aurelien Domont" userId="6da7715ce44349b3" providerId="LiveId" clId="{B5E3E4B9-B753-4CD4-9C55-1054A4F7AC5B}" dt="2021-04-27T06:35:29.412" v="14" actId="14100"/>
          <ac:spMkLst>
            <pc:docMk/>
            <pc:sldMk cId="3954766657" sldId="1969"/>
            <ac:spMk id="23" creationId="{D0C08E85-6656-4D70-A634-B81EEB60AA99}"/>
          </ac:spMkLst>
        </pc:spChg>
        <pc:spChg chg="mod">
          <ac:chgData name="Aurelien Domont" userId="6da7715ce44349b3" providerId="LiveId" clId="{B5E3E4B9-B753-4CD4-9C55-1054A4F7AC5B}" dt="2021-04-27T06:35:29.412" v="14" actId="14100"/>
          <ac:spMkLst>
            <pc:docMk/>
            <pc:sldMk cId="3954766657" sldId="1969"/>
            <ac:spMk id="24" creationId="{E2A79F9E-459F-41E7-9331-768A9D1F23AD}"/>
          </ac:spMkLst>
        </pc:spChg>
      </pc:sldChg>
    </pc:docChg>
  </pc:docChgLst>
  <pc:docChgLst>
    <pc:chgData name="Aurelien Domont" userId="6da7715ce44349b3" providerId="LiveId" clId="{B98E20E2-7193-4695-BBC3-2E4ADB997CFA}"/>
    <pc:docChg chg="undo custSel addSld modSld">
      <pc:chgData name="Aurelien Domont" userId="6da7715ce44349b3" providerId="LiveId" clId="{B98E20E2-7193-4695-BBC3-2E4ADB997CFA}" dt="2021-05-03T07:57:58.124" v="648" actId="20577"/>
      <pc:docMkLst>
        <pc:docMk/>
      </pc:docMkLst>
      <pc:sldChg chg="modSp mod">
        <pc:chgData name="Aurelien Domont" userId="6da7715ce44349b3" providerId="LiveId" clId="{B98E20E2-7193-4695-BBC3-2E4ADB997CFA}" dt="2021-05-03T07:49:35.017" v="534" actId="20577"/>
        <pc:sldMkLst>
          <pc:docMk/>
          <pc:sldMk cId="3131901387" sldId="256"/>
        </pc:sldMkLst>
        <pc:spChg chg="mod">
          <ac:chgData name="Aurelien Domont" userId="6da7715ce44349b3" providerId="LiveId" clId="{B98E20E2-7193-4695-BBC3-2E4ADB997CFA}" dt="2021-05-03T07:49:35.017" v="534" actId="20577"/>
          <ac:spMkLst>
            <pc:docMk/>
            <pc:sldMk cId="3131901387" sldId="256"/>
            <ac:spMk id="2" creationId="{5261080C-C60C-4746-B6B1-A9A4FFA86785}"/>
          </ac:spMkLst>
        </pc:spChg>
        <pc:spChg chg="mod">
          <ac:chgData name="Aurelien Domont" userId="6da7715ce44349b3" providerId="LiveId" clId="{B98E20E2-7193-4695-BBC3-2E4ADB997CFA}" dt="2021-05-03T07:49:20.606" v="520" actId="20577"/>
          <ac:spMkLst>
            <pc:docMk/>
            <pc:sldMk cId="3131901387" sldId="256"/>
            <ac:spMk id="3" creationId="{D781CD62-85AB-400E-A66C-9594AAD807B4}"/>
          </ac:spMkLst>
        </pc:spChg>
      </pc:sldChg>
      <pc:sldChg chg="delSp modSp mod">
        <pc:chgData name="Aurelien Domont" userId="6da7715ce44349b3" providerId="LiveId" clId="{B98E20E2-7193-4695-BBC3-2E4ADB997CFA}" dt="2021-05-03T07:57:58.124" v="648" actId="20577"/>
        <pc:sldMkLst>
          <pc:docMk/>
          <pc:sldMk cId="317099162" sldId="1749"/>
        </pc:sldMkLst>
        <pc:spChg chg="del mod">
          <ac:chgData name="Aurelien Domont" userId="6da7715ce44349b3" providerId="LiveId" clId="{B98E20E2-7193-4695-BBC3-2E4ADB997CFA}" dt="2021-05-03T07:57:25.936" v="633" actId="478"/>
          <ac:spMkLst>
            <pc:docMk/>
            <pc:sldMk cId="317099162" sldId="1749"/>
            <ac:spMk id="3" creationId="{CE2529A3-BA97-486F-9E02-8DFAAA7D8D38}"/>
          </ac:spMkLst>
        </pc:spChg>
        <pc:spChg chg="mod">
          <ac:chgData name="Aurelien Domont" userId="6da7715ce44349b3" providerId="LiveId" clId="{B98E20E2-7193-4695-BBC3-2E4ADB997CFA}" dt="2021-05-03T07:57:58.124" v="648" actId="20577"/>
          <ac:spMkLst>
            <pc:docMk/>
            <pc:sldMk cId="317099162" sldId="1749"/>
            <ac:spMk id="14" creationId="{58BC295C-D6CC-4682-B176-A5677EB177D0}"/>
          </ac:spMkLst>
        </pc:spChg>
        <pc:spChg chg="del mod">
          <ac:chgData name="Aurelien Domont" userId="6da7715ce44349b3" providerId="LiveId" clId="{B98E20E2-7193-4695-BBC3-2E4ADB997CFA}" dt="2021-05-03T07:57:02.367" v="625" actId="478"/>
          <ac:spMkLst>
            <pc:docMk/>
            <pc:sldMk cId="317099162" sldId="1749"/>
            <ac:spMk id="18" creationId="{EAAFB484-D4B1-4321-B87D-DF7A9C1424D7}"/>
          </ac:spMkLst>
        </pc:spChg>
        <pc:spChg chg="del mod">
          <ac:chgData name="Aurelien Domont" userId="6da7715ce44349b3" providerId="LiveId" clId="{B98E20E2-7193-4695-BBC3-2E4ADB997CFA}" dt="2021-05-03T07:57:17.313" v="630" actId="478"/>
          <ac:spMkLst>
            <pc:docMk/>
            <pc:sldMk cId="317099162" sldId="1749"/>
            <ac:spMk id="19" creationId="{AB92F0CF-C046-47E4-A35B-DB823BC023B7}"/>
          </ac:spMkLst>
        </pc:spChg>
        <pc:spChg chg="del mod">
          <ac:chgData name="Aurelien Domont" userId="6da7715ce44349b3" providerId="LiveId" clId="{B98E20E2-7193-4695-BBC3-2E4ADB997CFA}" dt="2021-05-03T07:57:17.313" v="630" actId="478"/>
          <ac:spMkLst>
            <pc:docMk/>
            <pc:sldMk cId="317099162" sldId="1749"/>
            <ac:spMk id="25" creationId="{A9F1A3B9-9DDA-4C19-98C2-3661E3450D3D}"/>
          </ac:spMkLst>
        </pc:spChg>
        <pc:spChg chg="del mod">
          <ac:chgData name="Aurelien Domont" userId="6da7715ce44349b3" providerId="LiveId" clId="{B98E20E2-7193-4695-BBC3-2E4ADB997CFA}" dt="2021-05-03T07:57:25.936" v="633" actId="478"/>
          <ac:spMkLst>
            <pc:docMk/>
            <pc:sldMk cId="317099162" sldId="1749"/>
            <ac:spMk id="26" creationId="{C94AD6D8-1BE8-4E3A-8451-EAEBD6603513}"/>
          </ac:spMkLst>
        </pc:spChg>
      </pc:sldChg>
      <pc:sldChg chg="delSp modSp mod">
        <pc:chgData name="Aurelien Domont" userId="6da7715ce44349b3" providerId="LiveId" clId="{B98E20E2-7193-4695-BBC3-2E4ADB997CFA}" dt="2021-05-03T07:54:29.821" v="607" actId="14100"/>
        <pc:sldMkLst>
          <pc:docMk/>
          <pc:sldMk cId="1659127470" sldId="1924"/>
        </pc:sldMkLst>
        <pc:spChg chg="mod">
          <ac:chgData name="Aurelien Domont" userId="6da7715ce44349b3" providerId="LiveId" clId="{B98E20E2-7193-4695-BBC3-2E4ADB997CFA}" dt="2021-05-03T07:54:29.821" v="607" actId="14100"/>
          <ac:spMkLst>
            <pc:docMk/>
            <pc:sldMk cId="1659127470" sldId="1924"/>
            <ac:spMk id="14" creationId="{493F826D-CCF6-440C-BFA4-C3799A3ED755}"/>
          </ac:spMkLst>
        </pc:spChg>
        <pc:spChg chg="mod">
          <ac:chgData name="Aurelien Domont" userId="6da7715ce44349b3" providerId="LiveId" clId="{B98E20E2-7193-4695-BBC3-2E4ADB997CFA}" dt="2021-05-03T07:54:15.724" v="605" actId="255"/>
          <ac:spMkLst>
            <pc:docMk/>
            <pc:sldMk cId="1659127470" sldId="1924"/>
            <ac:spMk id="18" creationId="{0BCD4164-FFCE-447D-8269-E5891A7FEF0D}"/>
          </ac:spMkLst>
        </pc:spChg>
        <pc:spChg chg="mod">
          <ac:chgData name="Aurelien Domont" userId="6da7715ce44349b3" providerId="LiveId" clId="{B98E20E2-7193-4695-BBC3-2E4ADB997CFA}" dt="2021-05-03T07:54:15.724" v="605" actId="255"/>
          <ac:spMkLst>
            <pc:docMk/>
            <pc:sldMk cId="1659127470" sldId="1924"/>
            <ac:spMk id="19" creationId="{554EE1B4-E11D-4B37-9F78-B5B5FA8738AA}"/>
          </ac:spMkLst>
        </pc:spChg>
        <pc:spChg chg="del">
          <ac:chgData name="Aurelien Domont" userId="6da7715ce44349b3" providerId="LiveId" clId="{B98E20E2-7193-4695-BBC3-2E4ADB997CFA}" dt="2021-05-03T06:45:17.157" v="181" actId="478"/>
          <ac:spMkLst>
            <pc:docMk/>
            <pc:sldMk cId="1659127470" sldId="1924"/>
            <ac:spMk id="28" creationId="{B98D4813-1BBC-432F-A4FC-CD15CA814555}"/>
          </ac:spMkLst>
        </pc:spChg>
        <pc:spChg chg="del mod">
          <ac:chgData name="Aurelien Domont" userId="6da7715ce44349b3" providerId="LiveId" clId="{B98E20E2-7193-4695-BBC3-2E4ADB997CFA}" dt="2021-05-03T07:05:25.156" v="338" actId="478"/>
          <ac:spMkLst>
            <pc:docMk/>
            <pc:sldMk cId="1659127470" sldId="1924"/>
            <ac:spMk id="29" creationId="{FB9873AC-E821-49A3-8801-DC54DA634D08}"/>
          </ac:spMkLst>
        </pc:spChg>
        <pc:spChg chg="del mod">
          <ac:chgData name="Aurelien Domont" userId="6da7715ce44349b3" providerId="LiveId" clId="{B98E20E2-7193-4695-BBC3-2E4ADB997CFA}" dt="2021-05-03T07:05:25.156" v="338" actId="478"/>
          <ac:spMkLst>
            <pc:docMk/>
            <pc:sldMk cId="1659127470" sldId="1924"/>
            <ac:spMk id="30" creationId="{8D7269D8-71D9-4DE6-B8FC-C607D35189C4}"/>
          </ac:spMkLst>
        </pc:spChg>
        <pc:spChg chg="del">
          <ac:chgData name="Aurelien Domont" userId="6da7715ce44349b3" providerId="LiveId" clId="{B98E20E2-7193-4695-BBC3-2E4ADB997CFA}" dt="2021-05-03T06:45:17.157" v="181" actId="478"/>
          <ac:spMkLst>
            <pc:docMk/>
            <pc:sldMk cId="1659127470" sldId="1924"/>
            <ac:spMk id="31" creationId="{9F0E6C86-8F02-45BD-953C-36BE60916848}"/>
          </ac:spMkLst>
        </pc:spChg>
        <pc:spChg chg="del mod">
          <ac:chgData name="Aurelien Domont" userId="6da7715ce44349b3" providerId="LiveId" clId="{B98E20E2-7193-4695-BBC3-2E4ADB997CFA}" dt="2021-05-03T07:05:25.156" v="338" actId="478"/>
          <ac:spMkLst>
            <pc:docMk/>
            <pc:sldMk cId="1659127470" sldId="1924"/>
            <ac:spMk id="32" creationId="{5A0355AD-A126-4123-B7E5-B694A2A6E9BC}"/>
          </ac:spMkLst>
        </pc:spChg>
        <pc:spChg chg="mod">
          <ac:chgData name="Aurelien Domont" userId="6da7715ce44349b3" providerId="LiveId" clId="{B98E20E2-7193-4695-BBC3-2E4ADB997CFA}" dt="2021-05-03T07:53:14.447" v="581" actId="1036"/>
          <ac:spMkLst>
            <pc:docMk/>
            <pc:sldMk cId="1659127470" sldId="1924"/>
            <ac:spMk id="34" creationId="{E2BDE0B8-90AF-4DE7-A71B-FE78ADE30B55}"/>
          </ac:spMkLst>
        </pc:spChg>
        <pc:spChg chg="mod">
          <ac:chgData name="Aurelien Domont" userId="6da7715ce44349b3" providerId="LiveId" clId="{B98E20E2-7193-4695-BBC3-2E4ADB997CFA}" dt="2021-05-03T07:53:14.447" v="581" actId="1036"/>
          <ac:spMkLst>
            <pc:docMk/>
            <pc:sldMk cId="1659127470" sldId="1924"/>
            <ac:spMk id="35" creationId="{1BC3B263-81C3-42AD-96C7-45AB7FFD0557}"/>
          </ac:spMkLst>
        </pc:spChg>
        <pc:spChg chg="mod">
          <ac:chgData name="Aurelien Domont" userId="6da7715ce44349b3" providerId="LiveId" clId="{B98E20E2-7193-4695-BBC3-2E4ADB997CFA}" dt="2021-05-03T07:53:14.447" v="581" actId="1036"/>
          <ac:spMkLst>
            <pc:docMk/>
            <pc:sldMk cId="1659127470" sldId="1924"/>
            <ac:spMk id="36" creationId="{DEACEA99-9E9A-408A-9277-86EFC1C60A69}"/>
          </ac:spMkLst>
        </pc:spChg>
        <pc:cxnChg chg="mod">
          <ac:chgData name="Aurelien Domont" userId="6da7715ce44349b3" providerId="LiveId" clId="{B98E20E2-7193-4695-BBC3-2E4ADB997CFA}" dt="2021-05-03T07:53:14.447" v="581" actId="1036"/>
          <ac:cxnSpMkLst>
            <pc:docMk/>
            <pc:sldMk cId="1659127470" sldId="1924"/>
            <ac:cxnSpMk id="6" creationId="{91E4FFAB-FF4F-40BB-B034-751A14BFD071}"/>
          </ac:cxnSpMkLst>
        </pc:cxnChg>
        <pc:cxnChg chg="mod">
          <ac:chgData name="Aurelien Domont" userId="6da7715ce44349b3" providerId="LiveId" clId="{B98E20E2-7193-4695-BBC3-2E4ADB997CFA}" dt="2021-05-03T07:53:14.447" v="581" actId="1036"/>
          <ac:cxnSpMkLst>
            <pc:docMk/>
            <pc:sldMk cId="1659127470" sldId="1924"/>
            <ac:cxnSpMk id="33" creationId="{3B31C624-A379-4A7C-8695-3B2B901C5E36}"/>
          </ac:cxnSpMkLst>
        </pc:cxnChg>
      </pc:sldChg>
      <pc:sldChg chg="add">
        <pc:chgData name="Aurelien Domont" userId="6da7715ce44349b3" providerId="LiveId" clId="{B98E20E2-7193-4695-BBC3-2E4ADB997CFA}" dt="2021-05-03T06:22:27.066" v="0"/>
        <pc:sldMkLst>
          <pc:docMk/>
          <pc:sldMk cId="3518638678" sldId="2030"/>
        </pc:sldMkLst>
      </pc:sldChg>
      <pc:sldChg chg="add">
        <pc:chgData name="Aurelien Domont" userId="6da7715ce44349b3" providerId="LiveId" clId="{B98E20E2-7193-4695-BBC3-2E4ADB997CFA}" dt="2021-05-03T06:40:47.570" v="60"/>
        <pc:sldMkLst>
          <pc:docMk/>
          <pc:sldMk cId="3867219056" sldId="2031"/>
        </pc:sldMkLst>
      </pc:sldChg>
      <pc:sldChg chg="modSp add mod">
        <pc:chgData name="Aurelien Domont" userId="6da7715ce44349b3" providerId="LiveId" clId="{B98E20E2-7193-4695-BBC3-2E4ADB997CFA}" dt="2021-05-03T06:43:47.456" v="62" actId="207"/>
        <pc:sldMkLst>
          <pc:docMk/>
          <pc:sldMk cId="2964978532" sldId="2032"/>
        </pc:sldMkLst>
        <pc:spChg chg="mod">
          <ac:chgData name="Aurelien Domont" userId="6da7715ce44349b3" providerId="LiveId" clId="{B98E20E2-7193-4695-BBC3-2E4ADB997CFA}" dt="2021-05-03T06:43:47.456" v="62" actId="207"/>
          <ac:spMkLst>
            <pc:docMk/>
            <pc:sldMk cId="2964978532" sldId="2032"/>
            <ac:spMk id="2" creationId="{47EAB931-197A-40BB-B426-D6D65C61BAA2}"/>
          </ac:spMkLst>
        </pc:spChg>
      </pc:sldChg>
      <pc:sldChg chg="add">
        <pc:chgData name="Aurelien Domont" userId="6da7715ce44349b3" providerId="LiveId" clId="{B98E20E2-7193-4695-BBC3-2E4ADB997CFA}" dt="2021-05-03T07:56:59.029" v="624"/>
        <pc:sldMkLst>
          <pc:docMk/>
          <pc:sldMk cId="1692242364" sldId="2033"/>
        </pc:sldMkLst>
      </pc:sldChg>
    </pc:docChg>
  </pc:docChgLst>
  <pc:docChgLst>
    <pc:chgData name="Aurelien Domont" userId="6da7715ce44349b3" providerId="LiveId" clId="{C07E2EBA-75E5-46FC-801F-7BF5FEE4CB57}"/>
    <pc:docChg chg="modSld">
      <pc:chgData name="Aurelien Domont" userId="6da7715ce44349b3" providerId="LiveId" clId="{C07E2EBA-75E5-46FC-801F-7BF5FEE4CB57}" dt="2021-06-30T05:48:57.645" v="8" actId="113"/>
      <pc:docMkLst>
        <pc:docMk/>
      </pc:docMkLst>
      <pc:sldChg chg="modSp mod">
        <pc:chgData name="Aurelien Domont" userId="6da7715ce44349b3" providerId="LiveId" clId="{C07E2EBA-75E5-46FC-801F-7BF5FEE4CB57}" dt="2021-06-30T05:48:57.645" v="8" actId="113"/>
        <pc:sldMkLst>
          <pc:docMk/>
          <pc:sldMk cId="3131901387" sldId="256"/>
        </pc:sldMkLst>
        <pc:spChg chg="mod">
          <ac:chgData name="Aurelien Domont" userId="6da7715ce44349b3" providerId="LiveId" clId="{C07E2EBA-75E5-46FC-801F-7BF5FEE4CB57}" dt="2021-06-30T05:48:57.645" v="8" actId="113"/>
          <ac:spMkLst>
            <pc:docMk/>
            <pc:sldMk cId="3131901387" sldId="256"/>
            <ac:spMk id="2" creationId="{5261080C-C60C-4746-B6B1-A9A4FFA86785}"/>
          </ac:spMkLst>
        </pc:spChg>
      </pc:sldChg>
    </pc:docChg>
  </pc:docChgLst>
  <pc:docChgLst>
    <pc:chgData name="Aurelien Domont" userId="6da7715ce44349b3" providerId="LiveId" clId="{749C0E2C-AAC6-401A-B449-B354DF3FBE4A}"/>
    <pc:docChg chg="undo redo custSel addSld delSld modSld sldOrd">
      <pc:chgData name="Aurelien Domont" userId="6da7715ce44349b3" providerId="LiveId" clId="{749C0E2C-AAC6-401A-B449-B354DF3FBE4A}" dt="2021-07-20T00:31:14.438" v="890" actId="47"/>
      <pc:docMkLst>
        <pc:docMk/>
      </pc:docMkLst>
      <pc:sldChg chg="addSp delSp modSp mod">
        <pc:chgData name="Aurelien Domont" userId="6da7715ce44349b3" providerId="LiveId" clId="{749C0E2C-AAC6-401A-B449-B354DF3FBE4A}" dt="2021-07-13T06:13:33.143" v="819" actId="478"/>
        <pc:sldMkLst>
          <pc:docMk/>
          <pc:sldMk cId="3131901387" sldId="256"/>
        </pc:sldMkLst>
        <pc:spChg chg="mod">
          <ac:chgData name="Aurelien Domont" userId="6da7715ce44349b3" providerId="LiveId" clId="{749C0E2C-AAC6-401A-B449-B354DF3FBE4A}" dt="2021-07-09T04:33:03.347" v="43" actId="20577"/>
          <ac:spMkLst>
            <pc:docMk/>
            <pc:sldMk cId="3131901387" sldId="256"/>
            <ac:spMk id="2" creationId="{5261080C-C60C-4746-B6B1-A9A4FFA86785}"/>
          </ac:spMkLst>
        </pc:spChg>
        <pc:picChg chg="add del mod">
          <ac:chgData name="Aurelien Domont" userId="6da7715ce44349b3" providerId="LiveId" clId="{749C0E2C-AAC6-401A-B449-B354DF3FBE4A}" dt="2021-07-13T06:11:33.168" v="809" actId="478"/>
          <ac:picMkLst>
            <pc:docMk/>
            <pc:sldMk cId="3131901387" sldId="256"/>
            <ac:picMk id="3" creationId="{A54122EC-30D0-4B37-B927-28A8357B1859}"/>
          </ac:picMkLst>
        </pc:picChg>
        <pc:picChg chg="add del">
          <ac:chgData name="Aurelien Domont" userId="6da7715ce44349b3" providerId="LiveId" clId="{749C0E2C-AAC6-401A-B449-B354DF3FBE4A}" dt="2021-07-13T06:13:33.143" v="819" actId="478"/>
          <ac:picMkLst>
            <pc:docMk/>
            <pc:sldMk cId="3131901387" sldId="256"/>
            <ac:picMk id="4" creationId="{4F9A945A-E262-444E-AB26-D0369F6C20F7}"/>
          </ac:picMkLst>
        </pc:picChg>
      </pc:sldChg>
      <pc:sldChg chg="del">
        <pc:chgData name="Aurelien Domont" userId="6da7715ce44349b3" providerId="LiveId" clId="{749C0E2C-AAC6-401A-B449-B354DF3FBE4A}" dt="2021-07-09T05:31:17.111" v="552" actId="47"/>
        <pc:sldMkLst>
          <pc:docMk/>
          <pc:sldMk cId="3072119178" sldId="1488"/>
        </pc:sldMkLst>
      </pc:sldChg>
      <pc:sldChg chg="del">
        <pc:chgData name="Aurelien Domont" userId="6da7715ce44349b3" providerId="LiveId" clId="{749C0E2C-AAC6-401A-B449-B354DF3FBE4A}" dt="2021-07-09T05:31:20.672" v="553" actId="47"/>
        <pc:sldMkLst>
          <pc:docMk/>
          <pc:sldMk cId="926313830" sldId="1489"/>
        </pc:sldMkLst>
      </pc:sldChg>
      <pc:sldChg chg="del">
        <pc:chgData name="Aurelien Domont" userId="6da7715ce44349b3" providerId="LiveId" clId="{749C0E2C-AAC6-401A-B449-B354DF3FBE4A}" dt="2021-07-09T05:31:21.855" v="554" actId="47"/>
        <pc:sldMkLst>
          <pc:docMk/>
          <pc:sldMk cId="3370215172" sldId="1490"/>
        </pc:sldMkLst>
      </pc:sldChg>
      <pc:sldChg chg="del">
        <pc:chgData name="Aurelien Domont" userId="6da7715ce44349b3" providerId="LiveId" clId="{749C0E2C-AAC6-401A-B449-B354DF3FBE4A}" dt="2021-07-09T05:39:34.087" v="621" actId="47"/>
        <pc:sldMkLst>
          <pc:docMk/>
          <pc:sldMk cId="388158782" sldId="1514"/>
        </pc:sldMkLst>
      </pc:sldChg>
      <pc:sldChg chg="del">
        <pc:chgData name="Aurelien Domont" userId="6da7715ce44349b3" providerId="LiveId" clId="{749C0E2C-AAC6-401A-B449-B354DF3FBE4A}" dt="2021-07-09T05:39:34.087" v="621" actId="47"/>
        <pc:sldMkLst>
          <pc:docMk/>
          <pc:sldMk cId="2270541995" sldId="1519"/>
        </pc:sldMkLst>
      </pc:sldChg>
      <pc:sldChg chg="del">
        <pc:chgData name="Aurelien Domont" userId="6da7715ce44349b3" providerId="LiveId" clId="{749C0E2C-AAC6-401A-B449-B354DF3FBE4A}" dt="2021-07-09T05:39:34.087" v="621" actId="47"/>
        <pc:sldMkLst>
          <pc:docMk/>
          <pc:sldMk cId="112122695" sldId="1521"/>
        </pc:sldMkLst>
      </pc:sldChg>
      <pc:sldChg chg="del">
        <pc:chgData name="Aurelien Domont" userId="6da7715ce44349b3" providerId="LiveId" clId="{749C0E2C-AAC6-401A-B449-B354DF3FBE4A}" dt="2021-07-09T05:39:34.087" v="621" actId="47"/>
        <pc:sldMkLst>
          <pc:docMk/>
          <pc:sldMk cId="3014473461" sldId="1527"/>
        </pc:sldMkLst>
      </pc:sldChg>
      <pc:sldChg chg="del">
        <pc:chgData name="Aurelien Domont" userId="6da7715ce44349b3" providerId="LiveId" clId="{749C0E2C-AAC6-401A-B449-B354DF3FBE4A}" dt="2021-07-09T05:39:34.087" v="621" actId="47"/>
        <pc:sldMkLst>
          <pc:docMk/>
          <pc:sldMk cId="4130717619" sldId="1530"/>
        </pc:sldMkLst>
      </pc:sldChg>
      <pc:sldChg chg="del">
        <pc:chgData name="Aurelien Domont" userId="6da7715ce44349b3" providerId="LiveId" clId="{749C0E2C-AAC6-401A-B449-B354DF3FBE4A}" dt="2021-07-12T01:43:17.009" v="802" actId="47"/>
        <pc:sldMkLst>
          <pc:docMk/>
          <pc:sldMk cId="2853806433" sldId="1600"/>
        </pc:sldMkLst>
      </pc:sldChg>
      <pc:sldChg chg="del">
        <pc:chgData name="Aurelien Domont" userId="6da7715ce44349b3" providerId="LiveId" clId="{749C0E2C-AAC6-401A-B449-B354DF3FBE4A}" dt="2021-07-09T05:39:34.087" v="621" actId="47"/>
        <pc:sldMkLst>
          <pc:docMk/>
          <pc:sldMk cId="2815671749" sldId="1601"/>
        </pc:sldMkLst>
      </pc:sldChg>
      <pc:sldChg chg="del">
        <pc:chgData name="Aurelien Domont" userId="6da7715ce44349b3" providerId="LiveId" clId="{749C0E2C-AAC6-401A-B449-B354DF3FBE4A}" dt="2021-07-09T05:04:36.405" v="309" actId="47"/>
        <pc:sldMkLst>
          <pc:docMk/>
          <pc:sldMk cId="317099162" sldId="1749"/>
        </pc:sldMkLst>
      </pc:sldChg>
      <pc:sldChg chg="modSp add mod">
        <pc:chgData name="Aurelien Domont" userId="6da7715ce44349b3" providerId="LiveId" clId="{749C0E2C-AAC6-401A-B449-B354DF3FBE4A}" dt="2021-07-09T04:48:54.401" v="222" actId="20577"/>
        <pc:sldMkLst>
          <pc:docMk/>
          <pc:sldMk cId="3022188194" sldId="1922"/>
        </pc:sldMkLst>
        <pc:spChg chg="mod">
          <ac:chgData name="Aurelien Domont" userId="6da7715ce44349b3" providerId="LiveId" clId="{749C0E2C-AAC6-401A-B449-B354DF3FBE4A}" dt="2021-07-09T04:48:54.401" v="222" actId="20577"/>
          <ac:spMkLst>
            <pc:docMk/>
            <pc:sldMk cId="3022188194" sldId="1922"/>
            <ac:spMk id="14" creationId="{C9800183-F524-4412-AB39-A6E1A21FF0B3}"/>
          </ac:spMkLst>
        </pc:spChg>
      </pc:sldChg>
      <pc:sldChg chg="addSp modSp add">
        <pc:chgData name="Aurelien Domont" userId="6da7715ce44349b3" providerId="LiveId" clId="{749C0E2C-AAC6-401A-B449-B354DF3FBE4A}" dt="2021-07-09T05:15:57.831" v="339"/>
        <pc:sldMkLst>
          <pc:docMk/>
          <pc:sldMk cId="235018652" sldId="1927"/>
        </pc:sldMkLst>
        <pc:spChg chg="mod">
          <ac:chgData name="Aurelien Domont" userId="6da7715ce44349b3" providerId="LiveId" clId="{749C0E2C-AAC6-401A-B449-B354DF3FBE4A}" dt="2021-07-09T05:15:57.831" v="339"/>
          <ac:spMkLst>
            <pc:docMk/>
            <pc:sldMk cId="235018652" sldId="1927"/>
            <ac:spMk id="20" creationId="{129A6C6B-1CA1-481D-8F37-9F7A6CCB0596}"/>
          </ac:spMkLst>
        </pc:spChg>
        <pc:spChg chg="mod">
          <ac:chgData name="Aurelien Domont" userId="6da7715ce44349b3" providerId="LiveId" clId="{749C0E2C-AAC6-401A-B449-B354DF3FBE4A}" dt="2021-07-09T05:15:57.831" v="339"/>
          <ac:spMkLst>
            <pc:docMk/>
            <pc:sldMk cId="235018652" sldId="1927"/>
            <ac:spMk id="26" creationId="{B13EDE20-3971-4D68-9505-73A02D6B7F84}"/>
          </ac:spMkLst>
        </pc:spChg>
        <pc:grpChg chg="add mod">
          <ac:chgData name="Aurelien Domont" userId="6da7715ce44349b3" providerId="LiveId" clId="{749C0E2C-AAC6-401A-B449-B354DF3FBE4A}" dt="2021-07-09T05:15:57.831" v="339"/>
          <ac:grpSpMkLst>
            <pc:docMk/>
            <pc:sldMk cId="235018652" sldId="1927"/>
            <ac:grpSpMk id="19" creationId="{BA831923-BE4F-4217-A80C-31D2D69AB7F0}"/>
          </ac:grpSpMkLst>
        </pc:grpChg>
        <pc:cxnChg chg="mod">
          <ac:chgData name="Aurelien Domont" userId="6da7715ce44349b3" providerId="LiveId" clId="{749C0E2C-AAC6-401A-B449-B354DF3FBE4A}" dt="2021-07-09T05:15:57.831" v="339"/>
          <ac:cxnSpMkLst>
            <pc:docMk/>
            <pc:sldMk cId="235018652" sldId="1927"/>
            <ac:cxnSpMk id="27" creationId="{3FAB2AAB-5F17-4327-8825-B2D46440E12D}"/>
          </ac:cxnSpMkLst>
        </pc:cxnChg>
        <pc:cxnChg chg="mod">
          <ac:chgData name="Aurelien Domont" userId="6da7715ce44349b3" providerId="LiveId" clId="{749C0E2C-AAC6-401A-B449-B354DF3FBE4A}" dt="2021-07-09T05:15:57.831" v="339"/>
          <ac:cxnSpMkLst>
            <pc:docMk/>
            <pc:sldMk cId="235018652" sldId="1927"/>
            <ac:cxnSpMk id="28" creationId="{BB4A1489-6E98-4552-ADB7-D7F0AAC216C1}"/>
          </ac:cxnSpMkLst>
        </pc:cxnChg>
      </pc:sldChg>
      <pc:sldChg chg="add">
        <pc:chgData name="Aurelien Domont" userId="6da7715ce44349b3" providerId="LiveId" clId="{749C0E2C-AAC6-401A-B449-B354DF3FBE4A}" dt="2021-07-09T05:15:30.449" v="335"/>
        <pc:sldMkLst>
          <pc:docMk/>
          <pc:sldMk cId="802743741" sldId="1929"/>
        </pc:sldMkLst>
      </pc:sldChg>
      <pc:sldChg chg="addSp modSp add">
        <pc:chgData name="Aurelien Domont" userId="6da7715ce44349b3" providerId="LiveId" clId="{749C0E2C-AAC6-401A-B449-B354DF3FBE4A}" dt="2021-07-09T05:15:41.139" v="337"/>
        <pc:sldMkLst>
          <pc:docMk/>
          <pc:sldMk cId="784211076" sldId="1931"/>
        </pc:sldMkLst>
        <pc:spChg chg="mod">
          <ac:chgData name="Aurelien Domont" userId="6da7715ce44349b3" providerId="LiveId" clId="{749C0E2C-AAC6-401A-B449-B354DF3FBE4A}" dt="2021-07-09T05:15:41.139" v="337"/>
          <ac:spMkLst>
            <pc:docMk/>
            <pc:sldMk cId="784211076" sldId="1931"/>
            <ac:spMk id="22" creationId="{F3E0B619-41FC-425E-A4B8-645F419D9706}"/>
          </ac:spMkLst>
        </pc:spChg>
        <pc:spChg chg="mod">
          <ac:chgData name="Aurelien Domont" userId="6da7715ce44349b3" providerId="LiveId" clId="{749C0E2C-AAC6-401A-B449-B354DF3FBE4A}" dt="2021-07-09T05:15:41.139" v="337"/>
          <ac:spMkLst>
            <pc:docMk/>
            <pc:sldMk cId="784211076" sldId="1931"/>
            <ac:spMk id="23" creationId="{39E95F25-7BDB-49C5-9EAA-F6EBE923D32F}"/>
          </ac:spMkLst>
        </pc:spChg>
        <pc:grpChg chg="add mod">
          <ac:chgData name="Aurelien Domont" userId="6da7715ce44349b3" providerId="LiveId" clId="{749C0E2C-AAC6-401A-B449-B354DF3FBE4A}" dt="2021-07-09T05:15:41.139" v="337"/>
          <ac:grpSpMkLst>
            <pc:docMk/>
            <pc:sldMk cId="784211076" sldId="1931"/>
            <ac:grpSpMk id="21" creationId="{EAA4DB44-144B-41C7-BE22-640E72AB89B6}"/>
          </ac:grpSpMkLst>
        </pc:grpChg>
        <pc:cxnChg chg="mod">
          <ac:chgData name="Aurelien Domont" userId="6da7715ce44349b3" providerId="LiveId" clId="{749C0E2C-AAC6-401A-B449-B354DF3FBE4A}" dt="2021-07-09T05:15:41.139" v="337"/>
          <ac:cxnSpMkLst>
            <pc:docMk/>
            <pc:sldMk cId="784211076" sldId="1931"/>
            <ac:cxnSpMk id="24" creationId="{A85FC5BE-367C-42B9-A134-860A2253599E}"/>
          </ac:cxnSpMkLst>
        </pc:cxnChg>
        <pc:cxnChg chg="mod">
          <ac:chgData name="Aurelien Domont" userId="6da7715ce44349b3" providerId="LiveId" clId="{749C0E2C-AAC6-401A-B449-B354DF3FBE4A}" dt="2021-07-09T05:15:41.139" v="337"/>
          <ac:cxnSpMkLst>
            <pc:docMk/>
            <pc:sldMk cId="784211076" sldId="1931"/>
            <ac:cxnSpMk id="34" creationId="{A7CF562C-DA2E-406E-AE09-C8D054B250E8}"/>
          </ac:cxnSpMkLst>
        </pc:cxnChg>
      </pc:sldChg>
      <pc:sldChg chg="add del">
        <pc:chgData name="Aurelien Domont" userId="6da7715ce44349b3" providerId="LiveId" clId="{749C0E2C-AAC6-401A-B449-B354DF3FBE4A}" dt="2021-07-09T05:24:33.079" v="452"/>
        <pc:sldMkLst>
          <pc:docMk/>
          <pc:sldMk cId="387956599" sldId="1956"/>
        </pc:sldMkLst>
      </pc:sldChg>
      <pc:sldChg chg="modSp add mod">
        <pc:chgData name="Aurelien Domont" userId="6da7715ce44349b3" providerId="LiveId" clId="{749C0E2C-AAC6-401A-B449-B354DF3FBE4A}" dt="2021-07-09T05:38:04.853" v="614" actId="14100"/>
        <pc:sldMkLst>
          <pc:docMk/>
          <pc:sldMk cId="2974049731" sldId="1979"/>
        </pc:sldMkLst>
        <pc:graphicFrameChg chg="mod modGraphic">
          <ac:chgData name="Aurelien Domont" userId="6da7715ce44349b3" providerId="LiveId" clId="{749C0E2C-AAC6-401A-B449-B354DF3FBE4A}" dt="2021-07-09T05:38:04.853" v="614" actId="14100"/>
          <ac:graphicFrameMkLst>
            <pc:docMk/>
            <pc:sldMk cId="2974049731" sldId="1979"/>
            <ac:graphicFrameMk id="18" creationId="{1F158F34-2128-4653-A8C6-9678A73B1B0A}"/>
          </ac:graphicFrameMkLst>
        </pc:graphicFrameChg>
      </pc:sldChg>
      <pc:sldChg chg="add">
        <pc:chgData name="Aurelien Domont" userId="6da7715ce44349b3" providerId="LiveId" clId="{749C0E2C-AAC6-401A-B449-B354DF3FBE4A}" dt="2021-07-09T05:30:43.425" v="551"/>
        <pc:sldMkLst>
          <pc:docMk/>
          <pc:sldMk cId="3998626003" sldId="1980"/>
        </pc:sldMkLst>
      </pc:sldChg>
      <pc:sldChg chg="add">
        <pc:chgData name="Aurelien Domont" userId="6da7715ce44349b3" providerId="LiveId" clId="{749C0E2C-AAC6-401A-B449-B354DF3FBE4A}" dt="2021-07-09T05:40:28.638" v="622"/>
        <pc:sldMkLst>
          <pc:docMk/>
          <pc:sldMk cId="1026744296" sldId="1986"/>
        </pc:sldMkLst>
      </pc:sldChg>
      <pc:sldChg chg="del">
        <pc:chgData name="Aurelien Domont" userId="6da7715ce44349b3" providerId="LiveId" clId="{749C0E2C-AAC6-401A-B449-B354DF3FBE4A}" dt="2021-07-09T05:16:26.706" v="340" actId="47"/>
        <pc:sldMkLst>
          <pc:docMk/>
          <pc:sldMk cId="1479295029" sldId="2156"/>
        </pc:sldMkLst>
      </pc:sldChg>
      <pc:sldChg chg="delSp modSp mod ord">
        <pc:chgData name="Aurelien Domont" userId="6da7715ce44349b3" providerId="LiveId" clId="{749C0E2C-AAC6-401A-B449-B354DF3FBE4A}" dt="2021-07-20T00:26:33.075" v="839" actId="20577"/>
        <pc:sldMkLst>
          <pc:docMk/>
          <pc:sldMk cId="1073937120" sldId="2160"/>
        </pc:sldMkLst>
        <pc:spChg chg="mod">
          <ac:chgData name="Aurelien Domont" userId="6da7715ce44349b3" providerId="LiveId" clId="{749C0E2C-AAC6-401A-B449-B354DF3FBE4A}" dt="2021-07-09T05:02:30.861" v="285" actId="20577"/>
          <ac:spMkLst>
            <pc:docMk/>
            <pc:sldMk cId="1073937120" sldId="2160"/>
            <ac:spMk id="31" creationId="{80DB5C2A-CB4E-438A-8801-EB0869040D7B}"/>
          </ac:spMkLst>
        </pc:spChg>
        <pc:spChg chg="mod topLvl">
          <ac:chgData name="Aurelien Domont" userId="6da7715ce44349b3" providerId="LiveId" clId="{749C0E2C-AAC6-401A-B449-B354DF3FBE4A}" dt="2021-07-09T05:03:19.075" v="290" actId="165"/>
          <ac:spMkLst>
            <pc:docMk/>
            <pc:sldMk cId="1073937120" sldId="2160"/>
            <ac:spMk id="33" creationId="{136CAC62-BD7A-4F23-AD5D-25BC893F5D06}"/>
          </ac:spMkLst>
        </pc:spChg>
        <pc:spChg chg="mod topLvl">
          <ac:chgData name="Aurelien Domont" userId="6da7715ce44349b3" providerId="LiveId" clId="{749C0E2C-AAC6-401A-B449-B354DF3FBE4A}" dt="2021-07-09T05:03:19.075" v="290" actId="165"/>
          <ac:spMkLst>
            <pc:docMk/>
            <pc:sldMk cId="1073937120" sldId="2160"/>
            <ac:spMk id="34" creationId="{914710CC-43D0-40E4-BE38-8260007B17B9}"/>
          </ac:spMkLst>
        </pc:spChg>
        <pc:spChg chg="mod topLvl">
          <ac:chgData name="Aurelien Domont" userId="6da7715ce44349b3" providerId="LiveId" clId="{749C0E2C-AAC6-401A-B449-B354DF3FBE4A}" dt="2021-07-09T05:03:19.075" v="290" actId="165"/>
          <ac:spMkLst>
            <pc:docMk/>
            <pc:sldMk cId="1073937120" sldId="2160"/>
            <ac:spMk id="35" creationId="{5DB60DCA-E97E-4CE1-BDE2-3F58612B673D}"/>
          </ac:spMkLst>
        </pc:spChg>
        <pc:spChg chg="mod topLvl">
          <ac:chgData name="Aurelien Domont" userId="6da7715ce44349b3" providerId="LiveId" clId="{749C0E2C-AAC6-401A-B449-B354DF3FBE4A}" dt="2021-07-09T05:03:19.075" v="290" actId="165"/>
          <ac:spMkLst>
            <pc:docMk/>
            <pc:sldMk cId="1073937120" sldId="2160"/>
            <ac:spMk id="36" creationId="{F7C36D7A-1302-495A-B774-24A5AA9E12E9}"/>
          </ac:spMkLst>
        </pc:spChg>
        <pc:spChg chg="mod topLvl">
          <ac:chgData name="Aurelien Domont" userId="6da7715ce44349b3" providerId="LiveId" clId="{749C0E2C-AAC6-401A-B449-B354DF3FBE4A}" dt="2021-07-09T05:03:19.075" v="290" actId="165"/>
          <ac:spMkLst>
            <pc:docMk/>
            <pc:sldMk cId="1073937120" sldId="2160"/>
            <ac:spMk id="37" creationId="{CD63437F-F6CC-47EB-B465-CD7C2718450E}"/>
          </ac:spMkLst>
        </pc:spChg>
        <pc:spChg chg="mod topLvl">
          <ac:chgData name="Aurelien Domont" userId="6da7715ce44349b3" providerId="LiveId" clId="{749C0E2C-AAC6-401A-B449-B354DF3FBE4A}" dt="2021-07-09T05:03:19.075" v="290" actId="165"/>
          <ac:spMkLst>
            <pc:docMk/>
            <pc:sldMk cId="1073937120" sldId="2160"/>
            <ac:spMk id="38" creationId="{4C11F337-8F23-4C82-A3AC-E4155E5FF1FE}"/>
          </ac:spMkLst>
        </pc:spChg>
        <pc:spChg chg="mod topLvl">
          <ac:chgData name="Aurelien Domont" userId="6da7715ce44349b3" providerId="LiveId" clId="{749C0E2C-AAC6-401A-B449-B354DF3FBE4A}" dt="2021-07-09T05:03:19.075" v="290" actId="165"/>
          <ac:spMkLst>
            <pc:docMk/>
            <pc:sldMk cId="1073937120" sldId="2160"/>
            <ac:spMk id="39" creationId="{7EFA4796-2F23-4499-ACA5-9E1468336A1C}"/>
          </ac:spMkLst>
        </pc:spChg>
        <pc:spChg chg="mod topLvl">
          <ac:chgData name="Aurelien Domont" userId="6da7715ce44349b3" providerId="LiveId" clId="{749C0E2C-AAC6-401A-B449-B354DF3FBE4A}" dt="2021-07-09T05:03:19.075" v="290" actId="165"/>
          <ac:spMkLst>
            <pc:docMk/>
            <pc:sldMk cId="1073937120" sldId="2160"/>
            <ac:spMk id="40" creationId="{FB97BE99-9CA1-4E0F-8638-7537C1B51A33}"/>
          </ac:spMkLst>
        </pc:spChg>
        <pc:spChg chg="mod topLvl">
          <ac:chgData name="Aurelien Domont" userId="6da7715ce44349b3" providerId="LiveId" clId="{749C0E2C-AAC6-401A-B449-B354DF3FBE4A}" dt="2021-07-09T05:03:19.075" v="290" actId="165"/>
          <ac:spMkLst>
            <pc:docMk/>
            <pc:sldMk cId="1073937120" sldId="2160"/>
            <ac:spMk id="41" creationId="{9659A567-73DB-4864-A2F9-26C32BFEA546}"/>
          </ac:spMkLst>
        </pc:spChg>
        <pc:spChg chg="mod">
          <ac:chgData name="Aurelien Domont" userId="6da7715ce44349b3" providerId="LiveId" clId="{749C0E2C-AAC6-401A-B449-B354DF3FBE4A}" dt="2021-07-20T00:26:33.075" v="839" actId="20577"/>
          <ac:spMkLst>
            <pc:docMk/>
            <pc:sldMk cId="1073937120" sldId="2160"/>
            <ac:spMk id="51" creationId="{7E31ED7F-C9D6-48C3-B1F3-EC53DABCBEF6}"/>
          </ac:spMkLst>
        </pc:spChg>
        <pc:grpChg chg="del mod">
          <ac:chgData name="Aurelien Domont" userId="6da7715ce44349b3" providerId="LiveId" clId="{749C0E2C-AAC6-401A-B449-B354DF3FBE4A}" dt="2021-07-09T05:03:19.075" v="290" actId="165"/>
          <ac:grpSpMkLst>
            <pc:docMk/>
            <pc:sldMk cId="1073937120" sldId="2160"/>
            <ac:grpSpMk id="4" creationId="{BD5EFEE5-15B1-4D1C-9CCE-C42E69F4F8C9}"/>
          </ac:grpSpMkLst>
        </pc:grpChg>
        <pc:picChg chg="mod topLvl">
          <ac:chgData name="Aurelien Domont" userId="6da7715ce44349b3" providerId="LiveId" clId="{749C0E2C-AAC6-401A-B449-B354DF3FBE4A}" dt="2021-07-09T05:03:28.937" v="293" actId="1076"/>
          <ac:picMkLst>
            <pc:docMk/>
            <pc:sldMk cId="1073937120" sldId="2160"/>
            <ac:picMk id="42" creationId="{31343271-C45F-467D-AA4A-4124839CA5E3}"/>
          </ac:picMkLst>
        </pc:picChg>
        <pc:picChg chg="mod topLvl">
          <ac:chgData name="Aurelien Domont" userId="6da7715ce44349b3" providerId="LiveId" clId="{749C0E2C-AAC6-401A-B449-B354DF3FBE4A}" dt="2021-07-09T05:03:40.897" v="297" actId="1076"/>
          <ac:picMkLst>
            <pc:docMk/>
            <pc:sldMk cId="1073937120" sldId="2160"/>
            <ac:picMk id="43" creationId="{50C1E75A-6425-4A9C-ABD3-BAFCF30AE0FC}"/>
          </ac:picMkLst>
        </pc:picChg>
        <pc:picChg chg="mod topLvl">
          <ac:chgData name="Aurelien Domont" userId="6da7715ce44349b3" providerId="LiveId" clId="{749C0E2C-AAC6-401A-B449-B354DF3FBE4A}" dt="2021-07-09T05:03:38.498" v="296" actId="1076"/>
          <ac:picMkLst>
            <pc:docMk/>
            <pc:sldMk cId="1073937120" sldId="2160"/>
            <ac:picMk id="44" creationId="{4D510F8B-D1F6-41E2-B9FD-D038A30AFC37}"/>
          </ac:picMkLst>
        </pc:picChg>
        <pc:picChg chg="mod topLvl">
          <ac:chgData name="Aurelien Domont" userId="6da7715ce44349b3" providerId="LiveId" clId="{749C0E2C-AAC6-401A-B449-B354DF3FBE4A}" dt="2021-07-09T05:03:49.794" v="299" actId="1076"/>
          <ac:picMkLst>
            <pc:docMk/>
            <pc:sldMk cId="1073937120" sldId="2160"/>
            <ac:picMk id="45" creationId="{18EBC665-B8FB-4DFC-B5CA-68E5E082DD4B}"/>
          </ac:picMkLst>
        </pc:picChg>
        <pc:picChg chg="mod topLvl">
          <ac:chgData name="Aurelien Domont" userId="6da7715ce44349b3" providerId="LiveId" clId="{749C0E2C-AAC6-401A-B449-B354DF3FBE4A}" dt="2021-07-09T05:03:47.245" v="298" actId="1076"/>
          <ac:picMkLst>
            <pc:docMk/>
            <pc:sldMk cId="1073937120" sldId="2160"/>
            <ac:picMk id="46" creationId="{DDD7D522-A1EE-4899-BEA4-A073505F8E80}"/>
          </ac:picMkLst>
        </pc:picChg>
        <pc:picChg chg="mod topLvl">
          <ac:chgData name="Aurelien Domont" userId="6da7715ce44349b3" providerId="LiveId" clId="{749C0E2C-AAC6-401A-B449-B354DF3FBE4A}" dt="2021-07-09T05:04:01.114" v="308" actId="1037"/>
          <ac:picMkLst>
            <pc:docMk/>
            <pc:sldMk cId="1073937120" sldId="2160"/>
            <ac:picMk id="47" creationId="{7099CF69-2587-4723-BDDC-C4F6D33AB3D2}"/>
          </ac:picMkLst>
        </pc:picChg>
        <pc:picChg chg="mod topLvl">
          <ac:chgData name="Aurelien Domont" userId="6da7715ce44349b3" providerId="LiveId" clId="{749C0E2C-AAC6-401A-B449-B354DF3FBE4A}" dt="2021-07-09T05:03:19.075" v="290" actId="165"/>
          <ac:picMkLst>
            <pc:docMk/>
            <pc:sldMk cId="1073937120" sldId="2160"/>
            <ac:picMk id="48" creationId="{0FDD7080-CF55-4944-B213-9A68EF10F7F7}"/>
          </ac:picMkLst>
        </pc:picChg>
        <pc:picChg chg="mod topLvl">
          <ac:chgData name="Aurelien Domont" userId="6da7715ce44349b3" providerId="LiveId" clId="{749C0E2C-AAC6-401A-B449-B354DF3FBE4A}" dt="2021-07-09T05:03:19.075" v="290" actId="165"/>
          <ac:picMkLst>
            <pc:docMk/>
            <pc:sldMk cId="1073937120" sldId="2160"/>
            <ac:picMk id="49" creationId="{9DAC47A1-5848-4981-80B4-EFBBC45F2565}"/>
          </ac:picMkLst>
        </pc:picChg>
        <pc:picChg chg="mod topLvl">
          <ac:chgData name="Aurelien Domont" userId="6da7715ce44349b3" providerId="LiveId" clId="{749C0E2C-AAC6-401A-B449-B354DF3FBE4A}" dt="2021-07-09T05:03:34.034" v="294" actId="1076"/>
          <ac:picMkLst>
            <pc:docMk/>
            <pc:sldMk cId="1073937120" sldId="2160"/>
            <ac:picMk id="50" creationId="{E2840E44-AE81-4EC8-A8F2-69A333075A70}"/>
          </ac:picMkLst>
        </pc:picChg>
      </pc:sldChg>
      <pc:sldChg chg="del">
        <pc:chgData name="Aurelien Domont" userId="6da7715ce44349b3" providerId="LiveId" clId="{749C0E2C-AAC6-401A-B449-B354DF3FBE4A}" dt="2021-07-09T05:04:40.140" v="310" actId="47"/>
        <pc:sldMkLst>
          <pc:docMk/>
          <pc:sldMk cId="62308209" sldId="2161"/>
        </pc:sldMkLst>
      </pc:sldChg>
      <pc:sldChg chg="del">
        <pc:chgData name="Aurelien Domont" userId="6da7715ce44349b3" providerId="LiveId" clId="{749C0E2C-AAC6-401A-B449-B354DF3FBE4A}" dt="2021-07-09T05:04:41.638" v="311" actId="47"/>
        <pc:sldMkLst>
          <pc:docMk/>
          <pc:sldMk cId="3272444503" sldId="2162"/>
        </pc:sldMkLst>
      </pc:sldChg>
      <pc:sldChg chg="addSp delSp modSp mod ord">
        <pc:chgData name="Aurelien Domont" userId="6da7715ce44349b3" providerId="LiveId" clId="{749C0E2C-AAC6-401A-B449-B354DF3FBE4A}" dt="2021-07-14T05:50:22.236" v="835"/>
        <pc:sldMkLst>
          <pc:docMk/>
          <pc:sldMk cId="3193088531" sldId="2164"/>
        </pc:sldMkLst>
        <pc:spChg chg="del">
          <ac:chgData name="Aurelien Domont" userId="6da7715ce44349b3" providerId="LiveId" clId="{749C0E2C-AAC6-401A-B449-B354DF3FBE4A}" dt="2021-07-09T05:05:21.864" v="316" actId="478"/>
          <ac:spMkLst>
            <pc:docMk/>
            <pc:sldMk cId="3193088531" sldId="2164"/>
            <ac:spMk id="6" creationId="{80C2FA24-C3FF-4F99-8694-BA262AB8070A}"/>
          </ac:spMkLst>
        </pc:spChg>
        <pc:spChg chg="del">
          <ac:chgData name="Aurelien Domont" userId="6da7715ce44349b3" providerId="LiveId" clId="{749C0E2C-AAC6-401A-B449-B354DF3FBE4A}" dt="2021-07-09T05:05:21.864" v="316" actId="478"/>
          <ac:spMkLst>
            <pc:docMk/>
            <pc:sldMk cId="3193088531" sldId="2164"/>
            <ac:spMk id="7" creationId="{AA474FA7-23F8-48D3-A4A1-46C7E7EF8CBF}"/>
          </ac:spMkLst>
        </pc:spChg>
        <pc:spChg chg="del">
          <ac:chgData name="Aurelien Domont" userId="6da7715ce44349b3" providerId="LiveId" clId="{749C0E2C-AAC6-401A-B449-B354DF3FBE4A}" dt="2021-07-09T05:05:21.864" v="316" actId="478"/>
          <ac:spMkLst>
            <pc:docMk/>
            <pc:sldMk cId="3193088531" sldId="2164"/>
            <ac:spMk id="8" creationId="{44D82846-5412-4854-9CE9-6BD4A4D3F201}"/>
          </ac:spMkLst>
        </pc:spChg>
        <pc:spChg chg="del">
          <ac:chgData name="Aurelien Domont" userId="6da7715ce44349b3" providerId="LiveId" clId="{749C0E2C-AAC6-401A-B449-B354DF3FBE4A}" dt="2021-07-09T05:05:21.864" v="316" actId="478"/>
          <ac:spMkLst>
            <pc:docMk/>
            <pc:sldMk cId="3193088531" sldId="2164"/>
            <ac:spMk id="10" creationId="{F6F130AE-016B-49E7-B056-02422308B35C}"/>
          </ac:spMkLst>
        </pc:spChg>
        <pc:spChg chg="del">
          <ac:chgData name="Aurelien Domont" userId="6da7715ce44349b3" providerId="LiveId" clId="{749C0E2C-AAC6-401A-B449-B354DF3FBE4A}" dt="2021-07-09T05:05:21.864" v="316" actId="478"/>
          <ac:spMkLst>
            <pc:docMk/>
            <pc:sldMk cId="3193088531" sldId="2164"/>
            <ac:spMk id="11" creationId="{381FC75F-03AC-4E06-95A5-77AA464D139B}"/>
          </ac:spMkLst>
        </pc:spChg>
        <pc:spChg chg="del">
          <ac:chgData name="Aurelien Domont" userId="6da7715ce44349b3" providerId="LiveId" clId="{749C0E2C-AAC6-401A-B449-B354DF3FBE4A}" dt="2021-07-09T05:05:21.864" v="316" actId="478"/>
          <ac:spMkLst>
            <pc:docMk/>
            <pc:sldMk cId="3193088531" sldId="2164"/>
            <ac:spMk id="12" creationId="{F22BF9F2-93B5-4D57-85D0-BA4BB3074ECE}"/>
          </ac:spMkLst>
        </pc:spChg>
        <pc:spChg chg="add mod">
          <ac:chgData name="Aurelien Domont" userId="6da7715ce44349b3" providerId="LiveId" clId="{749C0E2C-AAC6-401A-B449-B354DF3FBE4A}" dt="2021-07-09T07:29:38.845" v="800"/>
          <ac:spMkLst>
            <pc:docMk/>
            <pc:sldMk cId="3193088531" sldId="2164"/>
            <ac:spMk id="15" creationId="{732724F5-813D-4E0C-955B-93EC1AD01210}"/>
          </ac:spMkLst>
        </pc:spChg>
        <pc:spChg chg="mod">
          <ac:chgData name="Aurelien Domont" userId="6da7715ce44349b3" providerId="LiveId" clId="{749C0E2C-AAC6-401A-B449-B354DF3FBE4A}" dt="2021-07-09T07:28:45.177" v="799" actId="255"/>
          <ac:spMkLst>
            <pc:docMk/>
            <pc:sldMk cId="3193088531" sldId="2164"/>
            <ac:spMk id="16" creationId="{6C2BB713-9637-4B9B-938F-E9768876782A}"/>
          </ac:spMkLst>
        </pc:spChg>
        <pc:spChg chg="add mod">
          <ac:chgData name="Aurelien Domont" userId="6da7715ce44349b3" providerId="LiveId" clId="{749C0E2C-AAC6-401A-B449-B354DF3FBE4A}" dt="2021-07-09T05:05:40.639" v="317"/>
          <ac:spMkLst>
            <pc:docMk/>
            <pc:sldMk cId="3193088531" sldId="2164"/>
            <ac:spMk id="17" creationId="{BAEEACBE-E39A-4BC1-B55D-166857BB1CEC}"/>
          </ac:spMkLst>
        </pc:spChg>
        <pc:spChg chg="add mod">
          <ac:chgData name="Aurelien Domont" userId="6da7715ce44349b3" providerId="LiveId" clId="{749C0E2C-AAC6-401A-B449-B354DF3FBE4A}" dt="2021-07-09T05:05:40.639" v="317"/>
          <ac:spMkLst>
            <pc:docMk/>
            <pc:sldMk cId="3193088531" sldId="2164"/>
            <ac:spMk id="18" creationId="{FCD01D50-6898-4F94-A2D3-151F072B5E6A}"/>
          </ac:spMkLst>
        </pc:spChg>
        <pc:spChg chg="add mod">
          <ac:chgData name="Aurelien Domont" userId="6da7715ce44349b3" providerId="LiveId" clId="{749C0E2C-AAC6-401A-B449-B354DF3FBE4A}" dt="2021-07-09T05:05:40.639" v="317"/>
          <ac:spMkLst>
            <pc:docMk/>
            <pc:sldMk cId="3193088531" sldId="2164"/>
            <ac:spMk id="21" creationId="{04475BBB-2493-447A-9108-B1FDDAAEE739}"/>
          </ac:spMkLst>
        </pc:spChg>
        <pc:spChg chg="add mod">
          <ac:chgData name="Aurelien Domont" userId="6da7715ce44349b3" providerId="LiveId" clId="{749C0E2C-AAC6-401A-B449-B354DF3FBE4A}" dt="2021-07-14T05:50:22.236" v="835"/>
          <ac:spMkLst>
            <pc:docMk/>
            <pc:sldMk cId="3193088531" sldId="2164"/>
            <ac:spMk id="22" creationId="{BFED4C53-91DC-4B0E-A0FE-AEA7E1F6E302}"/>
          </ac:spMkLst>
        </pc:spChg>
        <pc:spChg chg="add mod">
          <ac:chgData name="Aurelien Domont" userId="6da7715ce44349b3" providerId="LiveId" clId="{749C0E2C-AAC6-401A-B449-B354DF3FBE4A}" dt="2021-07-09T05:05:40.639" v="317"/>
          <ac:spMkLst>
            <pc:docMk/>
            <pc:sldMk cId="3193088531" sldId="2164"/>
            <ac:spMk id="23" creationId="{06434AF8-353F-4315-B496-98AFB94390E4}"/>
          </ac:spMkLst>
        </pc:spChg>
        <pc:cxnChg chg="del">
          <ac:chgData name="Aurelien Domont" userId="6da7715ce44349b3" providerId="LiveId" clId="{749C0E2C-AAC6-401A-B449-B354DF3FBE4A}" dt="2021-07-09T05:05:21.864" v="316" actId="478"/>
          <ac:cxnSpMkLst>
            <pc:docMk/>
            <pc:sldMk cId="3193088531" sldId="2164"/>
            <ac:cxnSpMk id="9" creationId="{938E2F11-EEE6-4CE3-AA18-0A0EFEAFC83C}"/>
          </ac:cxnSpMkLst>
        </pc:cxnChg>
        <pc:cxnChg chg="del">
          <ac:chgData name="Aurelien Domont" userId="6da7715ce44349b3" providerId="LiveId" clId="{749C0E2C-AAC6-401A-B449-B354DF3FBE4A}" dt="2021-07-09T05:05:21.864" v="316" actId="478"/>
          <ac:cxnSpMkLst>
            <pc:docMk/>
            <pc:sldMk cId="3193088531" sldId="2164"/>
            <ac:cxnSpMk id="14" creationId="{BD538E77-947C-4FAE-B4B2-3DD1EF8F7624}"/>
          </ac:cxnSpMkLst>
        </pc:cxnChg>
        <pc:cxnChg chg="add del mod">
          <ac:chgData name="Aurelien Domont" userId="6da7715ce44349b3" providerId="LiveId" clId="{749C0E2C-AAC6-401A-B449-B354DF3FBE4A}" dt="2021-07-09T05:29:06.560" v="548" actId="478"/>
          <ac:cxnSpMkLst>
            <pc:docMk/>
            <pc:sldMk cId="3193088531" sldId="2164"/>
            <ac:cxnSpMk id="19" creationId="{D86A8D9F-88A9-408D-B177-08B0989546A8}"/>
          </ac:cxnSpMkLst>
        </pc:cxnChg>
        <pc:cxnChg chg="add del mod">
          <ac:chgData name="Aurelien Domont" userId="6da7715ce44349b3" providerId="LiveId" clId="{749C0E2C-AAC6-401A-B449-B354DF3FBE4A}" dt="2021-07-09T05:29:09.012" v="549" actId="478"/>
          <ac:cxnSpMkLst>
            <pc:docMk/>
            <pc:sldMk cId="3193088531" sldId="2164"/>
            <ac:cxnSpMk id="20" creationId="{3F820109-F453-4F6E-B517-7EB3BA9D006E}"/>
          </ac:cxnSpMkLst>
        </pc:cxnChg>
        <pc:cxnChg chg="add mod">
          <ac:chgData name="Aurelien Domont" userId="6da7715ce44349b3" providerId="LiveId" clId="{749C0E2C-AAC6-401A-B449-B354DF3FBE4A}" dt="2021-07-09T05:29:09.184" v="550"/>
          <ac:cxnSpMkLst>
            <pc:docMk/>
            <pc:sldMk cId="3193088531" sldId="2164"/>
            <ac:cxnSpMk id="24" creationId="{7DA920B0-69B0-48D7-8090-86754EC05ABA}"/>
          </ac:cxnSpMkLst>
        </pc:cxnChg>
        <pc:cxnChg chg="add mod">
          <ac:chgData name="Aurelien Domont" userId="6da7715ce44349b3" providerId="LiveId" clId="{749C0E2C-AAC6-401A-B449-B354DF3FBE4A}" dt="2021-07-09T05:29:09.184" v="550"/>
          <ac:cxnSpMkLst>
            <pc:docMk/>
            <pc:sldMk cId="3193088531" sldId="2164"/>
            <ac:cxnSpMk id="25" creationId="{4FBC7EE2-0F73-4E32-BDF4-026FD95A0CE3}"/>
          </ac:cxnSpMkLst>
        </pc:cxnChg>
      </pc:sldChg>
      <pc:sldChg chg="addSp delSp modSp del mod">
        <pc:chgData name="Aurelien Domont" userId="6da7715ce44349b3" providerId="LiveId" clId="{749C0E2C-AAC6-401A-B449-B354DF3FBE4A}" dt="2021-07-20T00:31:14.438" v="890" actId="47"/>
        <pc:sldMkLst>
          <pc:docMk/>
          <pc:sldMk cId="2400249224" sldId="2165"/>
        </pc:sldMkLst>
        <pc:spChg chg="mod">
          <ac:chgData name="Aurelien Domont" userId="6da7715ce44349b3" providerId="LiveId" clId="{749C0E2C-AAC6-401A-B449-B354DF3FBE4A}" dt="2021-07-09T05:51:22.623" v="761" actId="20577"/>
          <ac:spMkLst>
            <pc:docMk/>
            <pc:sldMk cId="2400249224" sldId="2165"/>
            <ac:spMk id="16" creationId="{6C2BB713-9637-4B9B-938F-E9768876782A}"/>
          </ac:spMkLst>
        </pc:spChg>
        <pc:spChg chg="mod">
          <ac:chgData name="Aurelien Domont" userId="6da7715ce44349b3" providerId="LiveId" clId="{749C0E2C-AAC6-401A-B449-B354DF3FBE4A}" dt="2021-07-09T07:29:38.845" v="800"/>
          <ac:spMkLst>
            <pc:docMk/>
            <pc:sldMk cId="2400249224" sldId="2165"/>
            <ac:spMk id="22" creationId="{2F78B30E-DA97-4E69-8F7E-6B67C7C7ACEC}"/>
          </ac:spMkLst>
        </pc:spChg>
        <pc:spChg chg="mod">
          <ac:chgData name="Aurelien Domont" userId="6da7715ce44349b3" providerId="LiveId" clId="{749C0E2C-AAC6-401A-B449-B354DF3FBE4A}" dt="2021-07-09T05:52:43.023" v="780" actId="1038"/>
          <ac:spMkLst>
            <pc:docMk/>
            <pc:sldMk cId="2400249224" sldId="2165"/>
            <ac:spMk id="23" creationId="{1EA029EC-6818-49F2-B572-01B2F5F20DEB}"/>
          </ac:spMkLst>
        </pc:spChg>
        <pc:spChg chg="mod">
          <ac:chgData name="Aurelien Domont" userId="6da7715ce44349b3" providerId="LiveId" clId="{749C0E2C-AAC6-401A-B449-B354DF3FBE4A}" dt="2021-07-09T05:52:39.404" v="773" actId="1038"/>
          <ac:spMkLst>
            <pc:docMk/>
            <pc:sldMk cId="2400249224" sldId="2165"/>
            <ac:spMk id="24" creationId="{C5DC413F-6B65-4481-B60E-C6DBB128152C}"/>
          </ac:spMkLst>
        </pc:spChg>
        <pc:spChg chg="add del mod">
          <ac:chgData name="Aurelien Domont" userId="6da7715ce44349b3" providerId="LiveId" clId="{749C0E2C-AAC6-401A-B449-B354DF3FBE4A}" dt="2021-07-09T05:53:06.983" v="788" actId="478"/>
          <ac:spMkLst>
            <pc:docMk/>
            <pc:sldMk cId="2400249224" sldId="2165"/>
            <ac:spMk id="27" creationId="{5892B393-C3A8-4045-8E33-2775E2A9BA0E}"/>
          </ac:spMkLst>
        </pc:spChg>
        <pc:spChg chg="add del mod">
          <ac:chgData name="Aurelien Domont" userId="6da7715ce44349b3" providerId="LiveId" clId="{749C0E2C-AAC6-401A-B449-B354DF3FBE4A}" dt="2021-07-09T05:53:06.983" v="788" actId="478"/>
          <ac:spMkLst>
            <pc:docMk/>
            <pc:sldMk cId="2400249224" sldId="2165"/>
            <ac:spMk id="28" creationId="{7915EB37-AEB5-4182-BCA5-6287F2AFC97A}"/>
          </ac:spMkLst>
        </pc:spChg>
        <pc:spChg chg="mod">
          <ac:chgData name="Aurelien Domont" userId="6da7715ce44349b3" providerId="LiveId" clId="{749C0E2C-AAC6-401A-B449-B354DF3FBE4A}" dt="2021-07-09T05:51:00.495" v="725" actId="20577"/>
          <ac:spMkLst>
            <pc:docMk/>
            <pc:sldMk cId="2400249224" sldId="2165"/>
            <ac:spMk id="29" creationId="{29DBF3F6-943A-4401-86EA-08968460D530}"/>
          </ac:spMkLst>
        </pc:spChg>
        <pc:spChg chg="mod">
          <ac:chgData name="Aurelien Domont" userId="6da7715ce44349b3" providerId="LiveId" clId="{749C0E2C-AAC6-401A-B449-B354DF3FBE4A}" dt="2021-07-09T05:51:04.702" v="729" actId="20577"/>
          <ac:spMkLst>
            <pc:docMk/>
            <pc:sldMk cId="2400249224" sldId="2165"/>
            <ac:spMk id="30" creationId="{C38C2946-25FF-4699-86AA-50F5DEBCFD04}"/>
          </ac:spMkLst>
        </pc:spChg>
        <pc:spChg chg="add del mod">
          <ac:chgData name="Aurelien Domont" userId="6da7715ce44349b3" providerId="LiveId" clId="{749C0E2C-AAC6-401A-B449-B354DF3FBE4A}" dt="2021-07-09T05:53:06.983" v="788" actId="478"/>
          <ac:spMkLst>
            <pc:docMk/>
            <pc:sldMk cId="2400249224" sldId="2165"/>
            <ac:spMk id="31" creationId="{DACB6A9D-2228-48B9-95F8-E05D456BED2A}"/>
          </ac:spMkLst>
        </pc:spChg>
      </pc:sldChg>
      <pc:sldChg chg="addSp delSp modSp mod ord">
        <pc:chgData name="Aurelien Domont" userId="6da7715ce44349b3" providerId="LiveId" clId="{749C0E2C-AAC6-401A-B449-B354DF3FBE4A}" dt="2021-07-14T05:50:30.830" v="836"/>
        <pc:sldMkLst>
          <pc:docMk/>
          <pc:sldMk cId="2369505737" sldId="2167"/>
        </pc:sldMkLst>
        <pc:spChg chg="del mod">
          <ac:chgData name="Aurelien Domont" userId="6da7715ce44349b3" providerId="LiveId" clId="{749C0E2C-AAC6-401A-B449-B354DF3FBE4A}" dt="2021-07-09T05:08:21.035" v="334" actId="478"/>
          <ac:spMkLst>
            <pc:docMk/>
            <pc:sldMk cId="2369505737" sldId="2167"/>
            <ac:spMk id="6" creationId="{61BD4388-6F9D-4C31-90C2-680E7FD1FB33}"/>
          </ac:spMkLst>
        </pc:spChg>
        <pc:spChg chg="del">
          <ac:chgData name="Aurelien Domont" userId="6da7715ce44349b3" providerId="LiveId" clId="{749C0E2C-AAC6-401A-B449-B354DF3FBE4A}" dt="2021-07-09T05:08:11.202" v="331" actId="478"/>
          <ac:spMkLst>
            <pc:docMk/>
            <pc:sldMk cId="2369505737" sldId="2167"/>
            <ac:spMk id="7" creationId="{058165D9-C6C5-41CE-8E4E-2D521B573407}"/>
          </ac:spMkLst>
        </pc:spChg>
        <pc:spChg chg="del">
          <ac:chgData name="Aurelien Domont" userId="6da7715ce44349b3" providerId="LiveId" clId="{749C0E2C-AAC6-401A-B449-B354DF3FBE4A}" dt="2021-07-09T05:08:11.202" v="331" actId="478"/>
          <ac:spMkLst>
            <pc:docMk/>
            <pc:sldMk cId="2369505737" sldId="2167"/>
            <ac:spMk id="8" creationId="{5E265501-976D-4DCF-A6F8-A1059EF162B8}"/>
          </ac:spMkLst>
        </pc:spChg>
        <pc:spChg chg="del">
          <ac:chgData name="Aurelien Domont" userId="6da7715ce44349b3" providerId="LiveId" clId="{749C0E2C-AAC6-401A-B449-B354DF3FBE4A}" dt="2021-07-09T05:08:11.202" v="331" actId="478"/>
          <ac:spMkLst>
            <pc:docMk/>
            <pc:sldMk cId="2369505737" sldId="2167"/>
            <ac:spMk id="10" creationId="{B4598AEF-78F8-475E-AC7D-E8372096BAB2}"/>
          </ac:spMkLst>
        </pc:spChg>
        <pc:spChg chg="del">
          <ac:chgData name="Aurelien Domont" userId="6da7715ce44349b3" providerId="LiveId" clId="{749C0E2C-AAC6-401A-B449-B354DF3FBE4A}" dt="2021-07-09T05:08:11.202" v="331" actId="478"/>
          <ac:spMkLst>
            <pc:docMk/>
            <pc:sldMk cId="2369505737" sldId="2167"/>
            <ac:spMk id="11" creationId="{45404312-C950-45DC-812F-5152B826E641}"/>
          </ac:spMkLst>
        </pc:spChg>
        <pc:spChg chg="del">
          <ac:chgData name="Aurelien Domont" userId="6da7715ce44349b3" providerId="LiveId" clId="{749C0E2C-AAC6-401A-B449-B354DF3FBE4A}" dt="2021-07-09T05:08:11.202" v="331" actId="478"/>
          <ac:spMkLst>
            <pc:docMk/>
            <pc:sldMk cId="2369505737" sldId="2167"/>
            <ac:spMk id="12" creationId="{19A483B2-8F29-40FE-8DE1-64429566E02B}"/>
          </ac:spMkLst>
        </pc:spChg>
        <pc:spChg chg="add mod">
          <ac:chgData name="Aurelien Domont" userId="6da7715ce44349b3" providerId="LiveId" clId="{749C0E2C-AAC6-401A-B449-B354DF3FBE4A}" dt="2021-07-09T07:29:38.845" v="800"/>
          <ac:spMkLst>
            <pc:docMk/>
            <pc:sldMk cId="2369505737" sldId="2167"/>
            <ac:spMk id="15" creationId="{3D6571D5-A81D-4415-8BC9-38148D060548}"/>
          </ac:spMkLst>
        </pc:spChg>
        <pc:spChg chg="mod">
          <ac:chgData name="Aurelien Domont" userId="6da7715ce44349b3" providerId="LiveId" clId="{749C0E2C-AAC6-401A-B449-B354DF3FBE4A}" dt="2021-07-09T05:07:33.875" v="327" actId="20577"/>
          <ac:spMkLst>
            <pc:docMk/>
            <pc:sldMk cId="2369505737" sldId="2167"/>
            <ac:spMk id="16" creationId="{6C2BB713-9637-4B9B-938F-E9768876782A}"/>
          </ac:spMkLst>
        </pc:spChg>
        <pc:spChg chg="add mod">
          <ac:chgData name="Aurelien Domont" userId="6da7715ce44349b3" providerId="LiveId" clId="{749C0E2C-AAC6-401A-B449-B354DF3FBE4A}" dt="2021-07-09T05:08:16.731" v="332"/>
          <ac:spMkLst>
            <pc:docMk/>
            <pc:sldMk cId="2369505737" sldId="2167"/>
            <ac:spMk id="17" creationId="{5611752A-CBCE-4358-A06D-CD5B7D3FCBA5}"/>
          </ac:spMkLst>
        </pc:spChg>
        <pc:spChg chg="add mod">
          <ac:chgData name="Aurelien Domont" userId="6da7715ce44349b3" providerId="LiveId" clId="{749C0E2C-AAC6-401A-B449-B354DF3FBE4A}" dt="2021-07-09T05:08:16.731" v="332"/>
          <ac:spMkLst>
            <pc:docMk/>
            <pc:sldMk cId="2369505737" sldId="2167"/>
            <ac:spMk id="18" creationId="{941B4194-451D-4C8C-86F3-43266AF5F1C9}"/>
          </ac:spMkLst>
        </pc:spChg>
        <pc:spChg chg="add mod">
          <ac:chgData name="Aurelien Domont" userId="6da7715ce44349b3" providerId="LiveId" clId="{749C0E2C-AAC6-401A-B449-B354DF3FBE4A}" dt="2021-07-09T05:08:16.731" v="332"/>
          <ac:spMkLst>
            <pc:docMk/>
            <pc:sldMk cId="2369505737" sldId="2167"/>
            <ac:spMk id="21" creationId="{45CED05E-9538-4A61-8AE5-0AB13C4EB9B7}"/>
          </ac:spMkLst>
        </pc:spChg>
        <pc:spChg chg="add mod">
          <ac:chgData name="Aurelien Domont" userId="6da7715ce44349b3" providerId="LiveId" clId="{749C0E2C-AAC6-401A-B449-B354DF3FBE4A}" dt="2021-07-14T05:50:30.830" v="836"/>
          <ac:spMkLst>
            <pc:docMk/>
            <pc:sldMk cId="2369505737" sldId="2167"/>
            <ac:spMk id="22" creationId="{4C81D99D-DC3D-42DB-9B56-C3EA06DC6B38}"/>
          </ac:spMkLst>
        </pc:spChg>
        <pc:spChg chg="add mod">
          <ac:chgData name="Aurelien Domont" userId="6da7715ce44349b3" providerId="LiveId" clId="{749C0E2C-AAC6-401A-B449-B354DF3FBE4A}" dt="2021-07-09T05:08:16.731" v="332"/>
          <ac:spMkLst>
            <pc:docMk/>
            <pc:sldMk cId="2369505737" sldId="2167"/>
            <ac:spMk id="23" creationId="{8E53CE99-66E6-4B19-90D2-F9280357A5E8}"/>
          </ac:spMkLst>
        </pc:spChg>
        <pc:cxnChg chg="del">
          <ac:chgData name="Aurelien Domont" userId="6da7715ce44349b3" providerId="LiveId" clId="{749C0E2C-AAC6-401A-B449-B354DF3FBE4A}" dt="2021-07-09T05:08:11.202" v="331" actId="478"/>
          <ac:cxnSpMkLst>
            <pc:docMk/>
            <pc:sldMk cId="2369505737" sldId="2167"/>
            <ac:cxnSpMk id="9" creationId="{29940A68-0B12-4DB4-B6BF-26CE87860A62}"/>
          </ac:cxnSpMkLst>
        </pc:cxnChg>
        <pc:cxnChg chg="del">
          <ac:chgData name="Aurelien Domont" userId="6da7715ce44349b3" providerId="LiveId" clId="{749C0E2C-AAC6-401A-B449-B354DF3FBE4A}" dt="2021-07-09T05:08:11.202" v="331" actId="478"/>
          <ac:cxnSpMkLst>
            <pc:docMk/>
            <pc:sldMk cId="2369505737" sldId="2167"/>
            <ac:cxnSpMk id="14" creationId="{14CD9B99-0907-4DB9-B10F-F0E0E658423E}"/>
          </ac:cxnSpMkLst>
        </pc:cxnChg>
        <pc:cxnChg chg="add del mod">
          <ac:chgData name="Aurelien Domont" userId="6da7715ce44349b3" providerId="LiveId" clId="{749C0E2C-AAC6-401A-B449-B354DF3FBE4A}" dt="2021-07-09T05:28:58.797" v="545" actId="478"/>
          <ac:cxnSpMkLst>
            <pc:docMk/>
            <pc:sldMk cId="2369505737" sldId="2167"/>
            <ac:cxnSpMk id="19" creationId="{72D89C4B-C588-4928-AF16-4BF8CC9A23C4}"/>
          </ac:cxnSpMkLst>
        </pc:cxnChg>
        <pc:cxnChg chg="add del mod">
          <ac:chgData name="Aurelien Domont" userId="6da7715ce44349b3" providerId="LiveId" clId="{749C0E2C-AAC6-401A-B449-B354DF3FBE4A}" dt="2021-07-09T05:29:02.375" v="546" actId="478"/>
          <ac:cxnSpMkLst>
            <pc:docMk/>
            <pc:sldMk cId="2369505737" sldId="2167"/>
            <ac:cxnSpMk id="20" creationId="{49098806-C058-405D-A302-6A2E67A66FA0}"/>
          </ac:cxnSpMkLst>
        </pc:cxnChg>
        <pc:cxnChg chg="add mod">
          <ac:chgData name="Aurelien Domont" userId="6da7715ce44349b3" providerId="LiveId" clId="{749C0E2C-AAC6-401A-B449-B354DF3FBE4A}" dt="2021-07-09T05:29:02.652" v="547"/>
          <ac:cxnSpMkLst>
            <pc:docMk/>
            <pc:sldMk cId="2369505737" sldId="2167"/>
            <ac:cxnSpMk id="24" creationId="{2B005BE4-D55B-4537-AAED-FE1BBF2126EE}"/>
          </ac:cxnSpMkLst>
        </pc:cxnChg>
        <pc:cxnChg chg="add mod">
          <ac:chgData name="Aurelien Domont" userId="6da7715ce44349b3" providerId="LiveId" clId="{749C0E2C-AAC6-401A-B449-B354DF3FBE4A}" dt="2021-07-09T05:29:02.652" v="547"/>
          <ac:cxnSpMkLst>
            <pc:docMk/>
            <pc:sldMk cId="2369505737" sldId="2167"/>
            <ac:cxnSpMk id="25" creationId="{B39B4D90-31A2-44E7-B90E-A9086938B32F}"/>
          </ac:cxnSpMkLst>
        </pc:cxnChg>
      </pc:sldChg>
      <pc:sldChg chg="addSp delSp modSp mod ord">
        <pc:chgData name="Aurelien Domont" userId="6da7715ce44349b3" providerId="LiveId" clId="{749C0E2C-AAC6-401A-B449-B354DF3FBE4A}" dt="2021-07-09T05:33:47.777" v="573" actId="478"/>
        <pc:sldMkLst>
          <pc:docMk/>
          <pc:sldMk cId="4178836903" sldId="2169"/>
        </pc:sldMkLst>
        <pc:spChg chg="mod">
          <ac:chgData name="Aurelien Domont" userId="6da7715ce44349b3" providerId="LiveId" clId="{749C0E2C-AAC6-401A-B449-B354DF3FBE4A}" dt="2021-07-09T05:22:42.479" v="445" actId="20577"/>
          <ac:spMkLst>
            <pc:docMk/>
            <pc:sldMk cId="4178836903" sldId="2169"/>
            <ac:spMk id="12" creationId="{E7675798-47BC-4250-BA24-0E2AC4A10A86}"/>
          </ac:spMkLst>
        </pc:spChg>
        <pc:spChg chg="mod">
          <ac:chgData name="Aurelien Domont" userId="6da7715ce44349b3" providerId="LiveId" clId="{749C0E2C-AAC6-401A-B449-B354DF3FBE4A}" dt="2021-07-09T05:26:03.909" v="514" actId="554"/>
          <ac:spMkLst>
            <pc:docMk/>
            <pc:sldMk cId="4178836903" sldId="2169"/>
            <ac:spMk id="15" creationId="{9D051C05-62A5-4FB5-846C-31987D33AA9E}"/>
          </ac:spMkLst>
        </pc:spChg>
        <pc:spChg chg="mod">
          <ac:chgData name="Aurelien Domont" userId="6da7715ce44349b3" providerId="LiveId" clId="{749C0E2C-AAC6-401A-B449-B354DF3FBE4A}" dt="2021-07-09T05:22:47.524" v="449" actId="20577"/>
          <ac:spMkLst>
            <pc:docMk/>
            <pc:sldMk cId="4178836903" sldId="2169"/>
            <ac:spMk id="17" creationId="{142BE8BF-9256-475D-900B-55FCC0CE6DB5}"/>
          </ac:spMkLst>
        </pc:spChg>
        <pc:spChg chg="mod">
          <ac:chgData name="Aurelien Domont" userId="6da7715ce44349b3" providerId="LiveId" clId="{749C0E2C-AAC6-401A-B449-B354DF3FBE4A}" dt="2021-07-09T05:26:33.261" v="521" actId="20577"/>
          <ac:spMkLst>
            <pc:docMk/>
            <pc:sldMk cId="4178836903" sldId="2169"/>
            <ac:spMk id="19" creationId="{B9017FA6-F0E0-4269-9C6B-53FA5BEF3E64}"/>
          </ac:spMkLst>
        </pc:spChg>
        <pc:spChg chg="add mod">
          <ac:chgData name="Aurelien Domont" userId="6da7715ce44349b3" providerId="LiveId" clId="{749C0E2C-AAC6-401A-B449-B354DF3FBE4A}" dt="2021-07-09T05:25:41.900" v="511" actId="571"/>
          <ac:spMkLst>
            <pc:docMk/>
            <pc:sldMk cId="4178836903" sldId="2169"/>
            <ac:spMk id="24" creationId="{356D6848-BC2C-47BB-A464-F2F28757F4FD}"/>
          </ac:spMkLst>
        </pc:spChg>
        <pc:picChg chg="del">
          <ac:chgData name="Aurelien Domont" userId="6da7715ce44349b3" providerId="LiveId" clId="{749C0E2C-AAC6-401A-B449-B354DF3FBE4A}" dt="2021-07-09T05:19:12.251" v="382" actId="478"/>
          <ac:picMkLst>
            <pc:docMk/>
            <pc:sldMk cId="4178836903" sldId="2169"/>
            <ac:picMk id="2" creationId="{84E5CC93-D5AA-458E-BB87-714F1E53178E}"/>
          </ac:picMkLst>
        </pc:picChg>
        <pc:picChg chg="del">
          <ac:chgData name="Aurelien Domont" userId="6da7715ce44349b3" providerId="LiveId" clId="{749C0E2C-AAC6-401A-B449-B354DF3FBE4A}" dt="2021-07-09T05:20:20.540" v="387" actId="478"/>
          <ac:picMkLst>
            <pc:docMk/>
            <pc:sldMk cId="4178836903" sldId="2169"/>
            <ac:picMk id="3" creationId="{097ECFA8-B152-4816-9DCE-7FB11FD32803}"/>
          </ac:picMkLst>
        </pc:picChg>
        <pc:picChg chg="del">
          <ac:chgData name="Aurelien Domont" userId="6da7715ce44349b3" providerId="LiveId" clId="{749C0E2C-AAC6-401A-B449-B354DF3FBE4A}" dt="2021-07-09T05:33:41.202" v="568" actId="478"/>
          <ac:picMkLst>
            <pc:docMk/>
            <pc:sldMk cId="4178836903" sldId="2169"/>
            <ac:picMk id="4" creationId="{71090539-4853-42C0-8BB5-619FDF372F84}"/>
          </ac:picMkLst>
        </pc:picChg>
        <pc:picChg chg="del">
          <ac:chgData name="Aurelien Domont" userId="6da7715ce44349b3" providerId="LiveId" clId="{749C0E2C-AAC6-401A-B449-B354DF3FBE4A}" dt="2021-07-09T05:33:41.808" v="569" actId="478"/>
          <ac:picMkLst>
            <pc:docMk/>
            <pc:sldMk cId="4178836903" sldId="2169"/>
            <ac:picMk id="11" creationId="{F7A9918B-B7CD-4643-8B6A-74AEBFA4B2C2}"/>
          </ac:picMkLst>
        </pc:picChg>
        <pc:picChg chg="add del mod ord">
          <ac:chgData name="Aurelien Domont" userId="6da7715ce44349b3" providerId="LiveId" clId="{749C0E2C-AAC6-401A-B449-B354DF3FBE4A}" dt="2021-07-09T05:33:47.777" v="573" actId="478"/>
          <ac:picMkLst>
            <pc:docMk/>
            <pc:sldMk cId="4178836903" sldId="2169"/>
            <ac:picMk id="18" creationId="{59AB60AD-34C2-48C3-B1C3-270DF47CA885}"/>
          </ac:picMkLst>
        </pc:picChg>
        <pc:picChg chg="add del mod ord">
          <ac:chgData name="Aurelien Domont" userId="6da7715ce44349b3" providerId="LiveId" clId="{749C0E2C-AAC6-401A-B449-B354DF3FBE4A}" dt="2021-07-09T05:33:45.393" v="571" actId="478"/>
          <ac:picMkLst>
            <pc:docMk/>
            <pc:sldMk cId="4178836903" sldId="2169"/>
            <ac:picMk id="20" creationId="{1B9CE67E-A6E1-4208-B6E4-E6F84641CB49}"/>
          </ac:picMkLst>
        </pc:picChg>
        <pc:picChg chg="add mod ord">
          <ac:chgData name="Aurelien Domont" userId="6da7715ce44349b3" providerId="LiveId" clId="{749C0E2C-AAC6-401A-B449-B354DF3FBE4A}" dt="2021-07-09T05:33:38.510" v="567" actId="167"/>
          <ac:picMkLst>
            <pc:docMk/>
            <pc:sldMk cId="4178836903" sldId="2169"/>
            <ac:picMk id="21" creationId="{3194D5C0-2C7F-4EEF-86D7-9A7CA85D725F}"/>
          </ac:picMkLst>
        </pc:picChg>
        <pc:picChg chg="add mod ord">
          <ac:chgData name="Aurelien Domont" userId="6da7715ce44349b3" providerId="LiveId" clId="{749C0E2C-AAC6-401A-B449-B354DF3FBE4A}" dt="2021-07-09T05:33:38.510" v="567" actId="167"/>
          <ac:picMkLst>
            <pc:docMk/>
            <pc:sldMk cId="4178836903" sldId="2169"/>
            <ac:picMk id="22" creationId="{3E2EBA1D-E7AB-4BF9-B88D-2803148DD833}"/>
          </ac:picMkLst>
        </pc:picChg>
        <pc:picChg chg="add mod">
          <ac:chgData name="Aurelien Domont" userId="6da7715ce44349b3" providerId="LiveId" clId="{749C0E2C-AAC6-401A-B449-B354DF3FBE4A}" dt="2021-07-09T05:25:36.168" v="509" actId="571"/>
          <ac:picMkLst>
            <pc:docMk/>
            <pc:sldMk cId="4178836903" sldId="2169"/>
            <ac:picMk id="23" creationId="{22767995-D862-4D58-871F-2F729FA5B1F7}"/>
          </ac:picMkLst>
        </pc:picChg>
      </pc:sldChg>
      <pc:sldChg chg="del">
        <pc:chgData name="Aurelien Domont" userId="6da7715ce44349b3" providerId="LiveId" clId="{749C0E2C-AAC6-401A-B449-B354DF3FBE4A}" dt="2021-07-09T05:16:27.861" v="341" actId="47"/>
        <pc:sldMkLst>
          <pc:docMk/>
          <pc:sldMk cId="2678382071" sldId="2170"/>
        </pc:sldMkLst>
      </pc:sldChg>
      <pc:sldChg chg="addSp modSp add">
        <pc:chgData name="Aurelien Domont" userId="6da7715ce44349b3" providerId="LiveId" clId="{749C0E2C-AAC6-401A-B449-B354DF3FBE4A}" dt="2021-07-09T05:15:52.482" v="338"/>
        <pc:sldMkLst>
          <pc:docMk/>
          <pc:sldMk cId="150556238" sldId="2178"/>
        </pc:sldMkLst>
        <pc:spChg chg="mod">
          <ac:chgData name="Aurelien Domont" userId="6da7715ce44349b3" providerId="LiveId" clId="{749C0E2C-AAC6-401A-B449-B354DF3FBE4A}" dt="2021-07-09T05:15:52.482" v="338"/>
          <ac:spMkLst>
            <pc:docMk/>
            <pc:sldMk cId="150556238" sldId="2178"/>
            <ac:spMk id="27" creationId="{CBA8037E-4714-48A2-A249-7B093EBC660E}"/>
          </ac:spMkLst>
        </pc:spChg>
        <pc:spChg chg="mod">
          <ac:chgData name="Aurelien Domont" userId="6da7715ce44349b3" providerId="LiveId" clId="{749C0E2C-AAC6-401A-B449-B354DF3FBE4A}" dt="2021-07-09T05:15:52.482" v="338"/>
          <ac:spMkLst>
            <pc:docMk/>
            <pc:sldMk cId="150556238" sldId="2178"/>
            <ac:spMk id="28" creationId="{0413E736-56D8-4E6E-AA20-48F6F96679BE}"/>
          </ac:spMkLst>
        </pc:spChg>
        <pc:grpChg chg="add mod">
          <ac:chgData name="Aurelien Domont" userId="6da7715ce44349b3" providerId="LiveId" clId="{749C0E2C-AAC6-401A-B449-B354DF3FBE4A}" dt="2021-07-09T05:15:52.482" v="338"/>
          <ac:grpSpMkLst>
            <pc:docMk/>
            <pc:sldMk cId="150556238" sldId="2178"/>
            <ac:grpSpMk id="26" creationId="{CB1789E9-8C25-4D6E-A1C0-F542C611402A}"/>
          </ac:grpSpMkLst>
        </pc:grpChg>
        <pc:cxnChg chg="mod">
          <ac:chgData name="Aurelien Domont" userId="6da7715ce44349b3" providerId="LiveId" clId="{749C0E2C-AAC6-401A-B449-B354DF3FBE4A}" dt="2021-07-09T05:15:52.482" v="338"/>
          <ac:cxnSpMkLst>
            <pc:docMk/>
            <pc:sldMk cId="150556238" sldId="2178"/>
            <ac:cxnSpMk id="29" creationId="{58F4D1B5-3824-4AB8-A1CF-487B0FD1480A}"/>
          </ac:cxnSpMkLst>
        </pc:cxnChg>
        <pc:cxnChg chg="mod">
          <ac:chgData name="Aurelien Domont" userId="6da7715ce44349b3" providerId="LiveId" clId="{749C0E2C-AAC6-401A-B449-B354DF3FBE4A}" dt="2021-07-09T05:15:52.482" v="338"/>
          <ac:cxnSpMkLst>
            <pc:docMk/>
            <pc:sldMk cId="150556238" sldId="2178"/>
            <ac:cxnSpMk id="30" creationId="{0901AF6E-7AD7-4CCA-9379-E9A0006828D1}"/>
          </ac:cxnSpMkLst>
        </pc:cxnChg>
      </pc:sldChg>
      <pc:sldChg chg="addSp modSp add">
        <pc:chgData name="Aurelien Domont" userId="6da7715ce44349b3" providerId="LiveId" clId="{749C0E2C-AAC6-401A-B449-B354DF3FBE4A}" dt="2021-07-09T05:15:38.572" v="336"/>
        <pc:sldMkLst>
          <pc:docMk/>
          <pc:sldMk cId="1447101754" sldId="2185"/>
        </pc:sldMkLst>
        <pc:spChg chg="mod">
          <ac:chgData name="Aurelien Domont" userId="6da7715ce44349b3" providerId="LiveId" clId="{749C0E2C-AAC6-401A-B449-B354DF3FBE4A}" dt="2021-07-09T05:15:38.572" v="336"/>
          <ac:spMkLst>
            <pc:docMk/>
            <pc:sldMk cId="1447101754" sldId="2185"/>
            <ac:spMk id="20" creationId="{FD550525-4C89-4917-8332-BED7F3C316AA}"/>
          </ac:spMkLst>
        </pc:spChg>
        <pc:spChg chg="mod">
          <ac:chgData name="Aurelien Domont" userId="6da7715ce44349b3" providerId="LiveId" clId="{749C0E2C-AAC6-401A-B449-B354DF3FBE4A}" dt="2021-07-09T05:15:38.572" v="336"/>
          <ac:spMkLst>
            <pc:docMk/>
            <pc:sldMk cId="1447101754" sldId="2185"/>
            <ac:spMk id="25" creationId="{E2DEF60F-19D9-4000-B374-CFC0796D1125}"/>
          </ac:spMkLst>
        </pc:spChg>
        <pc:grpChg chg="add mod">
          <ac:chgData name="Aurelien Domont" userId="6da7715ce44349b3" providerId="LiveId" clId="{749C0E2C-AAC6-401A-B449-B354DF3FBE4A}" dt="2021-07-09T05:15:38.572" v="336"/>
          <ac:grpSpMkLst>
            <pc:docMk/>
            <pc:sldMk cId="1447101754" sldId="2185"/>
            <ac:grpSpMk id="19" creationId="{2C3F34CC-0E09-4B44-A7F2-59A775DDC0ED}"/>
          </ac:grpSpMkLst>
        </pc:grpChg>
        <pc:cxnChg chg="mod">
          <ac:chgData name="Aurelien Domont" userId="6da7715ce44349b3" providerId="LiveId" clId="{749C0E2C-AAC6-401A-B449-B354DF3FBE4A}" dt="2021-07-09T05:15:38.572" v="336"/>
          <ac:cxnSpMkLst>
            <pc:docMk/>
            <pc:sldMk cId="1447101754" sldId="2185"/>
            <ac:cxnSpMk id="26" creationId="{33B71947-6E5D-4B22-AD49-9BB541EFF75C}"/>
          </ac:cxnSpMkLst>
        </pc:cxnChg>
        <pc:cxnChg chg="mod">
          <ac:chgData name="Aurelien Domont" userId="6da7715ce44349b3" providerId="LiveId" clId="{749C0E2C-AAC6-401A-B449-B354DF3FBE4A}" dt="2021-07-09T05:15:38.572" v="336"/>
          <ac:cxnSpMkLst>
            <pc:docMk/>
            <pc:sldMk cId="1447101754" sldId="2185"/>
            <ac:cxnSpMk id="27" creationId="{163CCB36-0CFB-4608-97A0-F4E337CC8705}"/>
          </ac:cxnSpMkLst>
        </pc:cxnChg>
      </pc:sldChg>
      <pc:sldChg chg="del">
        <pc:chgData name="Aurelien Domont" userId="6da7715ce44349b3" providerId="LiveId" clId="{749C0E2C-AAC6-401A-B449-B354DF3FBE4A}" dt="2021-07-09T05:16:33.659" v="342" actId="47"/>
        <pc:sldMkLst>
          <pc:docMk/>
          <pc:sldMk cId="4258618140" sldId="2187"/>
        </pc:sldMkLst>
      </pc:sldChg>
      <pc:sldChg chg="addSp delSp modSp mod ord">
        <pc:chgData name="Aurelien Domont" userId="6da7715ce44349b3" providerId="LiveId" clId="{749C0E2C-AAC6-401A-B449-B354DF3FBE4A}" dt="2021-07-14T05:50:39.694" v="837"/>
        <pc:sldMkLst>
          <pc:docMk/>
          <pc:sldMk cId="1390113814" sldId="2188"/>
        </pc:sldMkLst>
        <pc:spChg chg="del">
          <ac:chgData name="Aurelien Domont" userId="6da7715ce44349b3" providerId="LiveId" clId="{749C0E2C-AAC6-401A-B449-B354DF3FBE4A}" dt="2021-07-09T05:26:48.653" v="524" actId="478"/>
          <ac:spMkLst>
            <pc:docMk/>
            <pc:sldMk cId="1390113814" sldId="2188"/>
            <ac:spMk id="6" creationId="{61BD4388-6F9D-4C31-90C2-680E7FD1FB33}"/>
          </ac:spMkLst>
        </pc:spChg>
        <pc:spChg chg="del">
          <ac:chgData name="Aurelien Domont" userId="6da7715ce44349b3" providerId="LiveId" clId="{749C0E2C-AAC6-401A-B449-B354DF3FBE4A}" dt="2021-07-09T05:26:48.653" v="524" actId="478"/>
          <ac:spMkLst>
            <pc:docMk/>
            <pc:sldMk cId="1390113814" sldId="2188"/>
            <ac:spMk id="7" creationId="{058165D9-C6C5-41CE-8E4E-2D521B573407}"/>
          </ac:spMkLst>
        </pc:spChg>
        <pc:spChg chg="del">
          <ac:chgData name="Aurelien Domont" userId="6da7715ce44349b3" providerId="LiveId" clId="{749C0E2C-AAC6-401A-B449-B354DF3FBE4A}" dt="2021-07-09T05:26:48.653" v="524" actId="478"/>
          <ac:spMkLst>
            <pc:docMk/>
            <pc:sldMk cId="1390113814" sldId="2188"/>
            <ac:spMk id="8" creationId="{5E265501-976D-4DCF-A6F8-A1059EF162B8}"/>
          </ac:spMkLst>
        </pc:spChg>
        <pc:spChg chg="del">
          <ac:chgData name="Aurelien Domont" userId="6da7715ce44349b3" providerId="LiveId" clId="{749C0E2C-AAC6-401A-B449-B354DF3FBE4A}" dt="2021-07-09T05:26:48.653" v="524" actId="478"/>
          <ac:spMkLst>
            <pc:docMk/>
            <pc:sldMk cId="1390113814" sldId="2188"/>
            <ac:spMk id="10" creationId="{B4598AEF-78F8-475E-AC7D-E8372096BAB2}"/>
          </ac:spMkLst>
        </pc:spChg>
        <pc:spChg chg="del">
          <ac:chgData name="Aurelien Domont" userId="6da7715ce44349b3" providerId="LiveId" clId="{749C0E2C-AAC6-401A-B449-B354DF3FBE4A}" dt="2021-07-09T05:26:48.653" v="524" actId="478"/>
          <ac:spMkLst>
            <pc:docMk/>
            <pc:sldMk cId="1390113814" sldId="2188"/>
            <ac:spMk id="11" creationId="{45404312-C950-45DC-812F-5152B826E641}"/>
          </ac:spMkLst>
        </pc:spChg>
        <pc:spChg chg="del">
          <ac:chgData name="Aurelien Domont" userId="6da7715ce44349b3" providerId="LiveId" clId="{749C0E2C-AAC6-401A-B449-B354DF3FBE4A}" dt="2021-07-09T05:26:48.653" v="524" actId="478"/>
          <ac:spMkLst>
            <pc:docMk/>
            <pc:sldMk cId="1390113814" sldId="2188"/>
            <ac:spMk id="12" creationId="{19A483B2-8F29-40FE-8DE1-64429566E02B}"/>
          </ac:spMkLst>
        </pc:spChg>
        <pc:spChg chg="add mod">
          <ac:chgData name="Aurelien Domont" userId="6da7715ce44349b3" providerId="LiveId" clId="{749C0E2C-AAC6-401A-B449-B354DF3FBE4A}" dt="2021-07-09T07:29:38.845" v="800"/>
          <ac:spMkLst>
            <pc:docMk/>
            <pc:sldMk cId="1390113814" sldId="2188"/>
            <ac:spMk id="15" creationId="{877C6533-1D2F-4E9A-B4B5-42313CF7613F}"/>
          </ac:spMkLst>
        </pc:spChg>
        <pc:spChg chg="add mod">
          <ac:chgData name="Aurelien Domont" userId="6da7715ce44349b3" providerId="LiveId" clId="{749C0E2C-AAC6-401A-B449-B354DF3FBE4A}" dt="2021-07-09T05:28:16.504" v="526" actId="108"/>
          <ac:spMkLst>
            <pc:docMk/>
            <pc:sldMk cId="1390113814" sldId="2188"/>
            <ac:spMk id="17" creationId="{6EE3CC72-95A6-48D7-8011-475BE024D7E6}"/>
          </ac:spMkLst>
        </pc:spChg>
        <pc:spChg chg="add mod">
          <ac:chgData name="Aurelien Domont" userId="6da7715ce44349b3" providerId="LiveId" clId="{749C0E2C-AAC6-401A-B449-B354DF3FBE4A}" dt="2021-07-09T05:26:56.644" v="525"/>
          <ac:spMkLst>
            <pc:docMk/>
            <pc:sldMk cId="1390113814" sldId="2188"/>
            <ac:spMk id="18" creationId="{31580B4C-332F-4FD8-8B94-A6A4EC2B04BF}"/>
          </ac:spMkLst>
        </pc:spChg>
        <pc:spChg chg="add mod">
          <ac:chgData name="Aurelien Domont" userId="6da7715ce44349b3" providerId="LiveId" clId="{749C0E2C-AAC6-401A-B449-B354DF3FBE4A}" dt="2021-07-09T05:26:56.644" v="525"/>
          <ac:spMkLst>
            <pc:docMk/>
            <pc:sldMk cId="1390113814" sldId="2188"/>
            <ac:spMk id="21" creationId="{9CB0ED75-1FFB-4788-A271-FAFA31D27BEB}"/>
          </ac:spMkLst>
        </pc:spChg>
        <pc:spChg chg="add mod">
          <ac:chgData name="Aurelien Domont" userId="6da7715ce44349b3" providerId="LiveId" clId="{749C0E2C-AAC6-401A-B449-B354DF3FBE4A}" dt="2021-07-14T05:50:39.694" v="837"/>
          <ac:spMkLst>
            <pc:docMk/>
            <pc:sldMk cId="1390113814" sldId="2188"/>
            <ac:spMk id="22" creationId="{29753273-0B70-4BAE-AC7B-0FA69A95CB61}"/>
          </ac:spMkLst>
        </pc:spChg>
        <pc:spChg chg="add mod">
          <ac:chgData name="Aurelien Domont" userId="6da7715ce44349b3" providerId="LiveId" clId="{749C0E2C-AAC6-401A-B449-B354DF3FBE4A}" dt="2021-07-09T05:26:56.644" v="525"/>
          <ac:spMkLst>
            <pc:docMk/>
            <pc:sldMk cId="1390113814" sldId="2188"/>
            <ac:spMk id="23" creationId="{849022C9-D090-4045-B455-50CD4A352FE7}"/>
          </ac:spMkLst>
        </pc:spChg>
        <pc:cxnChg chg="del">
          <ac:chgData name="Aurelien Domont" userId="6da7715ce44349b3" providerId="LiveId" clId="{749C0E2C-AAC6-401A-B449-B354DF3FBE4A}" dt="2021-07-09T05:26:48.653" v="524" actId="478"/>
          <ac:cxnSpMkLst>
            <pc:docMk/>
            <pc:sldMk cId="1390113814" sldId="2188"/>
            <ac:cxnSpMk id="9" creationId="{29940A68-0B12-4DB4-B6BF-26CE87860A62}"/>
          </ac:cxnSpMkLst>
        </pc:cxnChg>
        <pc:cxnChg chg="del">
          <ac:chgData name="Aurelien Domont" userId="6da7715ce44349b3" providerId="LiveId" clId="{749C0E2C-AAC6-401A-B449-B354DF3FBE4A}" dt="2021-07-09T05:26:48.653" v="524" actId="478"/>
          <ac:cxnSpMkLst>
            <pc:docMk/>
            <pc:sldMk cId="1390113814" sldId="2188"/>
            <ac:cxnSpMk id="14" creationId="{14CD9B99-0907-4DB9-B10F-F0E0E658423E}"/>
          </ac:cxnSpMkLst>
        </pc:cxnChg>
        <pc:cxnChg chg="add mod">
          <ac:chgData name="Aurelien Domont" userId="6da7715ce44349b3" providerId="LiveId" clId="{749C0E2C-AAC6-401A-B449-B354DF3FBE4A}" dt="2021-07-09T05:28:45.117" v="544" actId="208"/>
          <ac:cxnSpMkLst>
            <pc:docMk/>
            <pc:sldMk cId="1390113814" sldId="2188"/>
            <ac:cxnSpMk id="19" creationId="{4A15DCC6-E11C-48F8-96BE-E366DDB8D84E}"/>
          </ac:cxnSpMkLst>
        </pc:cxnChg>
        <pc:cxnChg chg="add mod">
          <ac:chgData name="Aurelien Domont" userId="6da7715ce44349b3" providerId="LiveId" clId="{749C0E2C-AAC6-401A-B449-B354DF3FBE4A}" dt="2021-07-09T05:28:42.212" v="543" actId="208"/>
          <ac:cxnSpMkLst>
            <pc:docMk/>
            <pc:sldMk cId="1390113814" sldId="2188"/>
            <ac:cxnSpMk id="20" creationId="{701E0FED-146B-42C9-A94A-5C606EBC465D}"/>
          </ac:cxnSpMkLst>
        </pc:cxnChg>
      </pc:sldChg>
      <pc:sldChg chg="addSp delSp modSp mod ord">
        <pc:chgData name="Aurelien Domont" userId="6da7715ce44349b3" providerId="LiveId" clId="{749C0E2C-AAC6-401A-B449-B354DF3FBE4A}" dt="2021-07-14T05:50:45.391" v="838"/>
        <pc:sldMkLst>
          <pc:docMk/>
          <pc:sldMk cId="1002747840" sldId="2189"/>
        </pc:sldMkLst>
        <pc:spChg chg="del">
          <ac:chgData name="Aurelien Domont" userId="6da7715ce44349b3" providerId="LiveId" clId="{749C0E2C-AAC6-401A-B449-B354DF3FBE4A}" dt="2021-07-09T05:38:47.692" v="617" actId="478"/>
          <ac:spMkLst>
            <pc:docMk/>
            <pc:sldMk cId="1002747840" sldId="2189"/>
            <ac:spMk id="6" creationId="{61BD4388-6F9D-4C31-90C2-680E7FD1FB33}"/>
          </ac:spMkLst>
        </pc:spChg>
        <pc:spChg chg="del">
          <ac:chgData name="Aurelien Domont" userId="6da7715ce44349b3" providerId="LiveId" clId="{749C0E2C-AAC6-401A-B449-B354DF3FBE4A}" dt="2021-07-09T05:38:47.692" v="617" actId="478"/>
          <ac:spMkLst>
            <pc:docMk/>
            <pc:sldMk cId="1002747840" sldId="2189"/>
            <ac:spMk id="7" creationId="{058165D9-C6C5-41CE-8E4E-2D521B573407}"/>
          </ac:spMkLst>
        </pc:spChg>
        <pc:spChg chg="del">
          <ac:chgData name="Aurelien Domont" userId="6da7715ce44349b3" providerId="LiveId" clId="{749C0E2C-AAC6-401A-B449-B354DF3FBE4A}" dt="2021-07-09T05:38:47.692" v="617" actId="478"/>
          <ac:spMkLst>
            <pc:docMk/>
            <pc:sldMk cId="1002747840" sldId="2189"/>
            <ac:spMk id="8" creationId="{5E265501-976D-4DCF-A6F8-A1059EF162B8}"/>
          </ac:spMkLst>
        </pc:spChg>
        <pc:spChg chg="del">
          <ac:chgData name="Aurelien Domont" userId="6da7715ce44349b3" providerId="LiveId" clId="{749C0E2C-AAC6-401A-B449-B354DF3FBE4A}" dt="2021-07-09T05:38:47.692" v="617" actId="478"/>
          <ac:spMkLst>
            <pc:docMk/>
            <pc:sldMk cId="1002747840" sldId="2189"/>
            <ac:spMk id="10" creationId="{B4598AEF-78F8-475E-AC7D-E8372096BAB2}"/>
          </ac:spMkLst>
        </pc:spChg>
        <pc:spChg chg="del">
          <ac:chgData name="Aurelien Domont" userId="6da7715ce44349b3" providerId="LiveId" clId="{749C0E2C-AAC6-401A-B449-B354DF3FBE4A}" dt="2021-07-09T05:38:47.692" v="617" actId="478"/>
          <ac:spMkLst>
            <pc:docMk/>
            <pc:sldMk cId="1002747840" sldId="2189"/>
            <ac:spMk id="11" creationId="{45404312-C950-45DC-812F-5152B826E641}"/>
          </ac:spMkLst>
        </pc:spChg>
        <pc:spChg chg="del">
          <ac:chgData name="Aurelien Domont" userId="6da7715ce44349b3" providerId="LiveId" clId="{749C0E2C-AAC6-401A-B449-B354DF3FBE4A}" dt="2021-07-09T05:38:47.692" v="617" actId="478"/>
          <ac:spMkLst>
            <pc:docMk/>
            <pc:sldMk cId="1002747840" sldId="2189"/>
            <ac:spMk id="12" creationId="{19A483B2-8F29-40FE-8DE1-64429566E02B}"/>
          </ac:spMkLst>
        </pc:spChg>
        <pc:spChg chg="add mod">
          <ac:chgData name="Aurelien Domont" userId="6da7715ce44349b3" providerId="LiveId" clId="{749C0E2C-AAC6-401A-B449-B354DF3FBE4A}" dt="2021-07-09T07:29:38.845" v="800"/>
          <ac:spMkLst>
            <pc:docMk/>
            <pc:sldMk cId="1002747840" sldId="2189"/>
            <ac:spMk id="15" creationId="{7A46184B-3628-4632-ACCB-19BCA96A8AC8}"/>
          </ac:spMkLst>
        </pc:spChg>
        <pc:spChg chg="add mod">
          <ac:chgData name="Aurelien Domont" userId="6da7715ce44349b3" providerId="LiveId" clId="{749C0E2C-AAC6-401A-B449-B354DF3FBE4A}" dt="2021-07-09T05:38:59.645" v="620" actId="108"/>
          <ac:spMkLst>
            <pc:docMk/>
            <pc:sldMk cId="1002747840" sldId="2189"/>
            <ac:spMk id="17" creationId="{66AC2ACA-1592-4210-B804-A2FB73E55DCB}"/>
          </ac:spMkLst>
        </pc:spChg>
        <pc:spChg chg="add mod">
          <ac:chgData name="Aurelien Domont" userId="6da7715ce44349b3" providerId="LiveId" clId="{749C0E2C-AAC6-401A-B449-B354DF3FBE4A}" dt="2021-07-09T05:38:57.230" v="619" actId="108"/>
          <ac:spMkLst>
            <pc:docMk/>
            <pc:sldMk cId="1002747840" sldId="2189"/>
            <ac:spMk id="18" creationId="{4BE3F345-D5FA-46F9-B3D9-E9A2299A0EE8}"/>
          </ac:spMkLst>
        </pc:spChg>
        <pc:spChg chg="add mod">
          <ac:chgData name="Aurelien Domont" userId="6da7715ce44349b3" providerId="LiveId" clId="{749C0E2C-AAC6-401A-B449-B354DF3FBE4A}" dt="2021-07-09T05:38:53.549" v="618"/>
          <ac:spMkLst>
            <pc:docMk/>
            <pc:sldMk cId="1002747840" sldId="2189"/>
            <ac:spMk id="21" creationId="{A4E9365C-EC6D-4C73-9668-3952B41AE223}"/>
          </ac:spMkLst>
        </pc:spChg>
        <pc:spChg chg="add mod">
          <ac:chgData name="Aurelien Domont" userId="6da7715ce44349b3" providerId="LiveId" clId="{749C0E2C-AAC6-401A-B449-B354DF3FBE4A}" dt="2021-07-14T05:50:45.391" v="838"/>
          <ac:spMkLst>
            <pc:docMk/>
            <pc:sldMk cId="1002747840" sldId="2189"/>
            <ac:spMk id="22" creationId="{70FE8D2B-187B-4FEB-B998-C2E36F1DB63B}"/>
          </ac:spMkLst>
        </pc:spChg>
        <pc:spChg chg="add mod">
          <ac:chgData name="Aurelien Domont" userId="6da7715ce44349b3" providerId="LiveId" clId="{749C0E2C-AAC6-401A-B449-B354DF3FBE4A}" dt="2021-07-09T05:38:53.549" v="618"/>
          <ac:spMkLst>
            <pc:docMk/>
            <pc:sldMk cId="1002747840" sldId="2189"/>
            <ac:spMk id="23" creationId="{E85146C0-60A9-4211-A1A9-BFBDC7E94DCB}"/>
          </ac:spMkLst>
        </pc:spChg>
        <pc:cxnChg chg="del">
          <ac:chgData name="Aurelien Domont" userId="6da7715ce44349b3" providerId="LiveId" clId="{749C0E2C-AAC6-401A-B449-B354DF3FBE4A}" dt="2021-07-09T05:38:47.692" v="617" actId="478"/>
          <ac:cxnSpMkLst>
            <pc:docMk/>
            <pc:sldMk cId="1002747840" sldId="2189"/>
            <ac:cxnSpMk id="9" creationId="{29940A68-0B12-4DB4-B6BF-26CE87860A62}"/>
          </ac:cxnSpMkLst>
        </pc:cxnChg>
        <pc:cxnChg chg="del">
          <ac:chgData name="Aurelien Domont" userId="6da7715ce44349b3" providerId="LiveId" clId="{749C0E2C-AAC6-401A-B449-B354DF3FBE4A}" dt="2021-07-09T05:38:47.692" v="617" actId="478"/>
          <ac:cxnSpMkLst>
            <pc:docMk/>
            <pc:sldMk cId="1002747840" sldId="2189"/>
            <ac:cxnSpMk id="14" creationId="{14CD9B99-0907-4DB9-B10F-F0E0E658423E}"/>
          </ac:cxnSpMkLst>
        </pc:cxnChg>
        <pc:cxnChg chg="add mod">
          <ac:chgData name="Aurelien Domont" userId="6da7715ce44349b3" providerId="LiveId" clId="{749C0E2C-AAC6-401A-B449-B354DF3FBE4A}" dt="2021-07-09T05:38:53.549" v="618"/>
          <ac:cxnSpMkLst>
            <pc:docMk/>
            <pc:sldMk cId="1002747840" sldId="2189"/>
            <ac:cxnSpMk id="19" creationId="{66B3172C-437D-4E3A-A409-BD3F8E5F11DA}"/>
          </ac:cxnSpMkLst>
        </pc:cxnChg>
        <pc:cxnChg chg="add mod">
          <ac:chgData name="Aurelien Domont" userId="6da7715ce44349b3" providerId="LiveId" clId="{749C0E2C-AAC6-401A-B449-B354DF3FBE4A}" dt="2021-07-09T05:38:53.549" v="618"/>
          <ac:cxnSpMkLst>
            <pc:docMk/>
            <pc:sldMk cId="1002747840" sldId="2189"/>
            <ac:cxnSpMk id="20" creationId="{E13C48DE-0E6F-4FD7-8A42-817BAD8E7791}"/>
          </ac:cxnSpMkLst>
        </pc:cxnChg>
      </pc:sldChg>
      <pc:sldChg chg="addSp delSp modSp mod ord">
        <pc:chgData name="Aurelien Domont" userId="6da7715ce44349b3" providerId="LiveId" clId="{749C0E2C-AAC6-401A-B449-B354DF3FBE4A}" dt="2021-07-09T05:41:59.814" v="639" actId="167"/>
        <pc:sldMkLst>
          <pc:docMk/>
          <pc:sldMk cId="2349979947" sldId="2190"/>
        </pc:sldMkLst>
        <pc:spChg chg="del">
          <ac:chgData name="Aurelien Domont" userId="6da7715ce44349b3" providerId="LiveId" clId="{749C0E2C-AAC6-401A-B449-B354DF3FBE4A}" dt="2021-07-09T05:31:32.364" v="557" actId="478"/>
          <ac:spMkLst>
            <pc:docMk/>
            <pc:sldMk cId="2349979947" sldId="2190"/>
            <ac:spMk id="22" creationId="{F4DAF654-340D-4B75-B8E9-38BAB8DB34FD}"/>
          </ac:spMkLst>
        </pc:spChg>
        <pc:spChg chg="del">
          <ac:chgData name="Aurelien Domont" userId="6da7715ce44349b3" providerId="LiveId" clId="{749C0E2C-AAC6-401A-B449-B354DF3FBE4A}" dt="2021-07-09T05:31:32.364" v="557" actId="478"/>
          <ac:spMkLst>
            <pc:docMk/>
            <pc:sldMk cId="2349979947" sldId="2190"/>
            <ac:spMk id="23" creationId="{5992F7C2-C90A-496E-BD21-743F05885307}"/>
          </ac:spMkLst>
        </pc:spChg>
        <pc:spChg chg="del">
          <ac:chgData name="Aurelien Domont" userId="6da7715ce44349b3" providerId="LiveId" clId="{749C0E2C-AAC6-401A-B449-B354DF3FBE4A}" dt="2021-07-09T05:31:32.364" v="557" actId="478"/>
          <ac:spMkLst>
            <pc:docMk/>
            <pc:sldMk cId="2349979947" sldId="2190"/>
            <ac:spMk id="24" creationId="{045700D2-8228-44CB-B976-038E65CAE418}"/>
          </ac:spMkLst>
        </pc:spChg>
        <pc:spChg chg="del">
          <ac:chgData name="Aurelien Domont" userId="6da7715ce44349b3" providerId="LiveId" clId="{749C0E2C-AAC6-401A-B449-B354DF3FBE4A}" dt="2021-07-09T05:31:32.364" v="557" actId="478"/>
          <ac:spMkLst>
            <pc:docMk/>
            <pc:sldMk cId="2349979947" sldId="2190"/>
            <ac:spMk id="25" creationId="{A903233A-54AD-46D4-850C-64259B5EB4D8}"/>
          </ac:spMkLst>
        </pc:spChg>
        <pc:spChg chg="add mod">
          <ac:chgData name="Aurelien Domont" userId="6da7715ce44349b3" providerId="LiveId" clId="{749C0E2C-AAC6-401A-B449-B354DF3FBE4A}" dt="2021-07-09T05:33:21.402" v="563" actId="6549"/>
          <ac:spMkLst>
            <pc:docMk/>
            <pc:sldMk cId="2349979947" sldId="2190"/>
            <ac:spMk id="26" creationId="{737A40FB-4E2D-4A2C-ABF9-F238A234BE37}"/>
          </ac:spMkLst>
        </pc:spChg>
        <pc:spChg chg="add mod">
          <ac:chgData name="Aurelien Domont" userId="6da7715ce44349b3" providerId="LiveId" clId="{749C0E2C-AAC6-401A-B449-B354DF3FBE4A}" dt="2021-07-09T05:36:10.037" v="601"/>
          <ac:spMkLst>
            <pc:docMk/>
            <pc:sldMk cId="2349979947" sldId="2190"/>
            <ac:spMk id="27" creationId="{BDC076F6-22C6-4F66-8368-855A9F230B71}"/>
          </ac:spMkLst>
        </pc:spChg>
        <pc:spChg chg="add mod">
          <ac:chgData name="Aurelien Domont" userId="6da7715ce44349b3" providerId="LiveId" clId="{749C0E2C-AAC6-401A-B449-B354DF3FBE4A}" dt="2021-07-09T05:34:53.272" v="582" actId="20577"/>
          <ac:spMkLst>
            <pc:docMk/>
            <pc:sldMk cId="2349979947" sldId="2190"/>
            <ac:spMk id="28" creationId="{81AD7EC1-CA1E-4E7A-9780-CF93B6334C25}"/>
          </ac:spMkLst>
        </pc:spChg>
        <pc:spChg chg="add mod">
          <ac:chgData name="Aurelien Domont" userId="6da7715ce44349b3" providerId="LiveId" clId="{749C0E2C-AAC6-401A-B449-B354DF3FBE4A}" dt="2021-07-09T05:36:45.858" v="602"/>
          <ac:spMkLst>
            <pc:docMk/>
            <pc:sldMk cId="2349979947" sldId="2190"/>
            <ac:spMk id="29" creationId="{507C27F9-FD70-4D53-B2F3-5066825C0008}"/>
          </ac:spMkLst>
        </pc:spChg>
        <pc:picChg chg="add mod ord">
          <ac:chgData name="Aurelien Domont" userId="6da7715ce44349b3" providerId="LiveId" clId="{749C0E2C-AAC6-401A-B449-B354DF3FBE4A}" dt="2021-07-09T05:41:59.814" v="639" actId="167"/>
          <ac:picMkLst>
            <pc:docMk/>
            <pc:sldMk cId="2349979947" sldId="2190"/>
            <ac:picMk id="2" creationId="{BA3C88A6-896C-4CE6-A82B-7B779BF6136D}"/>
          </ac:picMkLst>
        </pc:picChg>
        <pc:picChg chg="add mod ord">
          <ac:chgData name="Aurelien Domont" userId="6da7715ce44349b3" providerId="LiveId" clId="{749C0E2C-AAC6-401A-B449-B354DF3FBE4A}" dt="2021-07-09T05:41:59.814" v="639" actId="167"/>
          <ac:picMkLst>
            <pc:docMk/>
            <pc:sldMk cId="2349979947" sldId="2190"/>
            <ac:picMk id="3" creationId="{7B4040D5-CCF7-4CD7-A91C-F367BE0521AB}"/>
          </ac:picMkLst>
        </pc:picChg>
        <pc:picChg chg="add mod ord">
          <ac:chgData name="Aurelien Domont" userId="6da7715ce44349b3" providerId="LiveId" clId="{749C0E2C-AAC6-401A-B449-B354DF3FBE4A}" dt="2021-07-09T05:41:59.814" v="639" actId="167"/>
          <ac:picMkLst>
            <pc:docMk/>
            <pc:sldMk cId="2349979947" sldId="2190"/>
            <ac:picMk id="4" creationId="{E21EACEF-DF8D-455F-98E2-B4F596E8268D}"/>
          </ac:picMkLst>
        </pc:picChg>
        <pc:picChg chg="add mod ord">
          <ac:chgData name="Aurelien Domont" userId="6da7715ce44349b3" providerId="LiveId" clId="{749C0E2C-AAC6-401A-B449-B354DF3FBE4A}" dt="2021-07-09T05:41:59.814" v="639" actId="167"/>
          <ac:picMkLst>
            <pc:docMk/>
            <pc:sldMk cId="2349979947" sldId="2190"/>
            <ac:picMk id="11" creationId="{6E845E77-4661-478C-91BE-4F5F582C8AD5}"/>
          </ac:picMkLst>
        </pc:picChg>
        <pc:picChg chg="add del mod">
          <ac:chgData name="Aurelien Domont" userId="6da7715ce44349b3" providerId="LiveId" clId="{749C0E2C-AAC6-401A-B449-B354DF3FBE4A}" dt="2021-07-09T05:37:19.774" v="609" actId="478"/>
          <ac:picMkLst>
            <pc:docMk/>
            <pc:sldMk cId="2349979947" sldId="2190"/>
            <ac:picMk id="18" creationId="{775C1D3D-BB8B-4332-A015-EAF0972E1E39}"/>
          </ac:picMkLst>
        </pc:picChg>
        <pc:picChg chg="add del mod">
          <ac:chgData name="Aurelien Domont" userId="6da7715ce44349b3" providerId="LiveId" clId="{749C0E2C-AAC6-401A-B449-B354DF3FBE4A}" dt="2021-07-09T05:33:27.950" v="565" actId="478"/>
          <ac:picMkLst>
            <pc:docMk/>
            <pc:sldMk cId="2349979947" sldId="2190"/>
            <ac:picMk id="19" creationId="{EE29E786-4E9E-4995-B8A7-ACF6DE2240E3}"/>
          </ac:picMkLst>
        </pc:picChg>
        <pc:picChg chg="add del mod">
          <ac:chgData name="Aurelien Domont" userId="6da7715ce44349b3" providerId="LiveId" clId="{749C0E2C-AAC6-401A-B449-B354DF3FBE4A}" dt="2021-07-09T05:37:20.385" v="610" actId="478"/>
          <ac:picMkLst>
            <pc:docMk/>
            <pc:sldMk cId="2349979947" sldId="2190"/>
            <ac:picMk id="20" creationId="{CBBF09F8-33A0-4056-B61B-0AC23E98E13A}"/>
          </ac:picMkLst>
        </pc:picChg>
        <pc:picChg chg="add del mod">
          <ac:chgData name="Aurelien Domont" userId="6da7715ce44349b3" providerId="LiveId" clId="{749C0E2C-AAC6-401A-B449-B354DF3FBE4A}" dt="2021-07-09T05:37:20.880" v="611" actId="478"/>
          <ac:picMkLst>
            <pc:docMk/>
            <pc:sldMk cId="2349979947" sldId="2190"/>
            <ac:picMk id="21" creationId="{C4730630-2BDF-4F38-AF7C-D89FB793796B}"/>
          </ac:picMkLst>
        </pc:picChg>
        <pc:picChg chg="del">
          <ac:chgData name="Aurelien Domont" userId="6da7715ce44349b3" providerId="LiveId" clId="{749C0E2C-AAC6-401A-B449-B354DF3FBE4A}" dt="2021-07-09T05:31:32.364" v="557" actId="478"/>
          <ac:picMkLst>
            <pc:docMk/>
            <pc:sldMk cId="2349979947" sldId="2190"/>
            <ac:picMk id="30" creationId="{7BE26EE6-02D0-4299-8D40-D5FE747FC6EC}"/>
          </ac:picMkLst>
        </pc:picChg>
        <pc:picChg chg="del">
          <ac:chgData name="Aurelien Domont" userId="6da7715ce44349b3" providerId="LiveId" clId="{749C0E2C-AAC6-401A-B449-B354DF3FBE4A}" dt="2021-07-09T05:31:32.364" v="557" actId="478"/>
          <ac:picMkLst>
            <pc:docMk/>
            <pc:sldMk cId="2349979947" sldId="2190"/>
            <ac:picMk id="31" creationId="{01772D02-2A23-4F53-A80C-CFCBAA14DE60}"/>
          </ac:picMkLst>
        </pc:picChg>
        <pc:picChg chg="del">
          <ac:chgData name="Aurelien Domont" userId="6da7715ce44349b3" providerId="LiveId" clId="{749C0E2C-AAC6-401A-B449-B354DF3FBE4A}" dt="2021-07-09T05:31:32.364" v="557" actId="478"/>
          <ac:picMkLst>
            <pc:docMk/>
            <pc:sldMk cId="2349979947" sldId="2190"/>
            <ac:picMk id="32" creationId="{736A7551-1054-4CFB-A286-4083A79078E0}"/>
          </ac:picMkLst>
        </pc:picChg>
        <pc:picChg chg="del">
          <ac:chgData name="Aurelien Domont" userId="6da7715ce44349b3" providerId="LiveId" clId="{749C0E2C-AAC6-401A-B449-B354DF3FBE4A}" dt="2021-07-09T05:31:32.364" v="557" actId="478"/>
          <ac:picMkLst>
            <pc:docMk/>
            <pc:sldMk cId="2349979947" sldId="2190"/>
            <ac:picMk id="33" creationId="{3886DD78-4C41-40C9-8DAB-58415E8DB15A}"/>
          </ac:picMkLst>
        </pc:picChg>
        <pc:picChg chg="add del mod">
          <ac:chgData name="Aurelien Domont" userId="6da7715ce44349b3" providerId="LiveId" clId="{749C0E2C-AAC6-401A-B449-B354DF3FBE4A}" dt="2021-07-09T05:34:01.249" v="575" actId="478"/>
          <ac:picMkLst>
            <pc:docMk/>
            <pc:sldMk cId="2349979947" sldId="2190"/>
            <ac:picMk id="34" creationId="{561AFF33-87F3-4846-A18E-D7DF169FA8FA}"/>
          </ac:picMkLst>
        </pc:picChg>
        <pc:picChg chg="add del mod">
          <ac:chgData name="Aurelien Domont" userId="6da7715ce44349b3" providerId="LiveId" clId="{749C0E2C-AAC6-401A-B449-B354DF3FBE4A}" dt="2021-07-09T05:34:00.576" v="574" actId="478"/>
          <ac:picMkLst>
            <pc:docMk/>
            <pc:sldMk cId="2349979947" sldId="2190"/>
            <ac:picMk id="35" creationId="{0DCE2CD3-335B-4D3D-8D2E-D4F1B0CA5F1F}"/>
          </ac:picMkLst>
        </pc:picChg>
      </pc:sldChg>
      <pc:sldChg chg="del">
        <pc:chgData name="Aurelien Domont" userId="6da7715ce44349b3" providerId="LiveId" clId="{749C0E2C-AAC6-401A-B449-B354DF3FBE4A}" dt="2021-07-09T05:49:46" v="723" actId="47"/>
        <pc:sldMkLst>
          <pc:docMk/>
          <pc:sldMk cId="3340324934" sldId="2191"/>
        </pc:sldMkLst>
      </pc:sldChg>
      <pc:sldChg chg="addSp modSp new del mod">
        <pc:chgData name="Aurelien Domont" userId="6da7715ce44349b3" providerId="LiveId" clId="{749C0E2C-AAC6-401A-B449-B354DF3FBE4A}" dt="2021-07-09T05:53:10.418" v="789" actId="47"/>
        <pc:sldMkLst>
          <pc:docMk/>
          <pc:sldMk cId="1756429421" sldId="2192"/>
        </pc:sldMkLst>
        <pc:spChg chg="add mod">
          <ac:chgData name="Aurelien Domont" userId="6da7715ce44349b3" providerId="LiveId" clId="{749C0E2C-AAC6-401A-B449-B354DF3FBE4A}" dt="2021-07-09T04:41:37.365" v="46" actId="13822"/>
          <ac:spMkLst>
            <pc:docMk/>
            <pc:sldMk cId="1756429421" sldId="2192"/>
            <ac:spMk id="3" creationId="{CC977F22-6DCF-4D05-AD2D-3B63CF624FE8}"/>
          </ac:spMkLst>
        </pc:spChg>
      </pc:sldChg>
      <pc:sldChg chg="addSp delSp modSp add mod">
        <pc:chgData name="Aurelien Domont" userId="6da7715ce44349b3" providerId="LiveId" clId="{749C0E2C-AAC6-401A-B449-B354DF3FBE4A}" dt="2021-07-09T04:43:02.669" v="88" actId="20577"/>
        <pc:sldMkLst>
          <pc:docMk/>
          <pc:sldMk cId="3218024908" sldId="2193"/>
        </pc:sldMkLst>
        <pc:spChg chg="del">
          <ac:chgData name="Aurelien Domont" userId="6da7715ce44349b3" providerId="LiveId" clId="{749C0E2C-AAC6-401A-B449-B354DF3FBE4A}" dt="2021-07-09T04:42:36.817" v="83" actId="478"/>
          <ac:spMkLst>
            <pc:docMk/>
            <pc:sldMk cId="3218024908" sldId="2193"/>
            <ac:spMk id="3" creationId="{769F5309-76A5-4DB3-A4CB-2C8F568AB01D}"/>
          </ac:spMkLst>
        </pc:spChg>
        <pc:spChg chg="mod">
          <ac:chgData name="Aurelien Domont" userId="6da7715ce44349b3" providerId="LiveId" clId="{749C0E2C-AAC6-401A-B449-B354DF3FBE4A}" dt="2021-07-09T04:43:02.669" v="88" actId="20577"/>
          <ac:spMkLst>
            <pc:docMk/>
            <pc:sldMk cId="3218024908" sldId="2193"/>
            <ac:spMk id="16" creationId="{6C2BB713-9637-4B9B-938F-E9768876782A}"/>
          </ac:spMkLst>
        </pc:spChg>
        <pc:spChg chg="del">
          <ac:chgData name="Aurelien Domont" userId="6da7715ce44349b3" providerId="LiveId" clId="{749C0E2C-AAC6-401A-B449-B354DF3FBE4A}" dt="2021-07-09T04:42:36.817" v="83" actId="478"/>
          <ac:spMkLst>
            <pc:docMk/>
            <pc:sldMk cId="3218024908" sldId="2193"/>
            <ac:spMk id="29" creationId="{F1ABDDA1-7406-4A3A-8D68-EEEA79F76892}"/>
          </ac:spMkLst>
        </pc:spChg>
        <pc:spChg chg="del">
          <ac:chgData name="Aurelien Domont" userId="6da7715ce44349b3" providerId="LiveId" clId="{749C0E2C-AAC6-401A-B449-B354DF3FBE4A}" dt="2021-07-09T04:42:37.883" v="84" actId="478"/>
          <ac:spMkLst>
            <pc:docMk/>
            <pc:sldMk cId="3218024908" sldId="2193"/>
            <ac:spMk id="30" creationId="{A3A42F54-587B-4C2E-93F0-14AB9DDD5309}"/>
          </ac:spMkLst>
        </pc:spChg>
        <pc:spChg chg="add mod">
          <ac:chgData name="Aurelien Domont" userId="6da7715ce44349b3" providerId="LiveId" clId="{749C0E2C-AAC6-401A-B449-B354DF3FBE4A}" dt="2021-07-09T04:42:44.451" v="85"/>
          <ac:spMkLst>
            <pc:docMk/>
            <pc:sldMk cId="3218024908" sldId="2193"/>
            <ac:spMk id="31" creationId="{047F8D27-7EB8-4F11-818A-22805413905B}"/>
          </ac:spMkLst>
        </pc:spChg>
        <pc:spChg chg="del">
          <ac:chgData name="Aurelien Domont" userId="6da7715ce44349b3" providerId="LiveId" clId="{749C0E2C-AAC6-401A-B449-B354DF3FBE4A}" dt="2021-07-09T04:42:36.817" v="83" actId="478"/>
          <ac:spMkLst>
            <pc:docMk/>
            <pc:sldMk cId="3218024908" sldId="2193"/>
            <ac:spMk id="32" creationId="{EE6F0BF2-DC75-49E9-A69A-A91D25E3574E}"/>
          </ac:spMkLst>
        </pc:spChg>
        <pc:spChg chg="add mod">
          <ac:chgData name="Aurelien Domont" userId="6da7715ce44349b3" providerId="LiveId" clId="{749C0E2C-AAC6-401A-B449-B354DF3FBE4A}" dt="2021-07-09T04:42:44.451" v="85"/>
          <ac:spMkLst>
            <pc:docMk/>
            <pc:sldMk cId="3218024908" sldId="2193"/>
            <ac:spMk id="33" creationId="{AF984234-4413-463B-B984-33E801C8F1CC}"/>
          </ac:spMkLst>
        </pc:spChg>
        <pc:spChg chg="add mod">
          <ac:chgData name="Aurelien Domont" userId="6da7715ce44349b3" providerId="LiveId" clId="{749C0E2C-AAC6-401A-B449-B354DF3FBE4A}" dt="2021-07-09T04:42:44.451" v="85"/>
          <ac:spMkLst>
            <pc:docMk/>
            <pc:sldMk cId="3218024908" sldId="2193"/>
            <ac:spMk id="34" creationId="{53AF2D87-E787-4026-9A04-CC08C3619B2A}"/>
          </ac:spMkLst>
        </pc:spChg>
        <pc:spChg chg="add mod">
          <ac:chgData name="Aurelien Domont" userId="6da7715ce44349b3" providerId="LiveId" clId="{749C0E2C-AAC6-401A-B449-B354DF3FBE4A}" dt="2021-07-09T04:42:44.451" v="85"/>
          <ac:spMkLst>
            <pc:docMk/>
            <pc:sldMk cId="3218024908" sldId="2193"/>
            <ac:spMk id="35" creationId="{559EEED1-0DA6-4AC3-B749-C55D459F24E5}"/>
          </ac:spMkLst>
        </pc:spChg>
        <pc:spChg chg="add mod">
          <ac:chgData name="Aurelien Domont" userId="6da7715ce44349b3" providerId="LiveId" clId="{749C0E2C-AAC6-401A-B449-B354DF3FBE4A}" dt="2021-07-09T04:42:44.451" v="85"/>
          <ac:spMkLst>
            <pc:docMk/>
            <pc:sldMk cId="3218024908" sldId="2193"/>
            <ac:spMk id="36" creationId="{C6DB5B95-30C9-42D9-BAC0-4DBAE6CDBB3E}"/>
          </ac:spMkLst>
        </pc:spChg>
        <pc:spChg chg="add mod">
          <ac:chgData name="Aurelien Domont" userId="6da7715ce44349b3" providerId="LiveId" clId="{749C0E2C-AAC6-401A-B449-B354DF3FBE4A}" dt="2021-07-09T04:42:44.451" v="85"/>
          <ac:spMkLst>
            <pc:docMk/>
            <pc:sldMk cId="3218024908" sldId="2193"/>
            <ac:spMk id="37" creationId="{EC90D5F1-1294-46A2-9972-D03475C8DD90}"/>
          </ac:spMkLst>
        </pc:spChg>
        <pc:spChg chg="add mod">
          <ac:chgData name="Aurelien Domont" userId="6da7715ce44349b3" providerId="LiveId" clId="{749C0E2C-AAC6-401A-B449-B354DF3FBE4A}" dt="2021-07-09T04:42:44.451" v="85"/>
          <ac:spMkLst>
            <pc:docMk/>
            <pc:sldMk cId="3218024908" sldId="2193"/>
            <ac:spMk id="38" creationId="{7D2BD487-1738-447A-9C8E-E7E226A621A5}"/>
          </ac:spMkLst>
        </pc:spChg>
        <pc:grpChg chg="del">
          <ac:chgData name="Aurelien Domont" userId="6da7715ce44349b3" providerId="LiveId" clId="{749C0E2C-AAC6-401A-B449-B354DF3FBE4A}" dt="2021-07-09T04:42:36.817" v="83" actId="478"/>
          <ac:grpSpMkLst>
            <pc:docMk/>
            <pc:sldMk cId="3218024908" sldId="2193"/>
            <ac:grpSpMk id="2" creationId="{CA5BE65C-4544-4880-A061-4D320C41F338}"/>
          </ac:grpSpMkLst>
        </pc:grpChg>
      </pc:sldChg>
      <pc:sldChg chg="addSp delSp modSp add mod">
        <pc:chgData name="Aurelien Domont" userId="6da7715ce44349b3" providerId="LiveId" clId="{749C0E2C-AAC6-401A-B449-B354DF3FBE4A}" dt="2021-07-09T04:45:15.674" v="143" actId="20577"/>
        <pc:sldMkLst>
          <pc:docMk/>
          <pc:sldMk cId="2295664870" sldId="2194"/>
        </pc:sldMkLst>
        <pc:spChg chg="add del mod">
          <ac:chgData name="Aurelien Domont" userId="6da7715ce44349b3" providerId="LiveId" clId="{749C0E2C-AAC6-401A-B449-B354DF3FBE4A}" dt="2021-07-09T04:45:10.617" v="136" actId="478"/>
          <ac:spMkLst>
            <pc:docMk/>
            <pc:sldMk cId="2295664870" sldId="2194"/>
            <ac:spMk id="12" creationId="{8499D2B2-3130-4460-9993-EE970FF78F18}"/>
          </ac:spMkLst>
        </pc:spChg>
        <pc:spChg chg="add del mod">
          <ac:chgData name="Aurelien Domont" userId="6da7715ce44349b3" providerId="LiveId" clId="{749C0E2C-AAC6-401A-B449-B354DF3FBE4A}" dt="2021-07-09T04:45:10.617" v="136" actId="478"/>
          <ac:spMkLst>
            <pc:docMk/>
            <pc:sldMk cId="2295664870" sldId="2194"/>
            <ac:spMk id="14" creationId="{CE9D3B02-2083-4C33-9BCD-CBAA65735783}"/>
          </ac:spMkLst>
        </pc:spChg>
        <pc:spChg chg="add del mod">
          <ac:chgData name="Aurelien Domont" userId="6da7715ce44349b3" providerId="LiveId" clId="{749C0E2C-AAC6-401A-B449-B354DF3FBE4A}" dt="2021-07-09T04:45:10.617" v="136" actId="478"/>
          <ac:spMkLst>
            <pc:docMk/>
            <pc:sldMk cId="2295664870" sldId="2194"/>
            <ac:spMk id="15" creationId="{00691945-F80C-4B30-BE19-966CABC57B1A}"/>
          </ac:spMkLst>
        </pc:spChg>
        <pc:spChg chg="mod">
          <ac:chgData name="Aurelien Domont" userId="6da7715ce44349b3" providerId="LiveId" clId="{749C0E2C-AAC6-401A-B449-B354DF3FBE4A}" dt="2021-07-09T04:45:15.674" v="143" actId="20577"/>
          <ac:spMkLst>
            <pc:docMk/>
            <pc:sldMk cId="2295664870" sldId="2194"/>
            <ac:spMk id="16" creationId="{6C2BB713-9637-4B9B-938F-E9768876782A}"/>
          </ac:spMkLst>
        </pc:spChg>
        <pc:spChg chg="add del mod">
          <ac:chgData name="Aurelien Domont" userId="6da7715ce44349b3" providerId="LiveId" clId="{749C0E2C-AAC6-401A-B449-B354DF3FBE4A}" dt="2021-07-09T04:45:10.617" v="136" actId="478"/>
          <ac:spMkLst>
            <pc:docMk/>
            <pc:sldMk cId="2295664870" sldId="2194"/>
            <ac:spMk id="17" creationId="{A80B1594-AD60-4F9B-93D9-03676C3D4B6D}"/>
          </ac:spMkLst>
        </pc:spChg>
        <pc:spChg chg="add del mod">
          <ac:chgData name="Aurelien Domont" userId="6da7715ce44349b3" providerId="LiveId" clId="{749C0E2C-AAC6-401A-B449-B354DF3FBE4A}" dt="2021-07-09T04:45:10.617" v="136" actId="478"/>
          <ac:spMkLst>
            <pc:docMk/>
            <pc:sldMk cId="2295664870" sldId="2194"/>
            <ac:spMk id="18" creationId="{D85C8BB8-1472-4AF3-87D2-366173DB4648}"/>
          </ac:spMkLst>
        </pc:spChg>
        <pc:spChg chg="add del mod">
          <ac:chgData name="Aurelien Domont" userId="6da7715ce44349b3" providerId="LiveId" clId="{749C0E2C-AAC6-401A-B449-B354DF3FBE4A}" dt="2021-07-09T04:45:10.617" v="136" actId="478"/>
          <ac:spMkLst>
            <pc:docMk/>
            <pc:sldMk cId="2295664870" sldId="2194"/>
            <ac:spMk id="19" creationId="{880C8DF6-1C76-423F-8457-D972FA32A8F0}"/>
          </ac:spMkLst>
        </pc:spChg>
        <pc:spChg chg="add del mod">
          <ac:chgData name="Aurelien Domont" userId="6da7715ce44349b3" providerId="LiveId" clId="{749C0E2C-AAC6-401A-B449-B354DF3FBE4A}" dt="2021-07-09T04:45:10.617" v="136" actId="478"/>
          <ac:spMkLst>
            <pc:docMk/>
            <pc:sldMk cId="2295664870" sldId="2194"/>
            <ac:spMk id="20" creationId="{8ED978DC-2183-41F7-82BE-8132916BF843}"/>
          </ac:spMkLst>
        </pc:spChg>
        <pc:spChg chg="add del mod">
          <ac:chgData name="Aurelien Domont" userId="6da7715ce44349b3" providerId="LiveId" clId="{749C0E2C-AAC6-401A-B449-B354DF3FBE4A}" dt="2021-07-09T04:45:09.915" v="135"/>
          <ac:spMkLst>
            <pc:docMk/>
            <pc:sldMk cId="2295664870" sldId="2194"/>
            <ac:spMk id="22" creationId="{65BC7272-3272-4AE4-A7BB-B6FE7D5DE863}"/>
          </ac:spMkLst>
        </pc:spChg>
        <pc:spChg chg="del">
          <ac:chgData name="Aurelien Domont" userId="6da7715ce44349b3" providerId="LiveId" clId="{749C0E2C-AAC6-401A-B449-B354DF3FBE4A}" dt="2021-07-09T04:43:12.143" v="90" actId="478"/>
          <ac:spMkLst>
            <pc:docMk/>
            <pc:sldMk cId="2295664870" sldId="2194"/>
            <ac:spMk id="31" creationId="{047F8D27-7EB8-4F11-818A-22805413905B}"/>
          </ac:spMkLst>
        </pc:spChg>
        <pc:spChg chg="del">
          <ac:chgData name="Aurelien Domont" userId="6da7715ce44349b3" providerId="LiveId" clId="{749C0E2C-AAC6-401A-B449-B354DF3FBE4A}" dt="2021-07-09T04:43:12.143" v="90" actId="478"/>
          <ac:spMkLst>
            <pc:docMk/>
            <pc:sldMk cId="2295664870" sldId="2194"/>
            <ac:spMk id="33" creationId="{AF984234-4413-463B-B984-33E801C8F1CC}"/>
          </ac:spMkLst>
        </pc:spChg>
        <pc:spChg chg="del">
          <ac:chgData name="Aurelien Domont" userId="6da7715ce44349b3" providerId="LiveId" clId="{749C0E2C-AAC6-401A-B449-B354DF3FBE4A}" dt="2021-07-09T04:43:12.143" v="90" actId="478"/>
          <ac:spMkLst>
            <pc:docMk/>
            <pc:sldMk cId="2295664870" sldId="2194"/>
            <ac:spMk id="34" creationId="{53AF2D87-E787-4026-9A04-CC08C3619B2A}"/>
          </ac:spMkLst>
        </pc:spChg>
        <pc:spChg chg="del">
          <ac:chgData name="Aurelien Domont" userId="6da7715ce44349b3" providerId="LiveId" clId="{749C0E2C-AAC6-401A-B449-B354DF3FBE4A}" dt="2021-07-09T04:43:12.143" v="90" actId="478"/>
          <ac:spMkLst>
            <pc:docMk/>
            <pc:sldMk cId="2295664870" sldId="2194"/>
            <ac:spMk id="35" creationId="{559EEED1-0DA6-4AC3-B749-C55D459F24E5}"/>
          </ac:spMkLst>
        </pc:spChg>
        <pc:spChg chg="del">
          <ac:chgData name="Aurelien Domont" userId="6da7715ce44349b3" providerId="LiveId" clId="{749C0E2C-AAC6-401A-B449-B354DF3FBE4A}" dt="2021-07-09T04:43:12.143" v="90" actId="478"/>
          <ac:spMkLst>
            <pc:docMk/>
            <pc:sldMk cId="2295664870" sldId="2194"/>
            <ac:spMk id="36" creationId="{C6DB5B95-30C9-42D9-BAC0-4DBAE6CDBB3E}"/>
          </ac:spMkLst>
        </pc:spChg>
        <pc:spChg chg="del">
          <ac:chgData name="Aurelien Domont" userId="6da7715ce44349b3" providerId="LiveId" clId="{749C0E2C-AAC6-401A-B449-B354DF3FBE4A}" dt="2021-07-09T04:43:12.143" v="90" actId="478"/>
          <ac:spMkLst>
            <pc:docMk/>
            <pc:sldMk cId="2295664870" sldId="2194"/>
            <ac:spMk id="37" creationId="{EC90D5F1-1294-46A2-9972-D03475C8DD90}"/>
          </ac:spMkLst>
        </pc:spChg>
        <pc:spChg chg="del">
          <ac:chgData name="Aurelien Domont" userId="6da7715ce44349b3" providerId="LiveId" clId="{749C0E2C-AAC6-401A-B449-B354DF3FBE4A}" dt="2021-07-09T04:43:12.143" v="90" actId="478"/>
          <ac:spMkLst>
            <pc:docMk/>
            <pc:sldMk cId="2295664870" sldId="2194"/>
            <ac:spMk id="38" creationId="{7D2BD487-1738-447A-9C8E-E7E226A621A5}"/>
          </ac:spMkLst>
        </pc:spChg>
        <pc:graphicFrameChg chg="add del mod">
          <ac:chgData name="Aurelien Domont" userId="6da7715ce44349b3" providerId="LiveId" clId="{749C0E2C-AAC6-401A-B449-B354DF3FBE4A}" dt="2021-07-09T04:45:09.915" v="135"/>
          <ac:graphicFrameMkLst>
            <pc:docMk/>
            <pc:sldMk cId="2295664870" sldId="2194"/>
            <ac:graphicFrameMk id="21" creationId="{168135D0-4C46-43CC-84D6-0CF9BCF1F309}"/>
          </ac:graphicFrameMkLst>
        </pc:graphicFrameChg>
      </pc:sldChg>
      <pc:sldChg chg="addSp delSp modSp add mod">
        <pc:chgData name="Aurelien Domont" userId="6da7715ce44349b3" providerId="LiveId" clId="{749C0E2C-AAC6-401A-B449-B354DF3FBE4A}" dt="2021-07-09T04:46:05.273" v="183"/>
        <pc:sldMkLst>
          <pc:docMk/>
          <pc:sldMk cId="3015462381" sldId="2195"/>
        </pc:sldMkLst>
        <pc:spChg chg="del">
          <ac:chgData name="Aurelien Domont" userId="6da7715ce44349b3" providerId="LiveId" clId="{749C0E2C-AAC6-401A-B449-B354DF3FBE4A}" dt="2021-07-09T04:46:00.289" v="182" actId="478"/>
          <ac:spMkLst>
            <pc:docMk/>
            <pc:sldMk cId="3015462381" sldId="2195"/>
            <ac:spMk id="12" creationId="{8499D2B2-3130-4460-9993-EE970FF78F18}"/>
          </ac:spMkLst>
        </pc:spChg>
        <pc:spChg chg="del">
          <ac:chgData name="Aurelien Domont" userId="6da7715ce44349b3" providerId="LiveId" clId="{749C0E2C-AAC6-401A-B449-B354DF3FBE4A}" dt="2021-07-09T04:46:00.289" v="182" actId="478"/>
          <ac:spMkLst>
            <pc:docMk/>
            <pc:sldMk cId="3015462381" sldId="2195"/>
            <ac:spMk id="14" creationId="{CE9D3B02-2083-4C33-9BCD-CBAA65735783}"/>
          </ac:spMkLst>
        </pc:spChg>
        <pc:spChg chg="del">
          <ac:chgData name="Aurelien Domont" userId="6da7715ce44349b3" providerId="LiveId" clId="{749C0E2C-AAC6-401A-B449-B354DF3FBE4A}" dt="2021-07-09T04:46:00.289" v="182" actId="478"/>
          <ac:spMkLst>
            <pc:docMk/>
            <pc:sldMk cId="3015462381" sldId="2195"/>
            <ac:spMk id="15" creationId="{00691945-F80C-4B30-BE19-966CABC57B1A}"/>
          </ac:spMkLst>
        </pc:spChg>
        <pc:spChg chg="mod">
          <ac:chgData name="Aurelien Domont" userId="6da7715ce44349b3" providerId="LiveId" clId="{749C0E2C-AAC6-401A-B449-B354DF3FBE4A}" dt="2021-07-09T04:45:57.324" v="181" actId="20577"/>
          <ac:spMkLst>
            <pc:docMk/>
            <pc:sldMk cId="3015462381" sldId="2195"/>
            <ac:spMk id="16" creationId="{6C2BB713-9637-4B9B-938F-E9768876782A}"/>
          </ac:spMkLst>
        </pc:spChg>
        <pc:spChg chg="del">
          <ac:chgData name="Aurelien Domont" userId="6da7715ce44349b3" providerId="LiveId" clId="{749C0E2C-AAC6-401A-B449-B354DF3FBE4A}" dt="2021-07-09T04:46:00.289" v="182" actId="478"/>
          <ac:spMkLst>
            <pc:docMk/>
            <pc:sldMk cId="3015462381" sldId="2195"/>
            <ac:spMk id="17" creationId="{A80B1594-AD60-4F9B-93D9-03676C3D4B6D}"/>
          </ac:spMkLst>
        </pc:spChg>
        <pc:spChg chg="del">
          <ac:chgData name="Aurelien Domont" userId="6da7715ce44349b3" providerId="LiveId" clId="{749C0E2C-AAC6-401A-B449-B354DF3FBE4A}" dt="2021-07-09T04:46:00.289" v="182" actId="478"/>
          <ac:spMkLst>
            <pc:docMk/>
            <pc:sldMk cId="3015462381" sldId="2195"/>
            <ac:spMk id="18" creationId="{D85C8BB8-1472-4AF3-87D2-366173DB4648}"/>
          </ac:spMkLst>
        </pc:spChg>
        <pc:spChg chg="del">
          <ac:chgData name="Aurelien Domont" userId="6da7715ce44349b3" providerId="LiveId" clId="{749C0E2C-AAC6-401A-B449-B354DF3FBE4A}" dt="2021-07-09T04:46:00.289" v="182" actId="478"/>
          <ac:spMkLst>
            <pc:docMk/>
            <pc:sldMk cId="3015462381" sldId="2195"/>
            <ac:spMk id="19" creationId="{880C8DF6-1C76-423F-8457-D972FA32A8F0}"/>
          </ac:spMkLst>
        </pc:spChg>
        <pc:spChg chg="del">
          <ac:chgData name="Aurelien Domont" userId="6da7715ce44349b3" providerId="LiveId" clId="{749C0E2C-AAC6-401A-B449-B354DF3FBE4A}" dt="2021-07-09T04:46:00.289" v="182" actId="478"/>
          <ac:spMkLst>
            <pc:docMk/>
            <pc:sldMk cId="3015462381" sldId="2195"/>
            <ac:spMk id="20" creationId="{8ED978DC-2183-41F7-82BE-8132916BF843}"/>
          </ac:spMkLst>
        </pc:spChg>
        <pc:spChg chg="add mod">
          <ac:chgData name="Aurelien Domont" userId="6da7715ce44349b3" providerId="LiveId" clId="{749C0E2C-AAC6-401A-B449-B354DF3FBE4A}" dt="2021-07-09T04:46:05.273" v="183"/>
          <ac:spMkLst>
            <pc:docMk/>
            <pc:sldMk cId="3015462381" sldId="2195"/>
            <ac:spMk id="22" creationId="{4539A6B0-D837-467A-AF7C-63F2CB65F06B}"/>
          </ac:spMkLst>
        </pc:spChg>
        <pc:graphicFrameChg chg="add mod">
          <ac:chgData name="Aurelien Domont" userId="6da7715ce44349b3" providerId="LiveId" clId="{749C0E2C-AAC6-401A-B449-B354DF3FBE4A}" dt="2021-07-09T04:46:05.273" v="183"/>
          <ac:graphicFrameMkLst>
            <pc:docMk/>
            <pc:sldMk cId="3015462381" sldId="2195"/>
            <ac:graphicFrameMk id="21" creationId="{2BF59061-6183-4369-B638-33688F9CF05D}"/>
          </ac:graphicFrameMkLst>
        </pc:graphicFrameChg>
      </pc:sldChg>
      <pc:sldChg chg="addSp delSp modSp add mod">
        <pc:chgData name="Aurelien Domont" userId="6da7715ce44349b3" providerId="LiveId" clId="{749C0E2C-AAC6-401A-B449-B354DF3FBE4A}" dt="2021-07-09T07:25:46.990" v="790" actId="20577"/>
        <pc:sldMkLst>
          <pc:docMk/>
          <pc:sldMk cId="1597273171" sldId="2196"/>
        </pc:sldMkLst>
        <pc:spChg chg="add mod">
          <ac:chgData name="Aurelien Domont" userId="6da7715ce44349b3" providerId="LiveId" clId="{749C0E2C-AAC6-401A-B449-B354DF3FBE4A}" dt="2021-07-09T07:25:46.990" v="790" actId="20577"/>
          <ac:spMkLst>
            <pc:docMk/>
            <pc:sldMk cId="1597273171" sldId="2196"/>
            <ac:spMk id="7" creationId="{1E38B12A-61A6-478A-A059-AE822F5D4773}"/>
          </ac:spMkLst>
        </pc:spChg>
        <pc:spChg chg="mod">
          <ac:chgData name="Aurelien Domont" userId="6da7715ce44349b3" providerId="LiveId" clId="{749C0E2C-AAC6-401A-B449-B354DF3FBE4A}" dt="2021-07-09T04:46:36.845" v="210"/>
          <ac:spMkLst>
            <pc:docMk/>
            <pc:sldMk cId="1597273171" sldId="2196"/>
            <ac:spMk id="16" creationId="{6C2BB713-9637-4B9B-938F-E9768876782A}"/>
          </ac:spMkLst>
        </pc:spChg>
        <pc:spChg chg="del">
          <ac:chgData name="Aurelien Domont" userId="6da7715ce44349b3" providerId="LiveId" clId="{749C0E2C-AAC6-401A-B449-B354DF3FBE4A}" dt="2021-07-09T04:46:47.878" v="211" actId="478"/>
          <ac:spMkLst>
            <pc:docMk/>
            <pc:sldMk cId="1597273171" sldId="2196"/>
            <ac:spMk id="22" creationId="{4539A6B0-D837-467A-AF7C-63F2CB65F06B}"/>
          </ac:spMkLst>
        </pc:spChg>
        <pc:graphicFrameChg chg="add mod">
          <ac:chgData name="Aurelien Domont" userId="6da7715ce44349b3" providerId="LiveId" clId="{749C0E2C-AAC6-401A-B449-B354DF3FBE4A}" dt="2021-07-09T04:46:55.810" v="213"/>
          <ac:graphicFrameMkLst>
            <pc:docMk/>
            <pc:sldMk cId="1597273171" sldId="2196"/>
            <ac:graphicFrameMk id="8" creationId="{D0E37087-7389-49E9-AC77-1C709EEEAA6D}"/>
          </ac:graphicFrameMkLst>
        </pc:graphicFrameChg>
        <pc:graphicFrameChg chg="del">
          <ac:chgData name="Aurelien Domont" userId="6da7715ce44349b3" providerId="LiveId" clId="{749C0E2C-AAC6-401A-B449-B354DF3FBE4A}" dt="2021-07-09T04:46:52.333" v="212" actId="478"/>
          <ac:graphicFrameMkLst>
            <pc:docMk/>
            <pc:sldMk cId="1597273171" sldId="2196"/>
            <ac:graphicFrameMk id="21" creationId="{2BF59061-6183-4369-B638-33688F9CF05D}"/>
          </ac:graphicFrameMkLst>
        </pc:graphicFrameChg>
      </pc:sldChg>
      <pc:sldChg chg="modSp add mod">
        <pc:chgData name="Aurelien Domont" userId="6da7715ce44349b3" providerId="LiveId" clId="{749C0E2C-AAC6-401A-B449-B354DF3FBE4A}" dt="2021-07-09T04:58:10.256" v="268" actId="20577"/>
        <pc:sldMkLst>
          <pc:docMk/>
          <pc:sldMk cId="2560255870" sldId="2197"/>
        </pc:sldMkLst>
        <pc:spChg chg="mod">
          <ac:chgData name="Aurelien Domont" userId="6da7715ce44349b3" providerId="LiveId" clId="{749C0E2C-AAC6-401A-B449-B354DF3FBE4A}" dt="2021-07-09T04:58:10.256" v="268" actId="20577"/>
          <ac:spMkLst>
            <pc:docMk/>
            <pc:sldMk cId="2560255870" sldId="2197"/>
            <ac:spMk id="16" creationId="{6C2BB713-9637-4B9B-938F-E9768876782A}"/>
          </ac:spMkLst>
        </pc:spChg>
        <pc:spChg chg="mod">
          <ac:chgData name="Aurelien Domont" userId="6da7715ce44349b3" providerId="LiveId" clId="{749C0E2C-AAC6-401A-B449-B354DF3FBE4A}" dt="2021-07-09T04:51:00.121" v="256"/>
          <ac:spMkLst>
            <pc:docMk/>
            <pc:sldMk cId="2560255870" sldId="2197"/>
            <ac:spMk id="31" creationId="{80DB5C2A-CB4E-438A-8801-EB0869040D7B}"/>
          </ac:spMkLst>
        </pc:spChg>
      </pc:sldChg>
      <pc:sldChg chg="addSp delSp modSp add mod">
        <pc:chgData name="Aurelien Domont" userId="6da7715ce44349b3" providerId="LiveId" clId="{749C0E2C-AAC6-401A-B449-B354DF3FBE4A}" dt="2021-07-09T04:57:33.239" v="261"/>
        <pc:sldMkLst>
          <pc:docMk/>
          <pc:sldMk cId="344576478" sldId="2198"/>
        </pc:sldMkLst>
        <pc:spChg chg="add mod">
          <ac:chgData name="Aurelien Domont" userId="6da7715ce44349b3" providerId="LiveId" clId="{749C0E2C-AAC6-401A-B449-B354DF3FBE4A}" dt="2021-07-09T04:57:33.239" v="261"/>
          <ac:spMkLst>
            <pc:docMk/>
            <pc:sldMk cId="344576478" sldId="2198"/>
            <ac:spMk id="6" creationId="{30028A21-6B64-4F0F-A2C9-A9779A18EEFC}"/>
          </ac:spMkLst>
        </pc:spChg>
        <pc:spChg chg="mod">
          <ac:chgData name="Aurelien Domont" userId="6da7715ce44349b3" providerId="LiveId" clId="{749C0E2C-AAC6-401A-B449-B354DF3FBE4A}" dt="2021-07-09T04:52:43.269" v="259"/>
          <ac:spMkLst>
            <pc:docMk/>
            <pc:sldMk cId="344576478" sldId="2198"/>
            <ac:spMk id="16" creationId="{6C2BB713-9637-4B9B-938F-E9768876782A}"/>
          </ac:spMkLst>
        </pc:spChg>
        <pc:spChg chg="del">
          <ac:chgData name="Aurelien Domont" userId="6da7715ce44349b3" providerId="LiveId" clId="{749C0E2C-AAC6-401A-B449-B354DF3FBE4A}" dt="2021-07-09T04:57:32.837" v="260" actId="478"/>
          <ac:spMkLst>
            <pc:docMk/>
            <pc:sldMk cId="344576478" sldId="2198"/>
            <ac:spMk id="34" creationId="{2B936149-E2A6-4141-A333-C5E1855245B1}"/>
          </ac:spMkLst>
        </pc:spChg>
      </pc:sldChg>
      <pc:sldChg chg="addSp delSp modSp add mod">
        <pc:chgData name="Aurelien Domont" userId="6da7715ce44349b3" providerId="LiveId" clId="{749C0E2C-AAC6-401A-B449-B354DF3FBE4A}" dt="2021-07-09T05:49:26.206" v="722" actId="478"/>
        <pc:sldMkLst>
          <pc:docMk/>
          <pc:sldMk cId="3652554031" sldId="2199"/>
        </pc:sldMkLst>
        <pc:spChg chg="del">
          <ac:chgData name="Aurelien Domont" userId="6da7715ce44349b3" providerId="LiveId" clId="{749C0E2C-AAC6-401A-B449-B354DF3FBE4A}" dt="2021-07-09T05:41:08.290" v="624" actId="478"/>
          <ac:spMkLst>
            <pc:docMk/>
            <pc:sldMk cId="3652554031" sldId="2199"/>
            <ac:spMk id="21" creationId="{75061E4F-FB3F-4F06-9960-64F132A3A8D1}"/>
          </ac:spMkLst>
        </pc:spChg>
        <pc:spChg chg="del">
          <ac:chgData name="Aurelien Domont" userId="6da7715ce44349b3" providerId="LiveId" clId="{749C0E2C-AAC6-401A-B449-B354DF3FBE4A}" dt="2021-07-09T05:41:08.290" v="624" actId="478"/>
          <ac:spMkLst>
            <pc:docMk/>
            <pc:sldMk cId="3652554031" sldId="2199"/>
            <ac:spMk id="22" creationId="{BE5FBC9B-6CEF-4DA9-9F52-9FA051FC5284}"/>
          </ac:spMkLst>
        </pc:spChg>
        <pc:spChg chg="del">
          <ac:chgData name="Aurelien Domont" userId="6da7715ce44349b3" providerId="LiveId" clId="{749C0E2C-AAC6-401A-B449-B354DF3FBE4A}" dt="2021-07-09T05:41:08.290" v="624" actId="478"/>
          <ac:spMkLst>
            <pc:docMk/>
            <pc:sldMk cId="3652554031" sldId="2199"/>
            <ac:spMk id="23" creationId="{F4285113-78D1-43EE-BCA0-447610636AE3}"/>
          </ac:spMkLst>
        </pc:spChg>
        <pc:spChg chg="del">
          <ac:chgData name="Aurelien Domont" userId="6da7715ce44349b3" providerId="LiveId" clId="{749C0E2C-AAC6-401A-B449-B354DF3FBE4A}" dt="2021-07-09T05:41:08.290" v="624" actId="478"/>
          <ac:spMkLst>
            <pc:docMk/>
            <pc:sldMk cId="3652554031" sldId="2199"/>
            <ac:spMk id="24" creationId="{E8D393BA-0F9C-45C6-9A09-6B2652E3655F}"/>
          </ac:spMkLst>
        </pc:spChg>
        <pc:spChg chg="add mod">
          <ac:chgData name="Aurelien Domont" userId="6da7715ce44349b3" providerId="LiveId" clId="{749C0E2C-AAC6-401A-B449-B354DF3FBE4A}" dt="2021-07-09T05:41:52.163" v="638" actId="20577"/>
          <ac:spMkLst>
            <pc:docMk/>
            <pc:sldMk cId="3652554031" sldId="2199"/>
            <ac:spMk id="30" creationId="{4885690A-AC95-47AE-9E4D-54E6CFB8A134}"/>
          </ac:spMkLst>
        </pc:spChg>
        <pc:spChg chg="add mod">
          <ac:chgData name="Aurelien Domont" userId="6da7715ce44349b3" providerId="LiveId" clId="{749C0E2C-AAC6-401A-B449-B354DF3FBE4A}" dt="2021-07-09T05:45:08.663" v="672"/>
          <ac:spMkLst>
            <pc:docMk/>
            <pc:sldMk cId="3652554031" sldId="2199"/>
            <ac:spMk id="31" creationId="{435C94AD-0B68-4832-A843-416A63C68A22}"/>
          </ac:spMkLst>
        </pc:spChg>
        <pc:spChg chg="add mod">
          <ac:chgData name="Aurelien Domont" userId="6da7715ce44349b3" providerId="LiveId" clId="{749C0E2C-AAC6-401A-B449-B354DF3FBE4A}" dt="2021-07-09T05:42:34.609" v="668" actId="20577"/>
          <ac:spMkLst>
            <pc:docMk/>
            <pc:sldMk cId="3652554031" sldId="2199"/>
            <ac:spMk id="32" creationId="{6F942A0B-2108-4F94-A75C-D0472EB4899B}"/>
          </ac:spMkLst>
        </pc:spChg>
        <pc:spChg chg="add mod">
          <ac:chgData name="Aurelien Domont" userId="6da7715ce44349b3" providerId="LiveId" clId="{749C0E2C-AAC6-401A-B449-B354DF3FBE4A}" dt="2021-07-09T05:48:57.878" v="713" actId="20577"/>
          <ac:spMkLst>
            <pc:docMk/>
            <pc:sldMk cId="3652554031" sldId="2199"/>
            <ac:spMk id="33" creationId="{71FCAAB3-5BCA-4205-AB39-3917F35BE863}"/>
          </ac:spMkLst>
        </pc:spChg>
        <pc:picChg chg="add mod ord">
          <ac:chgData name="Aurelien Domont" userId="6da7715ce44349b3" providerId="LiveId" clId="{749C0E2C-AAC6-401A-B449-B354DF3FBE4A}" dt="2021-07-09T05:49:24.687" v="721" actId="167"/>
          <ac:picMkLst>
            <pc:docMk/>
            <pc:sldMk cId="3652554031" sldId="2199"/>
            <ac:picMk id="2" creationId="{A2E60B84-1B13-48B1-81E5-8E296DEEBBE7}"/>
          </ac:picMkLst>
        </pc:picChg>
        <pc:picChg chg="add mod ord">
          <ac:chgData name="Aurelien Domont" userId="6da7715ce44349b3" providerId="LiveId" clId="{749C0E2C-AAC6-401A-B449-B354DF3FBE4A}" dt="2021-07-09T05:49:24.687" v="721" actId="167"/>
          <ac:picMkLst>
            <pc:docMk/>
            <pc:sldMk cId="3652554031" sldId="2199"/>
            <ac:picMk id="3" creationId="{1386EF7C-88B2-48DB-8264-9EB7535FA945}"/>
          </ac:picMkLst>
        </pc:picChg>
        <pc:picChg chg="add mod ord">
          <ac:chgData name="Aurelien Domont" userId="6da7715ce44349b3" providerId="LiveId" clId="{749C0E2C-AAC6-401A-B449-B354DF3FBE4A}" dt="2021-07-09T05:49:24.687" v="721" actId="167"/>
          <ac:picMkLst>
            <pc:docMk/>
            <pc:sldMk cId="3652554031" sldId="2199"/>
            <ac:picMk id="4" creationId="{619E6FAA-89AE-43EE-B559-A7975B679097}"/>
          </ac:picMkLst>
        </pc:picChg>
        <pc:picChg chg="add del mod ord">
          <ac:chgData name="Aurelien Domont" userId="6da7715ce44349b3" providerId="LiveId" clId="{749C0E2C-AAC6-401A-B449-B354DF3FBE4A}" dt="2021-07-09T05:49:26.206" v="722" actId="478"/>
          <ac:picMkLst>
            <pc:docMk/>
            <pc:sldMk cId="3652554031" sldId="2199"/>
            <ac:picMk id="12" creationId="{923336D9-44E9-4F1F-8390-2E1687B864E8}"/>
          </ac:picMkLst>
        </pc:picChg>
        <pc:picChg chg="add mod ord">
          <ac:chgData name="Aurelien Domont" userId="6da7715ce44349b3" providerId="LiveId" clId="{749C0E2C-AAC6-401A-B449-B354DF3FBE4A}" dt="2021-07-09T05:49:24.687" v="721" actId="167"/>
          <ac:picMkLst>
            <pc:docMk/>
            <pc:sldMk cId="3652554031" sldId="2199"/>
            <ac:picMk id="14" creationId="{9EB20BB5-DC1E-404F-AAB3-36A1D4DF94D7}"/>
          </ac:picMkLst>
        </pc:picChg>
        <pc:picChg chg="add del mod">
          <ac:chgData name="Aurelien Domont" userId="6da7715ce44349b3" providerId="LiveId" clId="{749C0E2C-AAC6-401A-B449-B354DF3FBE4A}" dt="2021-07-09T05:47:02.857" v="709" actId="478"/>
          <ac:picMkLst>
            <pc:docMk/>
            <pc:sldMk cId="3652554031" sldId="2199"/>
            <ac:picMk id="18" creationId="{53DB1D7B-D9FC-4015-A470-27FEBC2DE76A}"/>
          </ac:picMkLst>
        </pc:picChg>
        <pc:picChg chg="add del mod">
          <ac:chgData name="Aurelien Domont" userId="6da7715ce44349b3" providerId="LiveId" clId="{749C0E2C-AAC6-401A-B449-B354DF3FBE4A}" dt="2021-07-09T05:47:02.857" v="709" actId="478"/>
          <ac:picMkLst>
            <pc:docMk/>
            <pc:sldMk cId="3652554031" sldId="2199"/>
            <ac:picMk id="19" creationId="{3AAD19FF-A19A-4E76-ADBF-7C2DBD75B20A}"/>
          </ac:picMkLst>
        </pc:picChg>
        <pc:picChg chg="add del mod">
          <ac:chgData name="Aurelien Domont" userId="6da7715ce44349b3" providerId="LiveId" clId="{749C0E2C-AAC6-401A-B449-B354DF3FBE4A}" dt="2021-07-09T05:47:02.857" v="709" actId="478"/>
          <ac:picMkLst>
            <pc:docMk/>
            <pc:sldMk cId="3652554031" sldId="2199"/>
            <ac:picMk id="20" creationId="{C647593F-9FCC-4E10-AC88-B14CC1EB745F}"/>
          </ac:picMkLst>
        </pc:picChg>
        <pc:picChg chg="del">
          <ac:chgData name="Aurelien Domont" userId="6da7715ce44349b3" providerId="LiveId" clId="{749C0E2C-AAC6-401A-B449-B354DF3FBE4A}" dt="2021-07-09T05:41:08.290" v="624" actId="478"/>
          <ac:picMkLst>
            <pc:docMk/>
            <pc:sldMk cId="3652554031" sldId="2199"/>
            <ac:picMk id="25" creationId="{991C0F3F-DC96-4D75-A8E5-1828A799E29D}"/>
          </ac:picMkLst>
        </pc:picChg>
        <pc:picChg chg="del">
          <ac:chgData name="Aurelien Domont" userId="6da7715ce44349b3" providerId="LiveId" clId="{749C0E2C-AAC6-401A-B449-B354DF3FBE4A}" dt="2021-07-09T05:41:08.290" v="624" actId="478"/>
          <ac:picMkLst>
            <pc:docMk/>
            <pc:sldMk cId="3652554031" sldId="2199"/>
            <ac:picMk id="26" creationId="{6AAE44A4-591A-4C94-9FB2-433CDDFA6C03}"/>
          </ac:picMkLst>
        </pc:picChg>
        <pc:picChg chg="del">
          <ac:chgData name="Aurelien Domont" userId="6da7715ce44349b3" providerId="LiveId" clId="{749C0E2C-AAC6-401A-B449-B354DF3FBE4A}" dt="2021-07-09T05:41:08.290" v="624" actId="478"/>
          <ac:picMkLst>
            <pc:docMk/>
            <pc:sldMk cId="3652554031" sldId="2199"/>
            <ac:picMk id="27" creationId="{4C96D69A-8109-4F2B-8848-F0AC20DB52D1}"/>
          </ac:picMkLst>
        </pc:picChg>
        <pc:picChg chg="del">
          <ac:chgData name="Aurelien Domont" userId="6da7715ce44349b3" providerId="LiveId" clId="{749C0E2C-AAC6-401A-B449-B354DF3FBE4A}" dt="2021-07-09T05:41:08.290" v="624" actId="478"/>
          <ac:picMkLst>
            <pc:docMk/>
            <pc:sldMk cId="3652554031" sldId="2199"/>
            <ac:picMk id="28" creationId="{EDB39F5E-6638-42AD-AAA7-9ED4C622426E}"/>
          </ac:picMkLst>
        </pc:picChg>
        <pc:picChg chg="add del mod">
          <ac:chgData name="Aurelien Domont" userId="6da7715ce44349b3" providerId="LiveId" clId="{749C0E2C-AAC6-401A-B449-B354DF3FBE4A}" dt="2021-07-09T05:47:02.857" v="709" actId="478"/>
          <ac:picMkLst>
            <pc:docMk/>
            <pc:sldMk cId="3652554031" sldId="2199"/>
            <ac:picMk id="29" creationId="{7581400D-D73B-430E-BF20-66E78EA9B7AB}"/>
          </ac:picMkLst>
        </pc:picChg>
      </pc:sldChg>
      <pc:sldChg chg="add">
        <pc:chgData name="Aurelien Domont" userId="6da7715ce44349b3" providerId="LiveId" clId="{749C0E2C-AAC6-401A-B449-B354DF3FBE4A}" dt="2021-07-12T01:43:13.816" v="801"/>
        <pc:sldMkLst>
          <pc:docMk/>
          <pc:sldMk cId="2272097788" sldId="2200"/>
        </pc:sldMkLst>
      </pc:sldChg>
      <pc:sldChg chg="addSp delSp modSp add del mod">
        <pc:chgData name="Aurelien Domont" userId="6da7715ce44349b3" providerId="LiveId" clId="{749C0E2C-AAC6-401A-B449-B354DF3FBE4A}" dt="2021-07-13T06:13:35.666" v="820" actId="47"/>
        <pc:sldMkLst>
          <pc:docMk/>
          <pc:sldMk cId="2053330513" sldId="2201"/>
        </pc:sldMkLst>
        <pc:picChg chg="del mod">
          <ac:chgData name="Aurelien Domont" userId="6da7715ce44349b3" providerId="LiveId" clId="{749C0E2C-AAC6-401A-B449-B354DF3FBE4A}" dt="2021-07-13T06:13:30.016" v="817" actId="478"/>
          <ac:picMkLst>
            <pc:docMk/>
            <pc:sldMk cId="2053330513" sldId="2201"/>
            <ac:picMk id="3" creationId="{A54122EC-30D0-4B37-B927-28A8357B1859}"/>
          </ac:picMkLst>
        </pc:picChg>
        <pc:picChg chg="add del mod">
          <ac:chgData name="Aurelien Domont" userId="6da7715ce44349b3" providerId="LiveId" clId="{749C0E2C-AAC6-401A-B449-B354DF3FBE4A}" dt="2021-07-13T06:13:30.494" v="818" actId="478"/>
          <ac:picMkLst>
            <pc:docMk/>
            <pc:sldMk cId="2053330513" sldId="2201"/>
            <ac:picMk id="13" creationId="{C329E6D4-BC63-4876-AC23-771945693AC9}"/>
          </ac:picMkLst>
        </pc:picChg>
      </pc:sldChg>
      <pc:sldChg chg="addSp delSp modSp add mod">
        <pc:chgData name="Aurelien Domont" userId="6da7715ce44349b3" providerId="LiveId" clId="{749C0E2C-AAC6-401A-B449-B354DF3FBE4A}" dt="2021-07-20T00:30:54.078" v="889" actId="1038"/>
        <pc:sldMkLst>
          <pc:docMk/>
          <pc:sldMk cId="2898279160" sldId="2201"/>
        </pc:sldMkLst>
        <pc:spChg chg="del">
          <ac:chgData name="Aurelien Domont" userId="6da7715ce44349b3" providerId="LiveId" clId="{749C0E2C-AAC6-401A-B449-B354DF3FBE4A}" dt="2021-07-20T00:29:47.014" v="841" actId="478"/>
          <ac:spMkLst>
            <pc:docMk/>
            <pc:sldMk cId="2898279160" sldId="2201"/>
            <ac:spMk id="11" creationId="{C945D0E4-EB22-47D2-A223-70BD240B1835}"/>
          </ac:spMkLst>
        </pc:spChg>
        <pc:spChg chg="del">
          <ac:chgData name="Aurelien Domont" userId="6da7715ce44349b3" providerId="LiveId" clId="{749C0E2C-AAC6-401A-B449-B354DF3FBE4A}" dt="2021-07-20T00:29:47.014" v="841" actId="478"/>
          <ac:spMkLst>
            <pc:docMk/>
            <pc:sldMk cId="2898279160" sldId="2201"/>
            <ac:spMk id="12" creationId="{823B4944-65C4-4BB1-9DFE-E40E286EE30D}"/>
          </ac:spMkLst>
        </pc:spChg>
        <pc:spChg chg="del">
          <ac:chgData name="Aurelien Domont" userId="6da7715ce44349b3" providerId="LiveId" clId="{749C0E2C-AAC6-401A-B449-B354DF3FBE4A}" dt="2021-07-20T00:29:47.014" v="841" actId="478"/>
          <ac:spMkLst>
            <pc:docMk/>
            <pc:sldMk cId="2898279160" sldId="2201"/>
            <ac:spMk id="18" creationId="{88429D78-7296-4BC5-B009-22D19FB81666}"/>
          </ac:spMkLst>
        </pc:spChg>
        <pc:spChg chg="del">
          <ac:chgData name="Aurelien Domont" userId="6da7715ce44349b3" providerId="LiveId" clId="{749C0E2C-AAC6-401A-B449-B354DF3FBE4A}" dt="2021-07-20T00:29:47.014" v="841" actId="478"/>
          <ac:spMkLst>
            <pc:docMk/>
            <pc:sldMk cId="2898279160" sldId="2201"/>
            <ac:spMk id="19" creationId="{D1342AC6-4D4C-4458-9891-9AB7B9818B31}"/>
          </ac:spMkLst>
        </pc:spChg>
        <pc:spChg chg="del">
          <ac:chgData name="Aurelien Domont" userId="6da7715ce44349b3" providerId="LiveId" clId="{749C0E2C-AAC6-401A-B449-B354DF3FBE4A}" dt="2021-07-20T00:29:47.014" v="841" actId="478"/>
          <ac:spMkLst>
            <pc:docMk/>
            <pc:sldMk cId="2898279160" sldId="2201"/>
            <ac:spMk id="20" creationId="{0C424759-6A53-4EB2-8AFA-918C5FBE1D15}"/>
          </ac:spMkLst>
        </pc:spChg>
        <pc:spChg chg="del">
          <ac:chgData name="Aurelien Domont" userId="6da7715ce44349b3" providerId="LiveId" clId="{749C0E2C-AAC6-401A-B449-B354DF3FBE4A}" dt="2021-07-20T00:29:47.014" v="841" actId="478"/>
          <ac:spMkLst>
            <pc:docMk/>
            <pc:sldMk cId="2898279160" sldId="2201"/>
            <ac:spMk id="22" creationId="{2F78B30E-DA97-4E69-8F7E-6B67C7C7ACEC}"/>
          </ac:spMkLst>
        </pc:spChg>
        <pc:spChg chg="del">
          <ac:chgData name="Aurelien Domont" userId="6da7715ce44349b3" providerId="LiveId" clId="{749C0E2C-AAC6-401A-B449-B354DF3FBE4A}" dt="2021-07-20T00:29:47.014" v="841" actId="478"/>
          <ac:spMkLst>
            <pc:docMk/>
            <pc:sldMk cId="2898279160" sldId="2201"/>
            <ac:spMk id="23" creationId="{1EA029EC-6818-49F2-B572-01B2F5F20DEB}"/>
          </ac:spMkLst>
        </pc:spChg>
        <pc:spChg chg="del">
          <ac:chgData name="Aurelien Domont" userId="6da7715ce44349b3" providerId="LiveId" clId="{749C0E2C-AAC6-401A-B449-B354DF3FBE4A}" dt="2021-07-20T00:29:49.303" v="842" actId="478"/>
          <ac:spMkLst>
            <pc:docMk/>
            <pc:sldMk cId="2898279160" sldId="2201"/>
            <ac:spMk id="24" creationId="{C5DC413F-6B65-4481-B60E-C6DBB128152C}"/>
          </ac:spMkLst>
        </pc:spChg>
        <pc:spChg chg="add mod">
          <ac:chgData name="Aurelien Domont" userId="6da7715ce44349b3" providerId="LiveId" clId="{749C0E2C-AAC6-401A-B449-B354DF3FBE4A}" dt="2021-07-20T00:29:57.458" v="844"/>
          <ac:spMkLst>
            <pc:docMk/>
            <pc:sldMk cId="2898279160" sldId="2201"/>
            <ac:spMk id="27" creationId="{481A93AA-6912-44D2-8933-03C8E707465B}"/>
          </ac:spMkLst>
        </pc:spChg>
        <pc:spChg chg="del">
          <ac:chgData name="Aurelien Domont" userId="6da7715ce44349b3" providerId="LiveId" clId="{749C0E2C-AAC6-401A-B449-B354DF3FBE4A}" dt="2021-07-20T00:29:47.014" v="841" actId="478"/>
          <ac:spMkLst>
            <pc:docMk/>
            <pc:sldMk cId="2898279160" sldId="2201"/>
            <ac:spMk id="29" creationId="{29DBF3F6-943A-4401-86EA-08968460D530}"/>
          </ac:spMkLst>
        </pc:spChg>
        <pc:spChg chg="del">
          <ac:chgData name="Aurelien Domont" userId="6da7715ce44349b3" providerId="LiveId" clId="{749C0E2C-AAC6-401A-B449-B354DF3FBE4A}" dt="2021-07-20T00:29:47.014" v="841" actId="478"/>
          <ac:spMkLst>
            <pc:docMk/>
            <pc:sldMk cId="2898279160" sldId="2201"/>
            <ac:spMk id="30" creationId="{C38C2946-25FF-4699-86AA-50F5DEBCFD04}"/>
          </ac:spMkLst>
        </pc:spChg>
        <pc:spChg chg="add mod">
          <ac:chgData name="Aurelien Domont" userId="6da7715ce44349b3" providerId="LiveId" clId="{749C0E2C-AAC6-401A-B449-B354DF3FBE4A}" dt="2021-07-20T00:29:57.458" v="844"/>
          <ac:spMkLst>
            <pc:docMk/>
            <pc:sldMk cId="2898279160" sldId="2201"/>
            <ac:spMk id="34" creationId="{763F0989-F7AF-4EBC-82B0-0599FF3B4692}"/>
          </ac:spMkLst>
        </pc:spChg>
        <pc:spChg chg="add mod">
          <ac:chgData name="Aurelien Domont" userId="6da7715ce44349b3" providerId="LiveId" clId="{749C0E2C-AAC6-401A-B449-B354DF3FBE4A}" dt="2021-07-20T00:29:57.458" v="844"/>
          <ac:spMkLst>
            <pc:docMk/>
            <pc:sldMk cId="2898279160" sldId="2201"/>
            <ac:spMk id="35" creationId="{145936D9-AFA9-40BE-91B5-E821AE027CA9}"/>
          </ac:spMkLst>
        </pc:spChg>
        <pc:spChg chg="add mod">
          <ac:chgData name="Aurelien Domont" userId="6da7715ce44349b3" providerId="LiveId" clId="{749C0E2C-AAC6-401A-B449-B354DF3FBE4A}" dt="2021-07-20T00:29:57.458" v="844"/>
          <ac:spMkLst>
            <pc:docMk/>
            <pc:sldMk cId="2898279160" sldId="2201"/>
            <ac:spMk id="36" creationId="{70C839B0-C536-43C1-9BFF-0733B7331D34}"/>
          </ac:spMkLst>
        </pc:spChg>
        <pc:spChg chg="del">
          <ac:chgData name="Aurelien Domont" userId="6da7715ce44349b3" providerId="LiveId" clId="{749C0E2C-AAC6-401A-B449-B354DF3FBE4A}" dt="2021-07-20T00:29:47.014" v="841" actId="478"/>
          <ac:spMkLst>
            <pc:docMk/>
            <pc:sldMk cId="2898279160" sldId="2201"/>
            <ac:spMk id="37" creationId="{E090C855-9260-479C-B65C-3952652E8DF4}"/>
          </ac:spMkLst>
        </pc:spChg>
        <pc:spChg chg="add mod">
          <ac:chgData name="Aurelien Domont" userId="6da7715ce44349b3" providerId="LiveId" clId="{749C0E2C-AAC6-401A-B449-B354DF3FBE4A}" dt="2021-07-20T00:29:57.458" v="844"/>
          <ac:spMkLst>
            <pc:docMk/>
            <pc:sldMk cId="2898279160" sldId="2201"/>
            <ac:spMk id="38" creationId="{2A7C9549-821E-4825-913D-E3B561DFA330}"/>
          </ac:spMkLst>
        </pc:spChg>
        <pc:spChg chg="add mod">
          <ac:chgData name="Aurelien Domont" userId="6da7715ce44349b3" providerId="LiveId" clId="{749C0E2C-AAC6-401A-B449-B354DF3FBE4A}" dt="2021-07-20T00:30:54.078" v="889" actId="1038"/>
          <ac:spMkLst>
            <pc:docMk/>
            <pc:sldMk cId="2898279160" sldId="2201"/>
            <ac:spMk id="39" creationId="{B539FB04-CFCB-49E2-9396-38B80AAC28CD}"/>
          </ac:spMkLst>
        </pc:spChg>
        <pc:spChg chg="add mod">
          <ac:chgData name="Aurelien Domont" userId="6da7715ce44349b3" providerId="LiveId" clId="{749C0E2C-AAC6-401A-B449-B354DF3FBE4A}" dt="2021-07-20T00:30:30.787" v="857"/>
          <ac:spMkLst>
            <pc:docMk/>
            <pc:sldMk cId="2898279160" sldId="2201"/>
            <ac:spMk id="40" creationId="{90AE1DD6-F4FC-4F7B-8342-42FFA1DF8DEA}"/>
          </ac:spMkLst>
        </pc:spChg>
        <pc:spChg chg="add mod">
          <ac:chgData name="Aurelien Domont" userId="6da7715ce44349b3" providerId="LiveId" clId="{749C0E2C-AAC6-401A-B449-B354DF3FBE4A}" dt="2021-07-20T00:30:34.433" v="858"/>
          <ac:spMkLst>
            <pc:docMk/>
            <pc:sldMk cId="2898279160" sldId="2201"/>
            <ac:spMk id="41" creationId="{30A41704-DA06-479C-927C-EDB16801B547}"/>
          </ac:spMkLst>
        </pc:spChg>
        <pc:spChg chg="add mod">
          <ac:chgData name="Aurelien Domont" userId="6da7715ce44349b3" providerId="LiveId" clId="{749C0E2C-AAC6-401A-B449-B354DF3FBE4A}" dt="2021-07-20T00:30:49.068" v="873" actId="1038"/>
          <ac:spMkLst>
            <pc:docMk/>
            <pc:sldMk cId="2898279160" sldId="2201"/>
            <ac:spMk id="42" creationId="{B21000DC-B2FB-470E-9068-E6B748610945}"/>
          </ac:spMkLst>
        </pc:spChg>
        <pc:spChg chg="add mod">
          <ac:chgData name="Aurelien Domont" userId="6da7715ce44349b3" providerId="LiveId" clId="{749C0E2C-AAC6-401A-B449-B354DF3FBE4A}" dt="2021-07-20T00:30:11.597" v="851" actId="20577"/>
          <ac:spMkLst>
            <pc:docMk/>
            <pc:sldMk cId="2898279160" sldId="2201"/>
            <ac:spMk id="45" creationId="{12A41FCA-692F-4E02-97B5-A0FE9EA380BD}"/>
          </ac:spMkLst>
        </pc:spChg>
        <pc:spChg chg="add mod">
          <ac:chgData name="Aurelien Domont" userId="6da7715ce44349b3" providerId="LiveId" clId="{749C0E2C-AAC6-401A-B449-B354DF3FBE4A}" dt="2021-07-20T00:30:15.009" v="854" actId="20577"/>
          <ac:spMkLst>
            <pc:docMk/>
            <pc:sldMk cId="2898279160" sldId="2201"/>
            <ac:spMk id="46" creationId="{9FAD8079-6DE4-489C-8769-F10C8FA9ADE9}"/>
          </ac:spMkLst>
        </pc:spChg>
        <pc:spChg chg="add mod">
          <ac:chgData name="Aurelien Domont" userId="6da7715ce44349b3" providerId="LiveId" clId="{749C0E2C-AAC6-401A-B449-B354DF3FBE4A}" dt="2021-07-20T00:29:57.458" v="844"/>
          <ac:spMkLst>
            <pc:docMk/>
            <pc:sldMk cId="2898279160" sldId="2201"/>
            <ac:spMk id="47" creationId="{C1702A2F-818A-43B9-BF2B-13E260103E80}"/>
          </ac:spMkLst>
        </pc:spChg>
        <pc:spChg chg="add mod">
          <ac:chgData name="Aurelien Domont" userId="6da7715ce44349b3" providerId="LiveId" clId="{749C0E2C-AAC6-401A-B449-B354DF3FBE4A}" dt="2021-07-20T00:29:57.458" v="844"/>
          <ac:spMkLst>
            <pc:docMk/>
            <pc:sldMk cId="2898279160" sldId="2201"/>
            <ac:spMk id="48" creationId="{28CABB1C-3934-4229-8B74-BF89C2F3A0F0}"/>
          </ac:spMkLst>
        </pc:spChg>
        <pc:spChg chg="add mod">
          <ac:chgData name="Aurelien Domont" userId="6da7715ce44349b3" providerId="LiveId" clId="{749C0E2C-AAC6-401A-B449-B354DF3FBE4A}" dt="2021-07-20T00:29:57.458" v="844"/>
          <ac:spMkLst>
            <pc:docMk/>
            <pc:sldMk cId="2898279160" sldId="2201"/>
            <ac:spMk id="49" creationId="{3592E183-7674-4B77-88A8-710984F03958}"/>
          </ac:spMkLst>
        </pc:spChg>
        <pc:spChg chg="add mod">
          <ac:chgData name="Aurelien Domont" userId="6da7715ce44349b3" providerId="LiveId" clId="{749C0E2C-AAC6-401A-B449-B354DF3FBE4A}" dt="2021-07-20T00:29:57.458" v="844"/>
          <ac:spMkLst>
            <pc:docMk/>
            <pc:sldMk cId="2898279160" sldId="2201"/>
            <ac:spMk id="50" creationId="{AAF7545F-35EB-4F2D-8550-754052B9F5B6}"/>
          </ac:spMkLst>
        </pc:spChg>
        <pc:spChg chg="del">
          <ac:chgData name="Aurelien Domont" userId="6da7715ce44349b3" providerId="LiveId" clId="{749C0E2C-AAC6-401A-B449-B354DF3FBE4A}" dt="2021-07-20T00:29:47.014" v="841" actId="478"/>
          <ac:spMkLst>
            <pc:docMk/>
            <pc:sldMk cId="2898279160" sldId="2201"/>
            <ac:spMk id="51" creationId="{89C21646-4673-48FC-8467-4C1C08EEAC56}"/>
          </ac:spMkLst>
        </pc:spChg>
        <pc:spChg chg="add mod">
          <ac:chgData name="Aurelien Domont" userId="6da7715ce44349b3" providerId="LiveId" clId="{749C0E2C-AAC6-401A-B449-B354DF3FBE4A}" dt="2021-07-20T00:29:57.458" v="844"/>
          <ac:spMkLst>
            <pc:docMk/>
            <pc:sldMk cId="2898279160" sldId="2201"/>
            <ac:spMk id="52" creationId="{1C1D2633-764E-4F7D-AF5A-0CE9540FFBC0}"/>
          </ac:spMkLst>
        </pc:spChg>
        <pc:spChg chg="add mod">
          <ac:chgData name="Aurelien Domont" userId="6da7715ce44349b3" providerId="LiveId" clId="{749C0E2C-AAC6-401A-B449-B354DF3FBE4A}" dt="2021-07-20T00:29:57.458" v="844"/>
          <ac:spMkLst>
            <pc:docMk/>
            <pc:sldMk cId="2898279160" sldId="2201"/>
            <ac:spMk id="53" creationId="{82F3DC07-973F-4D10-9A9F-C778B8A46B34}"/>
          </ac:spMkLst>
        </pc:spChg>
        <pc:spChg chg="del">
          <ac:chgData name="Aurelien Domont" userId="6da7715ce44349b3" providerId="LiveId" clId="{749C0E2C-AAC6-401A-B449-B354DF3FBE4A}" dt="2021-07-20T00:29:47.014" v="841" actId="478"/>
          <ac:spMkLst>
            <pc:docMk/>
            <pc:sldMk cId="2898279160" sldId="2201"/>
            <ac:spMk id="54" creationId="{207750B2-0729-4BB5-BFF3-873815BFFE7B}"/>
          </ac:spMkLst>
        </pc:spChg>
        <pc:spChg chg="del">
          <ac:chgData name="Aurelien Domont" userId="6da7715ce44349b3" providerId="LiveId" clId="{749C0E2C-AAC6-401A-B449-B354DF3FBE4A}" dt="2021-07-20T00:29:47.014" v="841" actId="478"/>
          <ac:spMkLst>
            <pc:docMk/>
            <pc:sldMk cId="2898279160" sldId="2201"/>
            <ac:spMk id="55" creationId="{D510DCA3-5B46-483C-A161-635432637180}"/>
          </ac:spMkLst>
        </pc:spChg>
        <pc:spChg chg="del">
          <ac:chgData name="Aurelien Domont" userId="6da7715ce44349b3" providerId="LiveId" clId="{749C0E2C-AAC6-401A-B449-B354DF3FBE4A}" dt="2021-07-20T00:29:47.014" v="841" actId="478"/>
          <ac:spMkLst>
            <pc:docMk/>
            <pc:sldMk cId="2898279160" sldId="2201"/>
            <ac:spMk id="56" creationId="{149F8417-C82B-4D73-84CD-1D791D410559}"/>
          </ac:spMkLst>
        </pc:spChg>
        <pc:spChg chg="del">
          <ac:chgData name="Aurelien Domont" userId="6da7715ce44349b3" providerId="LiveId" clId="{749C0E2C-AAC6-401A-B449-B354DF3FBE4A}" dt="2021-07-20T00:29:50.888" v="843" actId="478"/>
          <ac:spMkLst>
            <pc:docMk/>
            <pc:sldMk cId="2898279160" sldId="2201"/>
            <ac:spMk id="57" creationId="{6881C0D3-7F7F-4F87-A07A-1B0585F319D1}"/>
          </ac:spMkLst>
        </pc:spChg>
        <pc:spChg chg="add del mod">
          <ac:chgData name="Aurelien Domont" userId="6da7715ce44349b3" providerId="LiveId" clId="{749C0E2C-AAC6-401A-B449-B354DF3FBE4A}" dt="2021-07-20T00:30:40.479" v="860" actId="478"/>
          <ac:spMkLst>
            <pc:docMk/>
            <pc:sldMk cId="2898279160" sldId="2201"/>
            <ac:spMk id="59" creationId="{25F7839E-D34A-4018-A042-0358B4BCF3AA}"/>
          </ac:spMkLst>
        </pc:spChg>
        <pc:spChg chg="add del mod">
          <ac:chgData name="Aurelien Domont" userId="6da7715ce44349b3" providerId="LiveId" clId="{749C0E2C-AAC6-401A-B449-B354DF3FBE4A}" dt="2021-07-20T00:30:40.479" v="860" actId="478"/>
          <ac:spMkLst>
            <pc:docMk/>
            <pc:sldMk cId="2898279160" sldId="2201"/>
            <ac:spMk id="60" creationId="{1EE2FC9B-F13D-4C0E-A56C-1F58F2991D4C}"/>
          </ac:spMkLst>
        </pc:spChg>
        <pc:spChg chg="add del mod">
          <ac:chgData name="Aurelien Domont" userId="6da7715ce44349b3" providerId="LiveId" clId="{749C0E2C-AAC6-401A-B449-B354DF3FBE4A}" dt="2021-07-20T00:30:40.479" v="860" actId="478"/>
          <ac:spMkLst>
            <pc:docMk/>
            <pc:sldMk cId="2898279160" sldId="2201"/>
            <ac:spMk id="61" creationId="{43EFA9DA-246A-490E-B9A4-CC73EB1C2A5C}"/>
          </ac:spMkLst>
        </pc:spChg>
        <pc:picChg chg="del">
          <ac:chgData name="Aurelien Domont" userId="6da7715ce44349b3" providerId="LiveId" clId="{749C0E2C-AAC6-401A-B449-B354DF3FBE4A}" dt="2021-07-20T00:29:47.014" v="841" actId="478"/>
          <ac:picMkLst>
            <pc:docMk/>
            <pc:sldMk cId="2898279160" sldId="2201"/>
            <ac:picMk id="3" creationId="{71758693-EE1D-4F29-A184-12C0424C4705}"/>
          </ac:picMkLst>
        </pc:picChg>
        <pc:picChg chg="del">
          <ac:chgData name="Aurelien Domont" userId="6da7715ce44349b3" providerId="LiveId" clId="{749C0E2C-AAC6-401A-B449-B354DF3FBE4A}" dt="2021-07-20T00:29:47.014" v="841" actId="478"/>
          <ac:picMkLst>
            <pc:docMk/>
            <pc:sldMk cId="2898279160" sldId="2201"/>
            <ac:picMk id="14" creationId="{74CA0334-E7F2-4E00-8F48-A0C54D7E9AC0}"/>
          </ac:picMkLst>
        </pc:picChg>
        <pc:picChg chg="del">
          <ac:chgData name="Aurelien Domont" userId="6da7715ce44349b3" providerId="LiveId" clId="{749C0E2C-AAC6-401A-B449-B354DF3FBE4A}" dt="2021-07-20T00:29:47.014" v="841" actId="478"/>
          <ac:picMkLst>
            <pc:docMk/>
            <pc:sldMk cId="2898279160" sldId="2201"/>
            <ac:picMk id="15" creationId="{70E9EE01-614F-4CDA-95D1-0894D8A6384F}"/>
          </ac:picMkLst>
        </pc:picChg>
        <pc:picChg chg="del">
          <ac:chgData name="Aurelien Domont" userId="6da7715ce44349b3" providerId="LiveId" clId="{749C0E2C-AAC6-401A-B449-B354DF3FBE4A}" dt="2021-07-20T00:29:47.014" v="841" actId="478"/>
          <ac:picMkLst>
            <pc:docMk/>
            <pc:sldMk cId="2898279160" sldId="2201"/>
            <ac:picMk id="17" creationId="{2D239190-B59B-474E-8796-CC98D3CA8AC1}"/>
          </ac:picMkLst>
        </pc:picChg>
        <pc:picChg chg="add mod">
          <ac:chgData name="Aurelien Domont" userId="6da7715ce44349b3" providerId="LiveId" clId="{749C0E2C-AAC6-401A-B449-B354DF3FBE4A}" dt="2021-07-20T00:29:57.458" v="844"/>
          <ac:picMkLst>
            <pc:docMk/>
            <pc:sldMk cId="2898279160" sldId="2201"/>
            <ac:picMk id="28" creationId="{91006F78-625A-407B-9084-C2520D20AE00}"/>
          </ac:picMkLst>
        </pc:picChg>
        <pc:picChg chg="add mod">
          <ac:chgData name="Aurelien Domont" userId="6da7715ce44349b3" providerId="LiveId" clId="{749C0E2C-AAC6-401A-B449-B354DF3FBE4A}" dt="2021-07-20T00:29:57.458" v="844"/>
          <ac:picMkLst>
            <pc:docMk/>
            <pc:sldMk cId="2898279160" sldId="2201"/>
            <ac:picMk id="31" creationId="{0347BB5B-1AFD-40D9-B77E-FBD7FD10541D}"/>
          </ac:picMkLst>
        </pc:picChg>
        <pc:picChg chg="add mod">
          <ac:chgData name="Aurelien Domont" userId="6da7715ce44349b3" providerId="LiveId" clId="{749C0E2C-AAC6-401A-B449-B354DF3FBE4A}" dt="2021-07-20T00:29:57.458" v="844"/>
          <ac:picMkLst>
            <pc:docMk/>
            <pc:sldMk cId="2898279160" sldId="2201"/>
            <ac:picMk id="32" creationId="{3BDFC8ED-88C2-482D-827D-B842543532CF}"/>
          </ac:picMkLst>
        </pc:picChg>
        <pc:picChg chg="add mod">
          <ac:chgData name="Aurelien Domont" userId="6da7715ce44349b3" providerId="LiveId" clId="{749C0E2C-AAC6-401A-B449-B354DF3FBE4A}" dt="2021-07-20T00:29:57.458" v="844"/>
          <ac:picMkLst>
            <pc:docMk/>
            <pc:sldMk cId="2898279160" sldId="2201"/>
            <ac:picMk id="33" creationId="{C00CF8F1-A35A-4C71-B8BF-B1AE86C3DA01}"/>
          </ac:picMkLst>
        </pc:picChg>
        <pc:picChg chg="add mod">
          <ac:chgData name="Aurelien Domont" userId="6da7715ce44349b3" providerId="LiveId" clId="{749C0E2C-AAC6-401A-B449-B354DF3FBE4A}" dt="2021-07-20T00:29:57.458" v="844"/>
          <ac:picMkLst>
            <pc:docMk/>
            <pc:sldMk cId="2898279160" sldId="2201"/>
            <ac:picMk id="43" creationId="{FB5D95BA-E749-41ED-A492-3DB0CAE60A8B}"/>
          </ac:picMkLst>
        </pc:picChg>
        <pc:picChg chg="add mod">
          <ac:chgData name="Aurelien Domont" userId="6da7715ce44349b3" providerId="LiveId" clId="{749C0E2C-AAC6-401A-B449-B354DF3FBE4A}" dt="2021-07-20T00:29:57.458" v="844"/>
          <ac:picMkLst>
            <pc:docMk/>
            <pc:sldMk cId="2898279160" sldId="2201"/>
            <ac:picMk id="44" creationId="{7576FB97-0B10-4575-A519-4D676AC9920B}"/>
          </ac:picMkLst>
        </pc:picChg>
        <pc:picChg chg="add mod">
          <ac:chgData name="Aurelien Domont" userId="6da7715ce44349b3" providerId="LiveId" clId="{749C0E2C-AAC6-401A-B449-B354DF3FBE4A}" dt="2021-07-20T00:29:57.458" v="844"/>
          <ac:picMkLst>
            <pc:docMk/>
            <pc:sldMk cId="2898279160" sldId="2201"/>
            <ac:picMk id="58" creationId="{6DB55016-8953-4DDB-8A9E-4E140525A0EE}"/>
          </ac:picMkLst>
        </pc:picChg>
        <pc:picChg chg="del">
          <ac:chgData name="Aurelien Domont" userId="6da7715ce44349b3" providerId="LiveId" clId="{749C0E2C-AAC6-401A-B449-B354DF3FBE4A}" dt="2021-07-20T00:29:47.014" v="841" actId="478"/>
          <ac:picMkLst>
            <pc:docMk/>
            <pc:sldMk cId="2898279160" sldId="2201"/>
            <ac:picMk id="3074" creationId="{0AC0D32F-D87D-4B83-8BFC-E6D05DAEC117}"/>
          </ac:picMkLst>
        </pc:picChg>
        <pc:picChg chg="del">
          <ac:chgData name="Aurelien Domont" userId="6da7715ce44349b3" providerId="LiveId" clId="{749C0E2C-AAC6-401A-B449-B354DF3FBE4A}" dt="2021-07-20T00:29:47.014" v="841" actId="478"/>
          <ac:picMkLst>
            <pc:docMk/>
            <pc:sldMk cId="2898279160" sldId="2201"/>
            <ac:picMk id="3078" creationId="{C3956BAD-05A7-4E7C-B3FC-6E893538FA78}"/>
          </ac:picMkLst>
        </pc:picChg>
      </pc:sldChg>
    </pc:docChg>
  </pc:docChgLst>
  <pc:docChgLst>
    <pc:chgData name="Aurelien Domont" userId="6da7715ce44349b3" providerId="LiveId" clId="{4B4C3012-157D-4E70-9450-C4952F9A74AA}"/>
    <pc:docChg chg="undo custSel addSld delSld modSld">
      <pc:chgData name="Aurelien Domont" userId="6da7715ce44349b3" providerId="LiveId" clId="{4B4C3012-157D-4E70-9450-C4952F9A74AA}" dt="2021-07-09T03:54:44.127" v="526" actId="47"/>
      <pc:docMkLst>
        <pc:docMk/>
      </pc:docMkLst>
      <pc:sldChg chg="modSp">
        <pc:chgData name="Aurelien Domont" userId="6da7715ce44349b3" providerId="LiveId" clId="{4B4C3012-157D-4E70-9450-C4952F9A74AA}" dt="2021-07-09T03:29:03.401" v="49"/>
        <pc:sldMkLst>
          <pc:docMk/>
          <pc:sldMk cId="3272444503" sldId="2162"/>
        </pc:sldMkLst>
        <pc:spChg chg="mod">
          <ac:chgData name="Aurelien Domont" userId="6da7715ce44349b3" providerId="LiveId" clId="{4B4C3012-157D-4E70-9450-C4952F9A74AA}" dt="2021-07-09T03:29:03.401" v="49"/>
          <ac:spMkLst>
            <pc:docMk/>
            <pc:sldMk cId="3272444503" sldId="2162"/>
            <ac:spMk id="34" creationId="{2B936149-E2A6-4141-A333-C5E1855245B1}"/>
          </ac:spMkLst>
        </pc:spChg>
      </pc:sldChg>
      <pc:sldChg chg="modSp">
        <pc:chgData name="Aurelien Domont" userId="6da7715ce44349b3" providerId="LiveId" clId="{4B4C3012-157D-4E70-9450-C4952F9A74AA}" dt="2021-07-09T03:29:03.401" v="49"/>
        <pc:sldMkLst>
          <pc:docMk/>
          <pc:sldMk cId="3193088531" sldId="2164"/>
        </pc:sldMkLst>
        <pc:spChg chg="mod">
          <ac:chgData name="Aurelien Domont" userId="6da7715ce44349b3" providerId="LiveId" clId="{4B4C3012-157D-4E70-9450-C4952F9A74AA}" dt="2021-07-09T03:29:03.401" v="49"/>
          <ac:spMkLst>
            <pc:docMk/>
            <pc:sldMk cId="3193088531" sldId="2164"/>
            <ac:spMk id="10" creationId="{F6F130AE-016B-49E7-B056-02422308B35C}"/>
          </ac:spMkLst>
        </pc:spChg>
      </pc:sldChg>
      <pc:sldChg chg="modSp mod">
        <pc:chgData name="Aurelien Domont" userId="6da7715ce44349b3" providerId="LiveId" clId="{4B4C3012-157D-4E70-9450-C4952F9A74AA}" dt="2021-07-09T03:47:15.923" v="237" actId="313"/>
        <pc:sldMkLst>
          <pc:docMk/>
          <pc:sldMk cId="2369505737" sldId="2167"/>
        </pc:sldMkLst>
        <pc:spChg chg="mod">
          <ac:chgData name="Aurelien Domont" userId="6da7715ce44349b3" providerId="LiveId" clId="{4B4C3012-157D-4E70-9450-C4952F9A74AA}" dt="2021-07-09T03:28:26.059" v="48" actId="6549"/>
          <ac:spMkLst>
            <pc:docMk/>
            <pc:sldMk cId="2369505737" sldId="2167"/>
            <ac:spMk id="10" creationId="{B4598AEF-78F8-475E-AC7D-E8372096BAB2}"/>
          </ac:spMkLst>
        </pc:spChg>
        <pc:spChg chg="mod">
          <ac:chgData name="Aurelien Domont" userId="6da7715ce44349b3" providerId="LiveId" clId="{4B4C3012-157D-4E70-9450-C4952F9A74AA}" dt="2021-07-09T03:47:15.923" v="237" actId="313"/>
          <ac:spMkLst>
            <pc:docMk/>
            <pc:sldMk cId="2369505737" sldId="2167"/>
            <ac:spMk id="16" creationId="{6C2BB713-9637-4B9B-938F-E9768876782A}"/>
          </ac:spMkLst>
        </pc:spChg>
      </pc:sldChg>
      <pc:sldChg chg="addSp delSp modSp mod">
        <pc:chgData name="Aurelien Domont" userId="6da7715ce44349b3" providerId="LiveId" clId="{4B4C3012-157D-4E70-9450-C4952F9A74AA}" dt="2021-07-09T03:50:34.074" v="291" actId="14100"/>
        <pc:sldMkLst>
          <pc:docMk/>
          <pc:sldMk cId="4178836903" sldId="2169"/>
        </pc:sldMkLst>
        <pc:spChg chg="add mod">
          <ac:chgData name="Aurelien Domont" userId="6da7715ce44349b3" providerId="LiveId" clId="{4B4C3012-157D-4E70-9450-C4952F9A74AA}" dt="2021-07-09T03:50:28.143" v="290" actId="14100"/>
          <ac:spMkLst>
            <pc:docMk/>
            <pc:sldMk cId="4178836903" sldId="2169"/>
            <ac:spMk id="12" creationId="{E7675798-47BC-4250-BA24-0E2AC4A10A86}"/>
          </ac:spMkLst>
        </pc:spChg>
        <pc:spChg chg="add mod">
          <ac:chgData name="Aurelien Domont" userId="6da7715ce44349b3" providerId="LiveId" clId="{4B4C3012-157D-4E70-9450-C4952F9A74AA}" dt="2021-07-09T03:50:34.074" v="291" actId="14100"/>
          <ac:spMkLst>
            <pc:docMk/>
            <pc:sldMk cId="4178836903" sldId="2169"/>
            <ac:spMk id="15" creationId="{9D051C05-62A5-4FB5-846C-31987D33AA9E}"/>
          </ac:spMkLst>
        </pc:spChg>
        <pc:spChg chg="add mod">
          <ac:chgData name="Aurelien Domont" userId="6da7715ce44349b3" providerId="LiveId" clId="{4B4C3012-157D-4E70-9450-C4952F9A74AA}" dt="2021-07-09T03:50:34.074" v="291" actId="14100"/>
          <ac:spMkLst>
            <pc:docMk/>
            <pc:sldMk cId="4178836903" sldId="2169"/>
            <ac:spMk id="17" creationId="{142BE8BF-9256-475D-900B-55FCC0CE6DB5}"/>
          </ac:spMkLst>
        </pc:spChg>
        <pc:spChg chg="add del mod">
          <ac:chgData name="Aurelien Domont" userId="6da7715ce44349b3" providerId="LiveId" clId="{4B4C3012-157D-4E70-9450-C4952F9A74AA}" dt="2021-07-09T03:46:05.495" v="223" actId="478"/>
          <ac:spMkLst>
            <pc:docMk/>
            <pc:sldMk cId="4178836903" sldId="2169"/>
            <ac:spMk id="18" creationId="{E12AE6E6-31E1-4A14-87D6-554577C39F2D}"/>
          </ac:spMkLst>
        </pc:spChg>
        <pc:spChg chg="add mod">
          <ac:chgData name="Aurelien Domont" userId="6da7715ce44349b3" providerId="LiveId" clId="{4B4C3012-157D-4E70-9450-C4952F9A74AA}" dt="2021-07-09T03:50:34.074" v="291" actId="14100"/>
          <ac:spMkLst>
            <pc:docMk/>
            <pc:sldMk cId="4178836903" sldId="2169"/>
            <ac:spMk id="19" creationId="{B9017FA6-F0E0-4269-9C6B-53FA5BEF3E64}"/>
          </ac:spMkLst>
        </pc:spChg>
        <pc:picChg chg="mod">
          <ac:chgData name="Aurelien Domont" userId="6da7715ce44349b3" providerId="LiveId" clId="{4B4C3012-157D-4E70-9450-C4952F9A74AA}" dt="2021-07-09T03:43:30.991" v="113" actId="14100"/>
          <ac:picMkLst>
            <pc:docMk/>
            <pc:sldMk cId="4178836903" sldId="2169"/>
            <ac:picMk id="2" creationId="{84E5CC93-D5AA-458E-BB87-714F1E53178E}"/>
          </ac:picMkLst>
        </pc:picChg>
        <pc:picChg chg="mod">
          <ac:chgData name="Aurelien Domont" userId="6da7715ce44349b3" providerId="LiveId" clId="{4B4C3012-157D-4E70-9450-C4952F9A74AA}" dt="2021-07-09T03:43:30.991" v="113" actId="14100"/>
          <ac:picMkLst>
            <pc:docMk/>
            <pc:sldMk cId="4178836903" sldId="2169"/>
            <ac:picMk id="3" creationId="{097ECFA8-B152-4816-9DCE-7FB11FD32803}"/>
          </ac:picMkLst>
        </pc:picChg>
        <pc:picChg chg="mod">
          <ac:chgData name="Aurelien Domont" userId="6da7715ce44349b3" providerId="LiveId" clId="{4B4C3012-157D-4E70-9450-C4952F9A74AA}" dt="2021-07-09T03:43:38.206" v="123" actId="1036"/>
          <ac:picMkLst>
            <pc:docMk/>
            <pc:sldMk cId="4178836903" sldId="2169"/>
            <ac:picMk id="4" creationId="{71090539-4853-42C0-8BB5-619FDF372F84}"/>
          </ac:picMkLst>
        </pc:picChg>
        <pc:picChg chg="mod">
          <ac:chgData name="Aurelien Domont" userId="6da7715ce44349b3" providerId="LiveId" clId="{4B4C3012-157D-4E70-9450-C4952F9A74AA}" dt="2021-07-09T03:43:38.206" v="123" actId="1036"/>
          <ac:picMkLst>
            <pc:docMk/>
            <pc:sldMk cId="4178836903" sldId="2169"/>
            <ac:picMk id="11" creationId="{F7A9918B-B7CD-4643-8B6A-74AEBFA4B2C2}"/>
          </ac:picMkLst>
        </pc:picChg>
      </pc:sldChg>
      <pc:sldChg chg="modSp">
        <pc:chgData name="Aurelien Domont" userId="6da7715ce44349b3" providerId="LiveId" clId="{4B4C3012-157D-4E70-9450-C4952F9A74AA}" dt="2021-07-09T03:29:03.401" v="49"/>
        <pc:sldMkLst>
          <pc:docMk/>
          <pc:sldMk cId="4258618140" sldId="2187"/>
        </pc:sldMkLst>
        <pc:spChg chg="mod">
          <ac:chgData name="Aurelien Domont" userId="6da7715ce44349b3" providerId="LiveId" clId="{4B4C3012-157D-4E70-9450-C4952F9A74AA}" dt="2021-07-09T03:29:03.401" v="49"/>
          <ac:spMkLst>
            <pc:docMk/>
            <pc:sldMk cId="4258618140" sldId="2187"/>
            <ac:spMk id="37" creationId="{4C7EFCC8-043E-481C-9578-CB71BB412AE5}"/>
          </ac:spMkLst>
        </pc:spChg>
        <pc:spChg chg="mod">
          <ac:chgData name="Aurelien Domont" userId="6da7715ce44349b3" providerId="LiveId" clId="{4B4C3012-157D-4E70-9450-C4952F9A74AA}" dt="2021-07-09T03:29:03.401" v="49"/>
          <ac:spMkLst>
            <pc:docMk/>
            <pc:sldMk cId="4258618140" sldId="2187"/>
            <ac:spMk id="41" creationId="{72366D1D-DF2B-48D3-BEAB-6BC2B5054885}"/>
          </ac:spMkLst>
        </pc:spChg>
      </pc:sldChg>
      <pc:sldChg chg="modSp">
        <pc:chgData name="Aurelien Domont" userId="6da7715ce44349b3" providerId="LiveId" clId="{4B4C3012-157D-4E70-9450-C4952F9A74AA}" dt="2021-07-09T03:29:03.401" v="49"/>
        <pc:sldMkLst>
          <pc:docMk/>
          <pc:sldMk cId="1390113814" sldId="2188"/>
        </pc:sldMkLst>
        <pc:spChg chg="mod">
          <ac:chgData name="Aurelien Domont" userId="6da7715ce44349b3" providerId="LiveId" clId="{4B4C3012-157D-4E70-9450-C4952F9A74AA}" dt="2021-07-09T03:29:03.401" v="49"/>
          <ac:spMkLst>
            <pc:docMk/>
            <pc:sldMk cId="1390113814" sldId="2188"/>
            <ac:spMk id="10" creationId="{B4598AEF-78F8-475E-AC7D-E8372096BAB2}"/>
          </ac:spMkLst>
        </pc:spChg>
      </pc:sldChg>
      <pc:sldChg chg="modSp">
        <pc:chgData name="Aurelien Domont" userId="6da7715ce44349b3" providerId="LiveId" clId="{4B4C3012-157D-4E70-9450-C4952F9A74AA}" dt="2021-07-09T03:29:03.401" v="49"/>
        <pc:sldMkLst>
          <pc:docMk/>
          <pc:sldMk cId="1002747840" sldId="2189"/>
        </pc:sldMkLst>
        <pc:spChg chg="mod">
          <ac:chgData name="Aurelien Domont" userId="6da7715ce44349b3" providerId="LiveId" clId="{4B4C3012-157D-4E70-9450-C4952F9A74AA}" dt="2021-07-09T03:29:03.401" v="49"/>
          <ac:spMkLst>
            <pc:docMk/>
            <pc:sldMk cId="1002747840" sldId="2189"/>
            <ac:spMk id="10" creationId="{B4598AEF-78F8-475E-AC7D-E8372096BAB2}"/>
          </ac:spMkLst>
        </pc:spChg>
      </pc:sldChg>
      <pc:sldChg chg="addSp delSp modSp mod">
        <pc:chgData name="Aurelien Domont" userId="6da7715ce44349b3" providerId="LiveId" clId="{4B4C3012-157D-4E70-9450-C4952F9A74AA}" dt="2021-07-09T03:51:59.876" v="372" actId="20577"/>
        <pc:sldMkLst>
          <pc:docMk/>
          <pc:sldMk cId="2349979947" sldId="2190"/>
        </pc:sldMkLst>
        <pc:spChg chg="add mod">
          <ac:chgData name="Aurelien Domont" userId="6da7715ce44349b3" providerId="LiveId" clId="{4B4C3012-157D-4E70-9450-C4952F9A74AA}" dt="2021-07-09T03:51:28.273" v="319" actId="20577"/>
          <ac:spMkLst>
            <pc:docMk/>
            <pc:sldMk cId="2349979947" sldId="2190"/>
            <ac:spMk id="22" creationId="{F4DAF654-340D-4B75-B8E9-38BAB8DB34FD}"/>
          </ac:spMkLst>
        </pc:spChg>
        <pc:spChg chg="add mod">
          <ac:chgData name="Aurelien Domont" userId="6da7715ce44349b3" providerId="LiveId" clId="{4B4C3012-157D-4E70-9450-C4952F9A74AA}" dt="2021-07-09T03:50:22.857" v="289" actId="14100"/>
          <ac:spMkLst>
            <pc:docMk/>
            <pc:sldMk cId="2349979947" sldId="2190"/>
            <ac:spMk id="23" creationId="{5992F7C2-C90A-496E-BD21-743F05885307}"/>
          </ac:spMkLst>
        </pc:spChg>
        <pc:spChg chg="add mod">
          <ac:chgData name="Aurelien Domont" userId="6da7715ce44349b3" providerId="LiveId" clId="{4B4C3012-157D-4E70-9450-C4952F9A74AA}" dt="2021-07-09T03:51:41.478" v="344" actId="20577"/>
          <ac:spMkLst>
            <pc:docMk/>
            <pc:sldMk cId="2349979947" sldId="2190"/>
            <ac:spMk id="24" creationId="{045700D2-8228-44CB-B976-038E65CAE418}"/>
          </ac:spMkLst>
        </pc:spChg>
        <pc:spChg chg="add mod">
          <ac:chgData name="Aurelien Domont" userId="6da7715ce44349b3" providerId="LiveId" clId="{4B4C3012-157D-4E70-9450-C4952F9A74AA}" dt="2021-07-09T03:51:59.876" v="372" actId="20577"/>
          <ac:spMkLst>
            <pc:docMk/>
            <pc:sldMk cId="2349979947" sldId="2190"/>
            <ac:spMk id="25" creationId="{A903233A-54AD-46D4-850C-64259B5EB4D8}"/>
          </ac:spMkLst>
        </pc:spChg>
        <pc:picChg chg="del">
          <ac:chgData name="Aurelien Domont" userId="6da7715ce44349b3" providerId="LiveId" clId="{4B4C3012-157D-4E70-9450-C4952F9A74AA}" dt="2021-07-09T03:48:32.086" v="239" actId="478"/>
          <ac:picMkLst>
            <pc:docMk/>
            <pc:sldMk cId="2349979947" sldId="2190"/>
            <ac:picMk id="12" creationId="{FE9B9E94-357E-4B04-9B76-B64A2AD3319C}"/>
          </ac:picMkLst>
        </pc:picChg>
        <pc:picChg chg="del">
          <ac:chgData name="Aurelien Domont" userId="6da7715ce44349b3" providerId="LiveId" clId="{4B4C3012-157D-4E70-9450-C4952F9A74AA}" dt="2021-07-09T03:48:32.086" v="239" actId="478"/>
          <ac:picMkLst>
            <pc:docMk/>
            <pc:sldMk cId="2349979947" sldId="2190"/>
            <ac:picMk id="14" creationId="{4D3A6F3A-8786-441E-90A3-61E8C8D72553}"/>
          </ac:picMkLst>
        </pc:picChg>
        <pc:picChg chg="del">
          <ac:chgData name="Aurelien Domont" userId="6da7715ce44349b3" providerId="LiveId" clId="{4B4C3012-157D-4E70-9450-C4952F9A74AA}" dt="2021-07-09T03:48:32.086" v="239" actId="478"/>
          <ac:picMkLst>
            <pc:docMk/>
            <pc:sldMk cId="2349979947" sldId="2190"/>
            <ac:picMk id="15" creationId="{659A23D5-65DD-4CEA-855D-90A0B5E2BE2A}"/>
          </ac:picMkLst>
        </pc:picChg>
        <pc:picChg chg="del">
          <ac:chgData name="Aurelien Domont" userId="6da7715ce44349b3" providerId="LiveId" clId="{4B4C3012-157D-4E70-9450-C4952F9A74AA}" dt="2021-07-09T03:48:32.086" v="239" actId="478"/>
          <ac:picMkLst>
            <pc:docMk/>
            <pc:sldMk cId="2349979947" sldId="2190"/>
            <ac:picMk id="17" creationId="{3A1116B0-8834-4AD7-B5A9-FC56ADD00397}"/>
          </ac:picMkLst>
        </pc:picChg>
        <pc:picChg chg="add del mod">
          <ac:chgData name="Aurelien Domont" userId="6da7715ce44349b3" providerId="LiveId" clId="{4B4C3012-157D-4E70-9450-C4952F9A74AA}" dt="2021-07-09T03:49:54.017" v="266" actId="478"/>
          <ac:picMkLst>
            <pc:docMk/>
            <pc:sldMk cId="2349979947" sldId="2190"/>
            <ac:picMk id="18" creationId="{C3BA0179-4EC8-4CB0-B9F3-382CC0868B43}"/>
          </ac:picMkLst>
        </pc:picChg>
        <pc:picChg chg="add del mod">
          <ac:chgData name="Aurelien Domont" userId="6da7715ce44349b3" providerId="LiveId" clId="{4B4C3012-157D-4E70-9450-C4952F9A74AA}" dt="2021-07-09T03:49:54.017" v="266" actId="478"/>
          <ac:picMkLst>
            <pc:docMk/>
            <pc:sldMk cId="2349979947" sldId="2190"/>
            <ac:picMk id="19" creationId="{FC4CA3FB-F8B5-4BCC-9CC3-4C31D96FC49F}"/>
          </ac:picMkLst>
        </pc:picChg>
        <pc:picChg chg="add del mod">
          <ac:chgData name="Aurelien Domont" userId="6da7715ce44349b3" providerId="LiveId" clId="{4B4C3012-157D-4E70-9450-C4952F9A74AA}" dt="2021-07-09T03:49:54.017" v="266" actId="478"/>
          <ac:picMkLst>
            <pc:docMk/>
            <pc:sldMk cId="2349979947" sldId="2190"/>
            <ac:picMk id="20" creationId="{6F5B41ED-29E9-43E5-A152-8BD1390D618D}"/>
          </ac:picMkLst>
        </pc:picChg>
        <pc:picChg chg="add del mod">
          <ac:chgData name="Aurelien Domont" userId="6da7715ce44349b3" providerId="LiveId" clId="{4B4C3012-157D-4E70-9450-C4952F9A74AA}" dt="2021-07-09T03:49:54.017" v="266" actId="478"/>
          <ac:picMkLst>
            <pc:docMk/>
            <pc:sldMk cId="2349979947" sldId="2190"/>
            <ac:picMk id="21" creationId="{F022D1B4-33F9-4D0F-B431-47A0A627DD59}"/>
          </ac:picMkLst>
        </pc:picChg>
        <pc:picChg chg="add del mod">
          <ac:chgData name="Aurelien Domont" userId="6da7715ce44349b3" providerId="LiveId" clId="{4B4C3012-157D-4E70-9450-C4952F9A74AA}" dt="2021-07-09T03:49:13.878" v="250"/>
          <ac:picMkLst>
            <pc:docMk/>
            <pc:sldMk cId="2349979947" sldId="2190"/>
            <ac:picMk id="26" creationId="{38407265-3265-4C18-8AA6-70950F7316F0}"/>
          </ac:picMkLst>
        </pc:picChg>
        <pc:picChg chg="add del mod">
          <ac:chgData name="Aurelien Domont" userId="6da7715ce44349b3" providerId="LiveId" clId="{4B4C3012-157D-4E70-9450-C4952F9A74AA}" dt="2021-07-09T03:49:13.878" v="250"/>
          <ac:picMkLst>
            <pc:docMk/>
            <pc:sldMk cId="2349979947" sldId="2190"/>
            <ac:picMk id="27" creationId="{B30E59E1-CE9C-4FDB-9671-22383CA60698}"/>
          </ac:picMkLst>
        </pc:picChg>
        <pc:picChg chg="add del mod">
          <ac:chgData name="Aurelien Domont" userId="6da7715ce44349b3" providerId="LiveId" clId="{4B4C3012-157D-4E70-9450-C4952F9A74AA}" dt="2021-07-09T03:49:13.878" v="250"/>
          <ac:picMkLst>
            <pc:docMk/>
            <pc:sldMk cId="2349979947" sldId="2190"/>
            <ac:picMk id="28" creationId="{2C6FAC14-187B-4417-95BE-79C063CA384A}"/>
          </ac:picMkLst>
        </pc:picChg>
        <pc:picChg chg="add del mod">
          <ac:chgData name="Aurelien Domont" userId="6da7715ce44349b3" providerId="LiveId" clId="{4B4C3012-157D-4E70-9450-C4952F9A74AA}" dt="2021-07-09T03:49:13.878" v="250"/>
          <ac:picMkLst>
            <pc:docMk/>
            <pc:sldMk cId="2349979947" sldId="2190"/>
            <ac:picMk id="29" creationId="{623787E6-7A4B-4B4C-8813-D49ABF4096F6}"/>
          </ac:picMkLst>
        </pc:picChg>
        <pc:picChg chg="add mod ord">
          <ac:chgData name="Aurelien Domont" userId="6da7715ce44349b3" providerId="LiveId" clId="{4B4C3012-157D-4E70-9450-C4952F9A74AA}" dt="2021-07-09T03:49:50.441" v="265" actId="167"/>
          <ac:picMkLst>
            <pc:docMk/>
            <pc:sldMk cId="2349979947" sldId="2190"/>
            <ac:picMk id="30" creationId="{7BE26EE6-02D0-4299-8D40-D5FE747FC6EC}"/>
          </ac:picMkLst>
        </pc:picChg>
        <pc:picChg chg="add mod ord">
          <ac:chgData name="Aurelien Domont" userId="6da7715ce44349b3" providerId="LiveId" clId="{4B4C3012-157D-4E70-9450-C4952F9A74AA}" dt="2021-07-09T03:49:50.441" v="265" actId="167"/>
          <ac:picMkLst>
            <pc:docMk/>
            <pc:sldMk cId="2349979947" sldId="2190"/>
            <ac:picMk id="31" creationId="{01772D02-2A23-4F53-A80C-CFCBAA14DE60}"/>
          </ac:picMkLst>
        </pc:picChg>
        <pc:picChg chg="add mod ord">
          <ac:chgData name="Aurelien Domont" userId="6da7715ce44349b3" providerId="LiveId" clId="{4B4C3012-157D-4E70-9450-C4952F9A74AA}" dt="2021-07-09T03:49:50.441" v="265" actId="167"/>
          <ac:picMkLst>
            <pc:docMk/>
            <pc:sldMk cId="2349979947" sldId="2190"/>
            <ac:picMk id="32" creationId="{736A7551-1054-4CFB-A286-4083A79078E0}"/>
          </ac:picMkLst>
        </pc:picChg>
        <pc:picChg chg="add mod ord">
          <ac:chgData name="Aurelien Domont" userId="6da7715ce44349b3" providerId="LiveId" clId="{4B4C3012-157D-4E70-9450-C4952F9A74AA}" dt="2021-07-09T03:49:50.441" v="265" actId="167"/>
          <ac:picMkLst>
            <pc:docMk/>
            <pc:sldMk cId="2349979947" sldId="2190"/>
            <ac:picMk id="33" creationId="{3886DD78-4C41-40C9-8DAB-58415E8DB15A}"/>
          </ac:picMkLst>
        </pc:picChg>
      </pc:sldChg>
      <pc:sldChg chg="addSp delSp modSp mod">
        <pc:chgData name="Aurelien Domont" userId="6da7715ce44349b3" providerId="LiveId" clId="{4B4C3012-157D-4E70-9450-C4952F9A74AA}" dt="2021-07-09T03:54:32.861" v="525" actId="20577"/>
        <pc:sldMkLst>
          <pc:docMk/>
          <pc:sldMk cId="3340324934" sldId="2191"/>
        </pc:sldMkLst>
        <pc:spChg chg="add mod">
          <ac:chgData name="Aurelien Domont" userId="6da7715ce44349b3" providerId="LiveId" clId="{4B4C3012-157D-4E70-9450-C4952F9A74AA}" dt="2021-07-09T03:53:32.344" v="436" actId="20577"/>
          <ac:spMkLst>
            <pc:docMk/>
            <pc:sldMk cId="3340324934" sldId="2191"/>
            <ac:spMk id="21" creationId="{75061E4F-FB3F-4F06-9960-64F132A3A8D1}"/>
          </ac:spMkLst>
        </pc:spChg>
        <pc:spChg chg="add mod">
          <ac:chgData name="Aurelien Domont" userId="6da7715ce44349b3" providerId="LiveId" clId="{4B4C3012-157D-4E70-9450-C4952F9A74AA}" dt="2021-07-09T03:54:32.861" v="525" actId="20577"/>
          <ac:spMkLst>
            <pc:docMk/>
            <pc:sldMk cId="3340324934" sldId="2191"/>
            <ac:spMk id="22" creationId="{BE5FBC9B-6CEF-4DA9-9F52-9FA051FC5284}"/>
          </ac:spMkLst>
        </pc:spChg>
        <pc:spChg chg="add mod">
          <ac:chgData name="Aurelien Domont" userId="6da7715ce44349b3" providerId="LiveId" clId="{4B4C3012-157D-4E70-9450-C4952F9A74AA}" dt="2021-07-09T03:53:44.011" v="453" actId="20577"/>
          <ac:spMkLst>
            <pc:docMk/>
            <pc:sldMk cId="3340324934" sldId="2191"/>
            <ac:spMk id="23" creationId="{F4285113-78D1-43EE-BCA0-447610636AE3}"/>
          </ac:spMkLst>
        </pc:spChg>
        <pc:spChg chg="add mod">
          <ac:chgData name="Aurelien Domont" userId="6da7715ce44349b3" providerId="LiveId" clId="{4B4C3012-157D-4E70-9450-C4952F9A74AA}" dt="2021-07-09T03:54:12.141" v="498" actId="20577"/>
          <ac:spMkLst>
            <pc:docMk/>
            <pc:sldMk cId="3340324934" sldId="2191"/>
            <ac:spMk id="24" creationId="{E8D393BA-0F9C-45C6-9A09-6B2652E3655F}"/>
          </ac:spMkLst>
        </pc:spChg>
        <pc:picChg chg="del">
          <ac:chgData name="Aurelien Domont" userId="6da7715ce44349b3" providerId="LiveId" clId="{4B4C3012-157D-4E70-9450-C4952F9A74AA}" dt="2021-07-09T03:52:34.244" v="376" actId="478"/>
          <ac:picMkLst>
            <pc:docMk/>
            <pc:sldMk cId="3340324934" sldId="2191"/>
            <ac:picMk id="3" creationId="{15370C7C-145F-4349-AE96-1E50E9582145}"/>
          </ac:picMkLst>
        </pc:picChg>
        <pc:picChg chg="del mod">
          <ac:chgData name="Aurelien Domont" userId="6da7715ce44349b3" providerId="LiveId" clId="{4B4C3012-157D-4E70-9450-C4952F9A74AA}" dt="2021-07-09T03:52:34.244" v="376" actId="478"/>
          <ac:picMkLst>
            <pc:docMk/>
            <pc:sldMk cId="3340324934" sldId="2191"/>
            <ac:picMk id="11" creationId="{25D5DDB8-F1BB-4113-A087-0C0A746C7EB2}"/>
          </ac:picMkLst>
        </pc:picChg>
        <pc:picChg chg="add del mod">
          <ac:chgData name="Aurelien Domont" userId="6da7715ce44349b3" providerId="LiveId" clId="{4B4C3012-157D-4E70-9450-C4952F9A74AA}" dt="2021-07-09T03:54:01.047" v="464" actId="478"/>
          <ac:picMkLst>
            <pc:docMk/>
            <pc:sldMk cId="3340324934" sldId="2191"/>
            <ac:picMk id="14" creationId="{1B8F1F4A-CAB8-4B44-9253-6CE8E4FA1118}"/>
          </ac:picMkLst>
        </pc:picChg>
        <pc:picChg chg="add del mod">
          <ac:chgData name="Aurelien Domont" userId="6da7715ce44349b3" providerId="LiveId" clId="{4B4C3012-157D-4E70-9450-C4952F9A74AA}" dt="2021-07-09T03:54:01.047" v="464" actId="478"/>
          <ac:picMkLst>
            <pc:docMk/>
            <pc:sldMk cId="3340324934" sldId="2191"/>
            <ac:picMk id="15" creationId="{5FE44C92-7319-41CC-B6B3-2E206B3A9A9D}"/>
          </ac:picMkLst>
        </pc:picChg>
        <pc:picChg chg="add del mod">
          <ac:chgData name="Aurelien Domont" userId="6da7715ce44349b3" providerId="LiveId" clId="{4B4C3012-157D-4E70-9450-C4952F9A74AA}" dt="2021-07-09T03:54:01.047" v="464" actId="478"/>
          <ac:picMkLst>
            <pc:docMk/>
            <pc:sldMk cId="3340324934" sldId="2191"/>
            <ac:picMk id="17" creationId="{46323CE5-9CDD-4223-969E-B50F5D2DBB38}"/>
          </ac:picMkLst>
        </pc:picChg>
        <pc:picChg chg="add del mod">
          <ac:chgData name="Aurelien Domont" userId="6da7715ce44349b3" providerId="LiveId" clId="{4B4C3012-157D-4E70-9450-C4952F9A74AA}" dt="2021-07-09T03:54:01.047" v="464" actId="478"/>
          <ac:picMkLst>
            <pc:docMk/>
            <pc:sldMk cId="3340324934" sldId="2191"/>
            <ac:picMk id="18" creationId="{2B4EEF77-CFFE-4C4A-9E35-B54C15B65443}"/>
          </ac:picMkLst>
        </pc:picChg>
        <pc:picChg chg="del">
          <ac:chgData name="Aurelien Domont" userId="6da7715ce44349b3" providerId="LiveId" clId="{4B4C3012-157D-4E70-9450-C4952F9A74AA}" dt="2021-07-09T03:52:34.244" v="376" actId="478"/>
          <ac:picMkLst>
            <pc:docMk/>
            <pc:sldMk cId="3340324934" sldId="2191"/>
            <ac:picMk id="19" creationId="{510380BB-04DC-414E-AEA0-0A102EFB8B64}"/>
          </ac:picMkLst>
        </pc:picChg>
        <pc:picChg chg="del">
          <ac:chgData name="Aurelien Domont" userId="6da7715ce44349b3" providerId="LiveId" clId="{4B4C3012-157D-4E70-9450-C4952F9A74AA}" dt="2021-07-09T03:52:34.244" v="376" actId="478"/>
          <ac:picMkLst>
            <pc:docMk/>
            <pc:sldMk cId="3340324934" sldId="2191"/>
            <ac:picMk id="20" creationId="{6A38595B-0C20-4D15-AA90-C5B669693A38}"/>
          </ac:picMkLst>
        </pc:picChg>
        <pc:picChg chg="add mod ord">
          <ac:chgData name="Aurelien Domont" userId="6da7715ce44349b3" providerId="LiveId" clId="{4B4C3012-157D-4E70-9450-C4952F9A74AA}" dt="2021-07-09T03:53:57.632" v="463" actId="167"/>
          <ac:picMkLst>
            <pc:docMk/>
            <pc:sldMk cId="3340324934" sldId="2191"/>
            <ac:picMk id="25" creationId="{991C0F3F-DC96-4D75-A8E5-1828A799E29D}"/>
          </ac:picMkLst>
        </pc:picChg>
        <pc:picChg chg="add mod ord">
          <ac:chgData name="Aurelien Domont" userId="6da7715ce44349b3" providerId="LiveId" clId="{4B4C3012-157D-4E70-9450-C4952F9A74AA}" dt="2021-07-09T03:53:57.632" v="463" actId="167"/>
          <ac:picMkLst>
            <pc:docMk/>
            <pc:sldMk cId="3340324934" sldId="2191"/>
            <ac:picMk id="26" creationId="{6AAE44A4-591A-4C94-9FB2-433CDDFA6C03}"/>
          </ac:picMkLst>
        </pc:picChg>
        <pc:picChg chg="add mod ord">
          <ac:chgData name="Aurelien Domont" userId="6da7715ce44349b3" providerId="LiveId" clId="{4B4C3012-157D-4E70-9450-C4952F9A74AA}" dt="2021-07-09T03:53:57.632" v="463" actId="167"/>
          <ac:picMkLst>
            <pc:docMk/>
            <pc:sldMk cId="3340324934" sldId="2191"/>
            <ac:picMk id="27" creationId="{4C96D69A-8109-4F2B-8848-F0AC20DB52D1}"/>
          </ac:picMkLst>
        </pc:picChg>
        <pc:picChg chg="add mod ord">
          <ac:chgData name="Aurelien Domont" userId="6da7715ce44349b3" providerId="LiveId" clId="{4B4C3012-157D-4E70-9450-C4952F9A74AA}" dt="2021-07-09T03:53:57.632" v="463" actId="167"/>
          <ac:picMkLst>
            <pc:docMk/>
            <pc:sldMk cId="3340324934" sldId="2191"/>
            <ac:picMk id="28" creationId="{EDB39F5E-6638-42AD-AAA7-9ED4C622426E}"/>
          </ac:picMkLst>
        </pc:picChg>
      </pc:sldChg>
      <pc:sldChg chg="add del">
        <pc:chgData name="Aurelien Domont" userId="6da7715ce44349b3" providerId="LiveId" clId="{4B4C3012-157D-4E70-9450-C4952F9A74AA}" dt="2021-07-09T03:54:44.127" v="526" actId="47"/>
        <pc:sldMkLst>
          <pc:docMk/>
          <pc:sldMk cId="1278776622" sldId="2192"/>
        </pc:sldMkLst>
      </pc:sldChg>
      <pc:sldChg chg="add del">
        <pc:chgData name="Aurelien Domont" userId="6da7715ce44349b3" providerId="LiveId" clId="{4B4C3012-157D-4E70-9450-C4952F9A74AA}" dt="2021-07-09T03:52:13.186" v="373" actId="47"/>
        <pc:sldMkLst>
          <pc:docMk/>
          <pc:sldMk cId="2696631081" sldId="2192"/>
        </pc:sldMkLst>
      </pc:sldChg>
    </pc:docChg>
  </pc:docChgLst>
  <pc:docChgLst>
    <pc:chgData name="Aurelien Domont" userId="6da7715ce44349b3" providerId="LiveId" clId="{E6277905-FCCE-4B88-BAD6-C5854D60B696}"/>
    <pc:docChg chg="undo redo custSel addSld delSld modSld">
      <pc:chgData name="Aurelien Domont" userId="6da7715ce44349b3" providerId="LiveId" clId="{E6277905-FCCE-4B88-BAD6-C5854D60B696}" dt="2021-05-27T01:27:06.051" v="1819" actId="20577"/>
      <pc:docMkLst>
        <pc:docMk/>
      </pc:docMkLst>
      <pc:sldChg chg="addSp delSp modSp mod">
        <pc:chgData name="Aurelien Domont" userId="6da7715ce44349b3" providerId="LiveId" clId="{E6277905-FCCE-4B88-BAD6-C5854D60B696}" dt="2021-05-26T08:17:58.329" v="1789"/>
        <pc:sldMkLst>
          <pc:docMk/>
          <pc:sldMk cId="3131901387" sldId="256"/>
        </pc:sldMkLst>
        <pc:spChg chg="mod">
          <ac:chgData name="Aurelien Domont" userId="6da7715ce44349b3" providerId="LiveId" clId="{E6277905-FCCE-4B88-BAD6-C5854D60B696}" dt="2021-05-18T05:40:48.610" v="19" actId="20577"/>
          <ac:spMkLst>
            <pc:docMk/>
            <pc:sldMk cId="3131901387" sldId="256"/>
            <ac:spMk id="2" creationId="{5261080C-C60C-4746-B6B1-A9A4FFA86785}"/>
          </ac:spMkLst>
        </pc:spChg>
        <pc:spChg chg="del">
          <ac:chgData name="Aurelien Domont" userId="6da7715ce44349b3" providerId="LiveId" clId="{E6277905-FCCE-4B88-BAD6-C5854D60B696}" dt="2021-05-26T08:17:54.457" v="1785" actId="478"/>
          <ac:spMkLst>
            <pc:docMk/>
            <pc:sldMk cId="3131901387" sldId="256"/>
            <ac:spMk id="3" creationId="{D781CD62-85AB-400E-A66C-9594AAD807B4}"/>
          </ac:spMkLst>
        </pc:spChg>
        <pc:spChg chg="add del mod">
          <ac:chgData name="Aurelien Domont" userId="6da7715ce44349b3" providerId="LiveId" clId="{E6277905-FCCE-4B88-BAD6-C5854D60B696}" dt="2021-05-26T08:17:58.130" v="1788" actId="478"/>
          <ac:spMkLst>
            <pc:docMk/>
            <pc:sldMk cId="3131901387" sldId="256"/>
            <ac:spMk id="13" creationId="{E68CF082-1C0C-4C11-B13F-09DA90F94204}"/>
          </ac:spMkLst>
        </pc:spChg>
        <pc:spChg chg="add del mod">
          <ac:chgData name="Aurelien Domont" userId="6da7715ce44349b3" providerId="LiveId" clId="{E6277905-FCCE-4B88-BAD6-C5854D60B696}" dt="2021-05-26T08:17:55.811" v="1787"/>
          <ac:spMkLst>
            <pc:docMk/>
            <pc:sldMk cId="3131901387" sldId="256"/>
            <ac:spMk id="15" creationId="{DD548747-1142-4189-A48E-B3F4AF3517AD}"/>
          </ac:spMkLst>
        </pc:spChg>
        <pc:spChg chg="add mod">
          <ac:chgData name="Aurelien Domont" userId="6da7715ce44349b3" providerId="LiveId" clId="{E6277905-FCCE-4B88-BAD6-C5854D60B696}" dt="2021-05-26T08:17:58.329" v="1789"/>
          <ac:spMkLst>
            <pc:docMk/>
            <pc:sldMk cId="3131901387" sldId="256"/>
            <ac:spMk id="16" creationId="{2436D48A-FAB5-4E4C-AB97-233E7A3795E6}"/>
          </ac:spMkLst>
        </pc:spChg>
        <pc:picChg chg="add del">
          <ac:chgData name="Aurelien Domont" userId="6da7715ce44349b3" providerId="LiveId" clId="{E6277905-FCCE-4B88-BAD6-C5854D60B696}" dt="2021-05-19T07:00:28.700" v="1158" actId="478"/>
          <ac:picMkLst>
            <pc:docMk/>
            <pc:sldMk cId="3131901387" sldId="256"/>
            <ac:picMk id="13" creationId="{6E38BFE1-56A4-4E55-BEE6-88950EB7A801}"/>
          </ac:picMkLst>
        </pc:picChg>
        <pc:picChg chg="add del mod">
          <ac:chgData name="Aurelien Domont" userId="6da7715ce44349b3" providerId="LiveId" clId="{E6277905-FCCE-4B88-BAD6-C5854D60B696}" dt="2021-05-26T08:17:54.457" v="1785" actId="478"/>
          <ac:picMkLst>
            <pc:docMk/>
            <pc:sldMk cId="3131901387" sldId="256"/>
            <ac:picMk id="14" creationId="{2383877E-1EA1-4685-809A-0E7CCC5CBDD3}"/>
          </ac:picMkLst>
        </pc:picChg>
      </pc:sldChg>
      <pc:sldChg chg="addSp delSp modSp mod">
        <pc:chgData name="Aurelien Domont" userId="6da7715ce44349b3" providerId="LiveId" clId="{E6277905-FCCE-4B88-BAD6-C5854D60B696}" dt="2021-05-19T07:14:32.307" v="1757" actId="20577"/>
        <pc:sldMkLst>
          <pc:docMk/>
          <pc:sldMk cId="317099162" sldId="1749"/>
        </pc:sldMkLst>
        <pc:spChg chg="add del mod">
          <ac:chgData name="Aurelien Domont" userId="6da7715ce44349b3" providerId="LiveId" clId="{E6277905-FCCE-4B88-BAD6-C5854D60B696}" dt="2021-05-19T07:02:22.898" v="1169" actId="478"/>
          <ac:spMkLst>
            <pc:docMk/>
            <pc:sldMk cId="317099162" sldId="1749"/>
            <ac:spMk id="2" creationId="{254960E3-64BC-4278-8123-6086DEE61BF9}"/>
          </ac:spMkLst>
        </pc:spChg>
        <pc:spChg chg="mod">
          <ac:chgData name="Aurelien Domont" userId="6da7715ce44349b3" providerId="LiveId" clId="{E6277905-FCCE-4B88-BAD6-C5854D60B696}" dt="2021-05-19T07:14:32.307" v="1757" actId="20577"/>
          <ac:spMkLst>
            <pc:docMk/>
            <pc:sldMk cId="317099162" sldId="1749"/>
            <ac:spMk id="14" creationId="{58BC295C-D6CC-4682-B176-A5677EB177D0}"/>
          </ac:spMkLst>
        </pc:spChg>
        <pc:spChg chg="mod">
          <ac:chgData name="Aurelien Domont" userId="6da7715ce44349b3" providerId="LiveId" clId="{E6277905-FCCE-4B88-BAD6-C5854D60B696}" dt="2021-05-19T07:02:48.675" v="1177" actId="20577"/>
          <ac:spMkLst>
            <pc:docMk/>
            <pc:sldMk cId="317099162" sldId="1749"/>
            <ac:spMk id="16" creationId="{6C2BB713-9637-4B9B-938F-E9768876782A}"/>
          </ac:spMkLst>
        </pc:spChg>
      </pc:sldChg>
      <pc:sldChg chg="del">
        <pc:chgData name="Aurelien Domont" userId="6da7715ce44349b3" providerId="LiveId" clId="{E6277905-FCCE-4B88-BAD6-C5854D60B696}" dt="2021-05-19T07:15:14.400" v="1758" actId="47"/>
        <pc:sldMkLst>
          <pc:docMk/>
          <pc:sldMk cId="3324303879" sldId="1917"/>
        </pc:sldMkLst>
      </pc:sldChg>
      <pc:sldChg chg="del">
        <pc:chgData name="Aurelien Domont" userId="6da7715ce44349b3" providerId="LiveId" clId="{E6277905-FCCE-4B88-BAD6-C5854D60B696}" dt="2021-05-19T07:02:37.038" v="1170" actId="47"/>
        <pc:sldMkLst>
          <pc:docMk/>
          <pc:sldMk cId="3738554192" sldId="1918"/>
        </pc:sldMkLst>
      </pc:sldChg>
      <pc:sldChg chg="del">
        <pc:chgData name="Aurelien Domont" userId="6da7715ce44349b3" providerId="LiveId" clId="{E6277905-FCCE-4B88-BAD6-C5854D60B696}" dt="2021-05-19T07:02:37.038" v="1170" actId="47"/>
        <pc:sldMkLst>
          <pc:docMk/>
          <pc:sldMk cId="4287792945" sldId="1919"/>
        </pc:sldMkLst>
      </pc:sldChg>
      <pc:sldChg chg="del">
        <pc:chgData name="Aurelien Domont" userId="6da7715ce44349b3" providerId="LiveId" clId="{E6277905-FCCE-4B88-BAD6-C5854D60B696}" dt="2021-05-19T07:02:37.038" v="1170" actId="47"/>
        <pc:sldMkLst>
          <pc:docMk/>
          <pc:sldMk cId="1711813648" sldId="1920"/>
        </pc:sldMkLst>
      </pc:sldChg>
      <pc:sldChg chg="del">
        <pc:chgData name="Aurelien Domont" userId="6da7715ce44349b3" providerId="LiveId" clId="{E6277905-FCCE-4B88-BAD6-C5854D60B696}" dt="2021-05-19T07:02:37.038" v="1170" actId="47"/>
        <pc:sldMkLst>
          <pc:docMk/>
          <pc:sldMk cId="1649006803" sldId="1921"/>
        </pc:sldMkLst>
      </pc:sldChg>
      <pc:sldChg chg="del">
        <pc:chgData name="Aurelien Domont" userId="6da7715ce44349b3" providerId="LiveId" clId="{E6277905-FCCE-4B88-BAD6-C5854D60B696}" dt="2021-05-19T07:02:37.038" v="1170" actId="47"/>
        <pc:sldMkLst>
          <pc:docMk/>
          <pc:sldMk cId="3022188194" sldId="1922"/>
        </pc:sldMkLst>
      </pc:sldChg>
      <pc:sldChg chg="del">
        <pc:chgData name="Aurelien Domont" userId="6da7715ce44349b3" providerId="LiveId" clId="{E6277905-FCCE-4B88-BAD6-C5854D60B696}" dt="2021-05-19T07:02:37.038" v="1170" actId="47"/>
        <pc:sldMkLst>
          <pc:docMk/>
          <pc:sldMk cId="1872329668" sldId="1923"/>
        </pc:sldMkLst>
      </pc:sldChg>
      <pc:sldChg chg="addSp delSp modSp del mod">
        <pc:chgData name="Aurelien Domont" userId="6da7715ce44349b3" providerId="LiveId" clId="{E6277905-FCCE-4B88-BAD6-C5854D60B696}" dt="2021-05-19T07:33:11.627" v="1777" actId="47"/>
        <pc:sldMkLst>
          <pc:docMk/>
          <pc:sldMk cId="1659127470" sldId="1924"/>
        </pc:sldMkLst>
        <pc:spChg chg="add del mod">
          <ac:chgData name="Aurelien Domont" userId="6da7715ce44349b3" providerId="LiveId" clId="{E6277905-FCCE-4B88-BAD6-C5854D60B696}" dt="2021-05-19T06:39:27.924" v="1101" actId="478"/>
          <ac:spMkLst>
            <pc:docMk/>
            <pc:sldMk cId="1659127470" sldId="1924"/>
            <ac:spMk id="2" creationId="{8D91CEA2-A9A2-44FD-975C-6F4A2D59641D}"/>
          </ac:spMkLst>
        </pc:spChg>
        <pc:spChg chg="add del mod">
          <ac:chgData name="Aurelien Domont" userId="6da7715ce44349b3" providerId="LiveId" clId="{E6277905-FCCE-4B88-BAD6-C5854D60B696}" dt="2021-05-19T06:24:02.853" v="853" actId="478"/>
          <ac:spMkLst>
            <pc:docMk/>
            <pc:sldMk cId="1659127470" sldId="1924"/>
            <ac:spMk id="4" creationId="{1E764DDF-9638-4878-B977-C06C1B7046F5}"/>
          </ac:spMkLst>
        </pc:spChg>
        <pc:spChg chg="add del mod">
          <ac:chgData name="Aurelien Domont" userId="6da7715ce44349b3" providerId="LiveId" clId="{E6277905-FCCE-4B88-BAD6-C5854D60B696}" dt="2021-05-18T05:50:48.987" v="45" actId="478"/>
          <ac:spMkLst>
            <pc:docMk/>
            <pc:sldMk cId="1659127470" sldId="1924"/>
            <ac:spMk id="14" creationId="{1E88A16D-E54C-45FC-97FE-3A1C196DAF1A}"/>
          </ac:spMkLst>
        </pc:spChg>
        <pc:spChg chg="mod">
          <ac:chgData name="Aurelien Domont" userId="6da7715ce44349b3" providerId="LiveId" clId="{E6277905-FCCE-4B88-BAD6-C5854D60B696}" dt="2021-05-18T05:41:48.391" v="40" actId="20577"/>
          <ac:spMkLst>
            <pc:docMk/>
            <pc:sldMk cId="1659127470" sldId="1924"/>
            <ac:spMk id="16" creationId="{6C2BB713-9637-4B9B-938F-E9768876782A}"/>
          </ac:spMkLst>
        </pc:spChg>
        <pc:spChg chg="mod">
          <ac:chgData name="Aurelien Domont" userId="6da7715ce44349b3" providerId="LiveId" clId="{E6277905-FCCE-4B88-BAD6-C5854D60B696}" dt="2021-05-19T07:11:36.761" v="1694" actId="20577"/>
          <ac:spMkLst>
            <pc:docMk/>
            <pc:sldMk cId="1659127470" sldId="1924"/>
            <ac:spMk id="17" creationId="{469F466A-B940-41E3-B12F-110D72502BCE}"/>
          </ac:spMkLst>
        </pc:spChg>
        <pc:spChg chg="mod">
          <ac:chgData name="Aurelien Domont" userId="6da7715ce44349b3" providerId="LiveId" clId="{E6277905-FCCE-4B88-BAD6-C5854D60B696}" dt="2021-05-18T05:57:42.931" v="188" actId="20577"/>
          <ac:spMkLst>
            <pc:docMk/>
            <pc:sldMk cId="1659127470" sldId="1924"/>
            <ac:spMk id="20" creationId="{3A4E6A8C-908C-49FF-9BF8-90A9FC12224D}"/>
          </ac:spMkLst>
        </pc:spChg>
        <pc:spChg chg="mod">
          <ac:chgData name="Aurelien Domont" userId="6da7715ce44349b3" providerId="LiveId" clId="{E6277905-FCCE-4B88-BAD6-C5854D60B696}" dt="2021-05-19T07:11:44.329" v="1698" actId="20577"/>
          <ac:spMkLst>
            <pc:docMk/>
            <pc:sldMk cId="1659127470" sldId="1924"/>
            <ac:spMk id="21" creationId="{16FAC062-BB56-4A49-9044-4444E78429DF}"/>
          </ac:spMkLst>
        </pc:spChg>
        <pc:spChg chg="mod">
          <ac:chgData name="Aurelien Domont" userId="6da7715ce44349b3" providerId="LiveId" clId="{E6277905-FCCE-4B88-BAD6-C5854D60B696}" dt="2021-05-19T06:37:08.662" v="1088" actId="179"/>
          <ac:spMkLst>
            <pc:docMk/>
            <pc:sldMk cId="1659127470" sldId="1924"/>
            <ac:spMk id="24" creationId="{95714746-22CF-48C5-AD51-9D9AE6E5F2C8}"/>
          </ac:spMkLst>
        </pc:spChg>
        <pc:spChg chg="mod">
          <ac:chgData name="Aurelien Domont" userId="6da7715ce44349b3" providerId="LiveId" clId="{E6277905-FCCE-4B88-BAD6-C5854D60B696}" dt="2021-05-19T07:21:25.037" v="1775" actId="313"/>
          <ac:spMkLst>
            <pc:docMk/>
            <pc:sldMk cId="1659127470" sldId="1924"/>
            <ac:spMk id="25" creationId="{0B462317-12E0-4745-AFEC-1DF156C5EB17}"/>
          </ac:spMkLst>
        </pc:spChg>
        <pc:spChg chg="mod">
          <ac:chgData name="Aurelien Domont" userId="6da7715ce44349b3" providerId="LiveId" clId="{E6277905-FCCE-4B88-BAD6-C5854D60B696}" dt="2021-05-19T06:43:08.751" v="1120" actId="20577"/>
          <ac:spMkLst>
            <pc:docMk/>
            <pc:sldMk cId="1659127470" sldId="1924"/>
            <ac:spMk id="28" creationId="{46F541B2-19A4-48FE-BC36-F95AB3359448}"/>
          </ac:spMkLst>
        </pc:spChg>
        <pc:cxnChg chg="add del mod">
          <ac:chgData name="Aurelien Domont" userId="6da7715ce44349b3" providerId="LiveId" clId="{E6277905-FCCE-4B88-BAD6-C5854D60B696}" dt="2021-05-18T05:56:42.969" v="183" actId="478"/>
          <ac:cxnSpMkLst>
            <pc:docMk/>
            <pc:sldMk cId="1659127470" sldId="1924"/>
            <ac:cxnSpMk id="15" creationId="{2633E9D1-B28B-464D-8203-38A139B3D947}"/>
          </ac:cxnSpMkLst>
        </pc:cxnChg>
        <pc:cxnChg chg="add mod">
          <ac:chgData name="Aurelien Domont" userId="6da7715ce44349b3" providerId="LiveId" clId="{E6277905-FCCE-4B88-BAD6-C5854D60B696}" dt="2021-05-19T06:29:20.431" v="930" actId="1038"/>
          <ac:cxnSpMkLst>
            <pc:docMk/>
            <pc:sldMk cId="1659127470" sldId="1924"/>
            <ac:cxnSpMk id="15" creationId="{E60236D9-FA17-46A1-923E-EAFAC3847145}"/>
          </ac:cxnSpMkLst>
        </pc:cxnChg>
        <pc:cxnChg chg="mod">
          <ac:chgData name="Aurelien Domont" userId="6da7715ce44349b3" providerId="LiveId" clId="{E6277905-FCCE-4B88-BAD6-C5854D60B696}" dt="2021-05-19T06:29:17.208" v="927" actId="1037"/>
          <ac:cxnSpMkLst>
            <pc:docMk/>
            <pc:sldMk cId="1659127470" sldId="1924"/>
            <ac:cxnSpMk id="22" creationId="{8F214CF9-01D2-40DC-9D6F-DAC675E238D0}"/>
          </ac:cxnSpMkLst>
        </pc:cxnChg>
        <pc:cxnChg chg="del mod">
          <ac:chgData name="Aurelien Domont" userId="6da7715ce44349b3" providerId="LiveId" clId="{E6277905-FCCE-4B88-BAD6-C5854D60B696}" dt="2021-05-19T06:27:03.979" v="896" actId="478"/>
          <ac:cxnSpMkLst>
            <pc:docMk/>
            <pc:sldMk cId="1659127470" sldId="1924"/>
            <ac:cxnSpMk id="23" creationId="{919B0EFB-7619-4E1E-BC50-B4C9AA07AF7A}"/>
          </ac:cxnSpMkLst>
        </pc:cxnChg>
      </pc:sldChg>
      <pc:sldChg chg="addSp delSp modSp del mod">
        <pc:chgData name="Aurelien Domont" userId="6da7715ce44349b3" providerId="LiveId" clId="{E6277905-FCCE-4B88-BAD6-C5854D60B696}" dt="2021-05-19T07:18:52.520" v="1773" actId="47"/>
        <pc:sldMkLst>
          <pc:docMk/>
          <pc:sldMk cId="3274212698" sldId="1925"/>
        </pc:sldMkLst>
        <pc:spChg chg="mod">
          <ac:chgData name="Aurelien Domont" userId="6da7715ce44349b3" providerId="LiveId" clId="{E6277905-FCCE-4B88-BAD6-C5854D60B696}" dt="2021-05-19T06:43:54.964" v="1137" actId="20577"/>
          <ac:spMkLst>
            <pc:docMk/>
            <pc:sldMk cId="3274212698" sldId="1925"/>
            <ac:spMk id="2" creationId="{406113FD-AA7D-4249-90D7-70AF85BE48E1}"/>
          </ac:spMkLst>
        </pc:spChg>
        <pc:spChg chg="del">
          <ac:chgData name="Aurelien Domont" userId="6da7715ce44349b3" providerId="LiveId" clId="{E6277905-FCCE-4B88-BAD6-C5854D60B696}" dt="2021-05-19T06:44:02.951" v="1138" actId="478"/>
          <ac:spMkLst>
            <pc:docMk/>
            <pc:sldMk cId="3274212698" sldId="1925"/>
            <ac:spMk id="44" creationId="{411193A8-7FDF-4516-9582-7F8223998366}"/>
          </ac:spMkLst>
        </pc:spChg>
        <pc:spChg chg="del">
          <ac:chgData name="Aurelien Domont" userId="6da7715ce44349b3" providerId="LiveId" clId="{E6277905-FCCE-4B88-BAD6-C5854D60B696}" dt="2021-05-19T06:44:02.951" v="1138" actId="478"/>
          <ac:spMkLst>
            <pc:docMk/>
            <pc:sldMk cId="3274212698" sldId="1925"/>
            <ac:spMk id="45" creationId="{F77BF668-13F9-4E2F-B2A0-A370A4533CBC}"/>
          </ac:spMkLst>
        </pc:spChg>
        <pc:spChg chg="del">
          <ac:chgData name="Aurelien Domont" userId="6da7715ce44349b3" providerId="LiveId" clId="{E6277905-FCCE-4B88-BAD6-C5854D60B696}" dt="2021-05-19T06:44:02.951" v="1138" actId="478"/>
          <ac:spMkLst>
            <pc:docMk/>
            <pc:sldMk cId="3274212698" sldId="1925"/>
            <ac:spMk id="46" creationId="{8E933AF5-28A9-4624-8233-36924701A2D3}"/>
          </ac:spMkLst>
        </pc:spChg>
        <pc:spChg chg="del">
          <ac:chgData name="Aurelien Domont" userId="6da7715ce44349b3" providerId="LiveId" clId="{E6277905-FCCE-4B88-BAD6-C5854D60B696}" dt="2021-05-19T06:44:02.951" v="1138" actId="478"/>
          <ac:spMkLst>
            <pc:docMk/>
            <pc:sldMk cId="3274212698" sldId="1925"/>
            <ac:spMk id="47" creationId="{514BD66A-7DFE-4DC0-BD92-3FE6154D10AE}"/>
          </ac:spMkLst>
        </pc:spChg>
        <pc:spChg chg="del">
          <ac:chgData name="Aurelien Domont" userId="6da7715ce44349b3" providerId="LiveId" clId="{E6277905-FCCE-4B88-BAD6-C5854D60B696}" dt="2021-05-19T06:44:02.951" v="1138" actId="478"/>
          <ac:spMkLst>
            <pc:docMk/>
            <pc:sldMk cId="3274212698" sldId="1925"/>
            <ac:spMk id="48" creationId="{A74BC356-AD5C-4CE9-BA6C-95605462BF66}"/>
          </ac:spMkLst>
        </pc:spChg>
        <pc:spChg chg="del">
          <ac:chgData name="Aurelien Domont" userId="6da7715ce44349b3" providerId="LiveId" clId="{E6277905-FCCE-4B88-BAD6-C5854D60B696}" dt="2021-05-19T06:44:02.951" v="1138" actId="478"/>
          <ac:spMkLst>
            <pc:docMk/>
            <pc:sldMk cId="3274212698" sldId="1925"/>
            <ac:spMk id="49" creationId="{B43642D1-F386-4B4A-9CC3-A7E2404701A0}"/>
          </ac:spMkLst>
        </pc:spChg>
        <pc:spChg chg="del">
          <ac:chgData name="Aurelien Domont" userId="6da7715ce44349b3" providerId="LiveId" clId="{E6277905-FCCE-4B88-BAD6-C5854D60B696}" dt="2021-05-19T06:44:02.951" v="1138" actId="478"/>
          <ac:spMkLst>
            <pc:docMk/>
            <pc:sldMk cId="3274212698" sldId="1925"/>
            <ac:spMk id="50" creationId="{90107E7F-DBC3-49BD-8C62-6977301018C8}"/>
          </ac:spMkLst>
        </pc:spChg>
        <pc:spChg chg="del">
          <ac:chgData name="Aurelien Domont" userId="6da7715ce44349b3" providerId="LiveId" clId="{E6277905-FCCE-4B88-BAD6-C5854D60B696}" dt="2021-05-19T06:44:02.951" v="1138" actId="478"/>
          <ac:spMkLst>
            <pc:docMk/>
            <pc:sldMk cId="3274212698" sldId="1925"/>
            <ac:spMk id="59" creationId="{17CFC19B-CFD4-4FBA-8E77-47ED02F3E8D3}"/>
          </ac:spMkLst>
        </pc:spChg>
        <pc:spChg chg="del">
          <ac:chgData name="Aurelien Domont" userId="6da7715ce44349b3" providerId="LiveId" clId="{E6277905-FCCE-4B88-BAD6-C5854D60B696}" dt="2021-05-19T06:44:02.951" v="1138" actId="478"/>
          <ac:spMkLst>
            <pc:docMk/>
            <pc:sldMk cId="3274212698" sldId="1925"/>
            <ac:spMk id="60" creationId="{695C4FA9-2B8E-4FB8-93E0-7A02320B5483}"/>
          </ac:spMkLst>
        </pc:spChg>
        <pc:spChg chg="del">
          <ac:chgData name="Aurelien Domont" userId="6da7715ce44349b3" providerId="LiveId" clId="{E6277905-FCCE-4B88-BAD6-C5854D60B696}" dt="2021-05-19T06:44:02.951" v="1138" actId="478"/>
          <ac:spMkLst>
            <pc:docMk/>
            <pc:sldMk cId="3274212698" sldId="1925"/>
            <ac:spMk id="61" creationId="{F4E5E171-5D7F-4FAF-93CF-CB62F4A1F2E9}"/>
          </ac:spMkLst>
        </pc:spChg>
        <pc:spChg chg="del">
          <ac:chgData name="Aurelien Domont" userId="6da7715ce44349b3" providerId="LiveId" clId="{E6277905-FCCE-4B88-BAD6-C5854D60B696}" dt="2021-05-19T06:44:02.951" v="1138" actId="478"/>
          <ac:spMkLst>
            <pc:docMk/>
            <pc:sldMk cId="3274212698" sldId="1925"/>
            <ac:spMk id="62" creationId="{CD05CB2E-DBDA-4A1B-94E2-D867171F59FE}"/>
          </ac:spMkLst>
        </pc:spChg>
        <pc:spChg chg="del">
          <ac:chgData name="Aurelien Domont" userId="6da7715ce44349b3" providerId="LiveId" clId="{E6277905-FCCE-4B88-BAD6-C5854D60B696}" dt="2021-05-19T06:44:02.951" v="1138" actId="478"/>
          <ac:spMkLst>
            <pc:docMk/>
            <pc:sldMk cId="3274212698" sldId="1925"/>
            <ac:spMk id="63" creationId="{470F2536-F17A-4FD5-86E3-1E1195927B69}"/>
          </ac:spMkLst>
        </pc:spChg>
        <pc:spChg chg="del">
          <ac:chgData name="Aurelien Domont" userId="6da7715ce44349b3" providerId="LiveId" clId="{E6277905-FCCE-4B88-BAD6-C5854D60B696}" dt="2021-05-19T06:44:02.951" v="1138" actId="478"/>
          <ac:spMkLst>
            <pc:docMk/>
            <pc:sldMk cId="3274212698" sldId="1925"/>
            <ac:spMk id="64" creationId="{3E229F8E-1ADC-441D-9585-3A2C8AD31EE1}"/>
          </ac:spMkLst>
        </pc:spChg>
        <pc:spChg chg="del">
          <ac:chgData name="Aurelien Domont" userId="6da7715ce44349b3" providerId="LiveId" clId="{E6277905-FCCE-4B88-BAD6-C5854D60B696}" dt="2021-05-19T06:44:02.951" v="1138" actId="478"/>
          <ac:spMkLst>
            <pc:docMk/>
            <pc:sldMk cId="3274212698" sldId="1925"/>
            <ac:spMk id="65" creationId="{582A4E88-3E6E-4B57-9921-2E01D1CB84B1}"/>
          </ac:spMkLst>
        </pc:spChg>
        <pc:spChg chg="del">
          <ac:chgData name="Aurelien Domont" userId="6da7715ce44349b3" providerId="LiveId" clId="{E6277905-FCCE-4B88-BAD6-C5854D60B696}" dt="2021-05-19T06:44:02.951" v="1138" actId="478"/>
          <ac:spMkLst>
            <pc:docMk/>
            <pc:sldMk cId="3274212698" sldId="1925"/>
            <ac:spMk id="67" creationId="{04C18065-77FD-459E-88D7-A7F468352973}"/>
          </ac:spMkLst>
        </pc:spChg>
        <pc:spChg chg="del">
          <ac:chgData name="Aurelien Domont" userId="6da7715ce44349b3" providerId="LiveId" clId="{E6277905-FCCE-4B88-BAD6-C5854D60B696}" dt="2021-05-19T06:44:02.951" v="1138" actId="478"/>
          <ac:spMkLst>
            <pc:docMk/>
            <pc:sldMk cId="3274212698" sldId="1925"/>
            <ac:spMk id="68" creationId="{5579B3EC-9EEB-4609-8D9D-F20B76F96151}"/>
          </ac:spMkLst>
        </pc:spChg>
        <pc:spChg chg="del">
          <ac:chgData name="Aurelien Domont" userId="6da7715ce44349b3" providerId="LiveId" clId="{E6277905-FCCE-4B88-BAD6-C5854D60B696}" dt="2021-05-19T06:44:02.951" v="1138" actId="478"/>
          <ac:spMkLst>
            <pc:docMk/>
            <pc:sldMk cId="3274212698" sldId="1925"/>
            <ac:spMk id="70" creationId="{CB1C877D-16A2-4DB0-BED8-3B0FFFB64706}"/>
          </ac:spMkLst>
        </pc:spChg>
        <pc:spChg chg="del">
          <ac:chgData name="Aurelien Domont" userId="6da7715ce44349b3" providerId="LiveId" clId="{E6277905-FCCE-4B88-BAD6-C5854D60B696}" dt="2021-05-19T06:44:02.951" v="1138" actId="478"/>
          <ac:spMkLst>
            <pc:docMk/>
            <pc:sldMk cId="3274212698" sldId="1925"/>
            <ac:spMk id="71" creationId="{08230361-6FC5-4337-BAC4-7E325C461DA8}"/>
          </ac:spMkLst>
        </pc:spChg>
        <pc:spChg chg="del">
          <ac:chgData name="Aurelien Domont" userId="6da7715ce44349b3" providerId="LiveId" clId="{E6277905-FCCE-4B88-BAD6-C5854D60B696}" dt="2021-05-19T06:44:02.951" v="1138" actId="478"/>
          <ac:spMkLst>
            <pc:docMk/>
            <pc:sldMk cId="3274212698" sldId="1925"/>
            <ac:spMk id="74" creationId="{EBD37F0A-29E0-4969-B5EC-4141D2BB6320}"/>
          </ac:spMkLst>
        </pc:spChg>
        <pc:spChg chg="del">
          <ac:chgData name="Aurelien Domont" userId="6da7715ce44349b3" providerId="LiveId" clId="{E6277905-FCCE-4B88-BAD6-C5854D60B696}" dt="2021-05-19T06:44:02.951" v="1138" actId="478"/>
          <ac:spMkLst>
            <pc:docMk/>
            <pc:sldMk cId="3274212698" sldId="1925"/>
            <ac:spMk id="75" creationId="{C4AA2ACA-39B4-442C-B099-063BDA1B897F}"/>
          </ac:spMkLst>
        </pc:spChg>
        <pc:spChg chg="del">
          <ac:chgData name="Aurelien Domont" userId="6da7715ce44349b3" providerId="LiveId" clId="{E6277905-FCCE-4B88-BAD6-C5854D60B696}" dt="2021-05-19T06:44:02.951" v="1138" actId="478"/>
          <ac:spMkLst>
            <pc:docMk/>
            <pc:sldMk cId="3274212698" sldId="1925"/>
            <ac:spMk id="76" creationId="{C7E64FD9-D958-4425-99D6-C3E50B606C24}"/>
          </ac:spMkLst>
        </pc:spChg>
        <pc:spChg chg="del">
          <ac:chgData name="Aurelien Domont" userId="6da7715ce44349b3" providerId="LiveId" clId="{E6277905-FCCE-4B88-BAD6-C5854D60B696}" dt="2021-05-19T06:44:02.951" v="1138" actId="478"/>
          <ac:spMkLst>
            <pc:docMk/>
            <pc:sldMk cId="3274212698" sldId="1925"/>
            <ac:spMk id="78" creationId="{AFA816E6-1329-4FC9-8CAA-8F49CFA1DFBC}"/>
          </ac:spMkLst>
        </pc:spChg>
        <pc:spChg chg="del">
          <ac:chgData name="Aurelien Domont" userId="6da7715ce44349b3" providerId="LiveId" clId="{E6277905-FCCE-4B88-BAD6-C5854D60B696}" dt="2021-05-19T06:44:02.951" v="1138" actId="478"/>
          <ac:spMkLst>
            <pc:docMk/>
            <pc:sldMk cId="3274212698" sldId="1925"/>
            <ac:spMk id="79" creationId="{ACC84311-B402-461E-AAFC-27D36981BAB2}"/>
          </ac:spMkLst>
        </pc:spChg>
        <pc:spChg chg="add mod">
          <ac:chgData name="Aurelien Domont" userId="6da7715ce44349b3" providerId="LiveId" clId="{E6277905-FCCE-4B88-BAD6-C5854D60B696}" dt="2021-05-19T06:45:08.943" v="1139"/>
          <ac:spMkLst>
            <pc:docMk/>
            <pc:sldMk cId="3274212698" sldId="1925"/>
            <ac:spMk id="82" creationId="{6811F91F-B232-427E-8EA1-0BB3DD3C51C0}"/>
          </ac:spMkLst>
        </pc:spChg>
        <pc:spChg chg="add mod">
          <ac:chgData name="Aurelien Domont" userId="6da7715ce44349b3" providerId="LiveId" clId="{E6277905-FCCE-4B88-BAD6-C5854D60B696}" dt="2021-05-19T06:45:08.943" v="1139"/>
          <ac:spMkLst>
            <pc:docMk/>
            <pc:sldMk cId="3274212698" sldId="1925"/>
            <ac:spMk id="83" creationId="{AAC49384-107F-45CD-909C-F6FDB30DF078}"/>
          </ac:spMkLst>
        </pc:spChg>
        <pc:spChg chg="add mod">
          <ac:chgData name="Aurelien Domont" userId="6da7715ce44349b3" providerId="LiveId" clId="{E6277905-FCCE-4B88-BAD6-C5854D60B696}" dt="2021-05-19T06:45:08.943" v="1139"/>
          <ac:spMkLst>
            <pc:docMk/>
            <pc:sldMk cId="3274212698" sldId="1925"/>
            <ac:spMk id="84" creationId="{888D5CDC-366F-4498-8F92-1BA9C0FD9FB3}"/>
          </ac:spMkLst>
        </pc:spChg>
        <pc:spChg chg="add mod">
          <ac:chgData name="Aurelien Domont" userId="6da7715ce44349b3" providerId="LiveId" clId="{E6277905-FCCE-4B88-BAD6-C5854D60B696}" dt="2021-05-19T06:45:08.943" v="1139"/>
          <ac:spMkLst>
            <pc:docMk/>
            <pc:sldMk cId="3274212698" sldId="1925"/>
            <ac:spMk id="85" creationId="{0E16496C-7686-4070-9D81-F36A72936A6A}"/>
          </ac:spMkLst>
        </pc:spChg>
        <pc:spChg chg="add mod">
          <ac:chgData name="Aurelien Domont" userId="6da7715ce44349b3" providerId="LiveId" clId="{E6277905-FCCE-4B88-BAD6-C5854D60B696}" dt="2021-05-19T06:45:08.943" v="1139"/>
          <ac:spMkLst>
            <pc:docMk/>
            <pc:sldMk cId="3274212698" sldId="1925"/>
            <ac:spMk id="86" creationId="{127F6FD2-4304-4DFA-A08B-BB3C214889AF}"/>
          </ac:spMkLst>
        </pc:spChg>
        <pc:spChg chg="add mod">
          <ac:chgData name="Aurelien Domont" userId="6da7715ce44349b3" providerId="LiveId" clId="{E6277905-FCCE-4B88-BAD6-C5854D60B696}" dt="2021-05-19T06:45:08.943" v="1139"/>
          <ac:spMkLst>
            <pc:docMk/>
            <pc:sldMk cId="3274212698" sldId="1925"/>
            <ac:spMk id="87" creationId="{A71BA3C2-E523-4189-B411-ED11F9ECB38B}"/>
          </ac:spMkLst>
        </pc:spChg>
        <pc:spChg chg="add mod">
          <ac:chgData name="Aurelien Domont" userId="6da7715ce44349b3" providerId="LiveId" clId="{E6277905-FCCE-4B88-BAD6-C5854D60B696}" dt="2021-05-19T06:45:08.943" v="1139"/>
          <ac:spMkLst>
            <pc:docMk/>
            <pc:sldMk cId="3274212698" sldId="1925"/>
            <ac:spMk id="88" creationId="{766A1229-361F-44BF-89FD-2D51ADB3BA94}"/>
          </ac:spMkLst>
        </pc:spChg>
        <pc:spChg chg="mod">
          <ac:chgData name="Aurelien Domont" userId="6da7715ce44349b3" providerId="LiveId" clId="{E6277905-FCCE-4B88-BAD6-C5854D60B696}" dt="2021-05-19T06:45:08.943" v="1139"/>
          <ac:spMkLst>
            <pc:docMk/>
            <pc:sldMk cId="3274212698" sldId="1925"/>
            <ac:spMk id="90" creationId="{52FECA04-FE94-4CD4-A547-117453F9F109}"/>
          </ac:spMkLst>
        </pc:spChg>
        <pc:spChg chg="mod">
          <ac:chgData name="Aurelien Domont" userId="6da7715ce44349b3" providerId="LiveId" clId="{E6277905-FCCE-4B88-BAD6-C5854D60B696}" dt="2021-05-19T06:45:08.943" v="1139"/>
          <ac:spMkLst>
            <pc:docMk/>
            <pc:sldMk cId="3274212698" sldId="1925"/>
            <ac:spMk id="91" creationId="{A372959C-3AFF-472F-8D6F-FCBBC776AA53}"/>
          </ac:spMkLst>
        </pc:spChg>
        <pc:spChg chg="mod">
          <ac:chgData name="Aurelien Domont" userId="6da7715ce44349b3" providerId="LiveId" clId="{E6277905-FCCE-4B88-BAD6-C5854D60B696}" dt="2021-05-19T06:45:08.943" v="1139"/>
          <ac:spMkLst>
            <pc:docMk/>
            <pc:sldMk cId="3274212698" sldId="1925"/>
            <ac:spMk id="92" creationId="{1F420D8E-C094-4A16-97C1-B7ADE0D46800}"/>
          </ac:spMkLst>
        </pc:spChg>
        <pc:spChg chg="add mod">
          <ac:chgData name="Aurelien Domont" userId="6da7715ce44349b3" providerId="LiveId" clId="{E6277905-FCCE-4B88-BAD6-C5854D60B696}" dt="2021-05-19T06:45:08.943" v="1139"/>
          <ac:spMkLst>
            <pc:docMk/>
            <pc:sldMk cId="3274212698" sldId="1925"/>
            <ac:spMk id="97" creationId="{E770489E-EA82-4CFA-B698-A7C53ADB8BC7}"/>
          </ac:spMkLst>
        </pc:spChg>
        <pc:spChg chg="add mod">
          <ac:chgData name="Aurelien Domont" userId="6da7715ce44349b3" providerId="LiveId" clId="{E6277905-FCCE-4B88-BAD6-C5854D60B696}" dt="2021-05-19T06:45:08.943" v="1139"/>
          <ac:spMkLst>
            <pc:docMk/>
            <pc:sldMk cId="3274212698" sldId="1925"/>
            <ac:spMk id="98" creationId="{12447D7D-E5EE-4686-A7DF-7DCA86978787}"/>
          </ac:spMkLst>
        </pc:spChg>
        <pc:spChg chg="add mod">
          <ac:chgData name="Aurelien Domont" userId="6da7715ce44349b3" providerId="LiveId" clId="{E6277905-FCCE-4B88-BAD6-C5854D60B696}" dt="2021-05-19T06:45:08.943" v="1139"/>
          <ac:spMkLst>
            <pc:docMk/>
            <pc:sldMk cId="3274212698" sldId="1925"/>
            <ac:spMk id="99" creationId="{B7374880-E0FF-410F-9F48-D2CDE07B8105}"/>
          </ac:spMkLst>
        </pc:spChg>
        <pc:spChg chg="add mod">
          <ac:chgData name="Aurelien Domont" userId="6da7715ce44349b3" providerId="LiveId" clId="{E6277905-FCCE-4B88-BAD6-C5854D60B696}" dt="2021-05-19T06:45:08.943" v="1139"/>
          <ac:spMkLst>
            <pc:docMk/>
            <pc:sldMk cId="3274212698" sldId="1925"/>
            <ac:spMk id="100" creationId="{76415466-16C6-4662-8EB0-14B506132EBB}"/>
          </ac:spMkLst>
        </pc:spChg>
        <pc:spChg chg="add mod">
          <ac:chgData name="Aurelien Domont" userId="6da7715ce44349b3" providerId="LiveId" clId="{E6277905-FCCE-4B88-BAD6-C5854D60B696}" dt="2021-05-19T06:45:08.943" v="1139"/>
          <ac:spMkLst>
            <pc:docMk/>
            <pc:sldMk cId="3274212698" sldId="1925"/>
            <ac:spMk id="101" creationId="{72A1A962-A60A-4408-8E61-EA23F7F3E1A1}"/>
          </ac:spMkLst>
        </pc:spChg>
        <pc:spChg chg="add mod">
          <ac:chgData name="Aurelien Domont" userId="6da7715ce44349b3" providerId="LiveId" clId="{E6277905-FCCE-4B88-BAD6-C5854D60B696}" dt="2021-05-19T06:45:08.943" v="1139"/>
          <ac:spMkLst>
            <pc:docMk/>
            <pc:sldMk cId="3274212698" sldId="1925"/>
            <ac:spMk id="102" creationId="{EB30F586-B7B6-4A72-B28B-16A4112D8796}"/>
          </ac:spMkLst>
        </pc:spChg>
        <pc:spChg chg="add mod">
          <ac:chgData name="Aurelien Domont" userId="6da7715ce44349b3" providerId="LiveId" clId="{E6277905-FCCE-4B88-BAD6-C5854D60B696}" dt="2021-05-19T06:45:08.943" v="1139"/>
          <ac:spMkLst>
            <pc:docMk/>
            <pc:sldMk cId="3274212698" sldId="1925"/>
            <ac:spMk id="103" creationId="{AA8283F7-A9A6-4E77-987A-4ADEB5C26C81}"/>
          </ac:spMkLst>
        </pc:spChg>
        <pc:spChg chg="add mod">
          <ac:chgData name="Aurelien Domont" userId="6da7715ce44349b3" providerId="LiveId" clId="{E6277905-FCCE-4B88-BAD6-C5854D60B696}" dt="2021-05-19T06:45:08.943" v="1139"/>
          <ac:spMkLst>
            <pc:docMk/>
            <pc:sldMk cId="3274212698" sldId="1925"/>
            <ac:spMk id="105" creationId="{A358FC29-7E29-44E1-A1BF-BA88F2E760B8}"/>
          </ac:spMkLst>
        </pc:spChg>
        <pc:spChg chg="add mod">
          <ac:chgData name="Aurelien Domont" userId="6da7715ce44349b3" providerId="LiveId" clId="{E6277905-FCCE-4B88-BAD6-C5854D60B696}" dt="2021-05-19T06:45:08.943" v="1139"/>
          <ac:spMkLst>
            <pc:docMk/>
            <pc:sldMk cId="3274212698" sldId="1925"/>
            <ac:spMk id="106" creationId="{FC7CAB25-A186-4536-9A49-30F317025553}"/>
          </ac:spMkLst>
        </pc:spChg>
        <pc:spChg chg="add mod">
          <ac:chgData name="Aurelien Domont" userId="6da7715ce44349b3" providerId="LiveId" clId="{E6277905-FCCE-4B88-BAD6-C5854D60B696}" dt="2021-05-19T06:45:08.943" v="1139"/>
          <ac:spMkLst>
            <pc:docMk/>
            <pc:sldMk cId="3274212698" sldId="1925"/>
            <ac:spMk id="108" creationId="{25E2FD35-ABF8-4B86-9228-17BAFB2B4F3B}"/>
          </ac:spMkLst>
        </pc:spChg>
        <pc:spChg chg="add mod">
          <ac:chgData name="Aurelien Domont" userId="6da7715ce44349b3" providerId="LiveId" clId="{E6277905-FCCE-4B88-BAD6-C5854D60B696}" dt="2021-05-19T06:45:08.943" v="1139"/>
          <ac:spMkLst>
            <pc:docMk/>
            <pc:sldMk cId="3274212698" sldId="1925"/>
            <ac:spMk id="109" creationId="{F2DC97CE-688B-4C4C-A8E8-A8E31BF663E9}"/>
          </ac:spMkLst>
        </pc:spChg>
        <pc:spChg chg="add mod">
          <ac:chgData name="Aurelien Domont" userId="6da7715ce44349b3" providerId="LiveId" clId="{E6277905-FCCE-4B88-BAD6-C5854D60B696}" dt="2021-05-19T06:45:08.943" v="1139"/>
          <ac:spMkLst>
            <pc:docMk/>
            <pc:sldMk cId="3274212698" sldId="1925"/>
            <ac:spMk id="111" creationId="{20264536-8DBF-4607-8B09-E74BA49D9878}"/>
          </ac:spMkLst>
        </pc:spChg>
        <pc:spChg chg="add mod">
          <ac:chgData name="Aurelien Domont" userId="6da7715ce44349b3" providerId="LiveId" clId="{E6277905-FCCE-4B88-BAD6-C5854D60B696}" dt="2021-05-19T06:45:08.943" v="1139"/>
          <ac:spMkLst>
            <pc:docMk/>
            <pc:sldMk cId="3274212698" sldId="1925"/>
            <ac:spMk id="112" creationId="{868F2369-1DB3-4017-A4A9-76D43C563CD4}"/>
          </ac:spMkLst>
        </pc:spChg>
        <pc:spChg chg="add mod">
          <ac:chgData name="Aurelien Domont" userId="6da7715ce44349b3" providerId="LiveId" clId="{E6277905-FCCE-4B88-BAD6-C5854D60B696}" dt="2021-05-19T06:45:08.943" v="1139"/>
          <ac:spMkLst>
            <pc:docMk/>
            <pc:sldMk cId="3274212698" sldId="1925"/>
            <ac:spMk id="114" creationId="{CDC3F07F-2D23-470D-B603-3FD8AB1ADAE6}"/>
          </ac:spMkLst>
        </pc:spChg>
        <pc:spChg chg="add mod">
          <ac:chgData name="Aurelien Domont" userId="6da7715ce44349b3" providerId="LiveId" clId="{E6277905-FCCE-4B88-BAD6-C5854D60B696}" dt="2021-05-19T06:45:08.943" v="1139"/>
          <ac:spMkLst>
            <pc:docMk/>
            <pc:sldMk cId="3274212698" sldId="1925"/>
            <ac:spMk id="115" creationId="{D0ADBC97-04C2-44A6-9094-FEE29F8B7AA5}"/>
          </ac:spMkLst>
        </pc:spChg>
        <pc:spChg chg="add mod">
          <ac:chgData name="Aurelien Domont" userId="6da7715ce44349b3" providerId="LiveId" clId="{E6277905-FCCE-4B88-BAD6-C5854D60B696}" dt="2021-05-19T06:45:08.943" v="1139"/>
          <ac:spMkLst>
            <pc:docMk/>
            <pc:sldMk cId="3274212698" sldId="1925"/>
            <ac:spMk id="116" creationId="{9A37BDF5-FBB8-46A2-ADFF-7BB4832D9805}"/>
          </ac:spMkLst>
        </pc:spChg>
        <pc:spChg chg="add mod">
          <ac:chgData name="Aurelien Domont" userId="6da7715ce44349b3" providerId="LiveId" clId="{E6277905-FCCE-4B88-BAD6-C5854D60B696}" dt="2021-05-19T06:45:08.943" v="1139"/>
          <ac:spMkLst>
            <pc:docMk/>
            <pc:sldMk cId="3274212698" sldId="1925"/>
            <ac:spMk id="117" creationId="{E2B7F8CB-E3EF-4740-BA5F-AC69AEE785D4}"/>
          </ac:spMkLst>
        </pc:spChg>
        <pc:grpChg chg="del">
          <ac:chgData name="Aurelien Domont" userId="6da7715ce44349b3" providerId="LiveId" clId="{E6277905-FCCE-4B88-BAD6-C5854D60B696}" dt="2021-05-19T06:44:02.951" v="1138" actId="478"/>
          <ac:grpSpMkLst>
            <pc:docMk/>
            <pc:sldMk cId="3274212698" sldId="1925"/>
            <ac:grpSpMk id="51" creationId="{02FE18B2-1EE1-423B-AA56-2E1957D32FB5}"/>
          </ac:grpSpMkLst>
        </pc:grpChg>
        <pc:grpChg chg="add mod">
          <ac:chgData name="Aurelien Domont" userId="6da7715ce44349b3" providerId="LiveId" clId="{E6277905-FCCE-4B88-BAD6-C5854D60B696}" dt="2021-05-19T06:45:08.943" v="1139"/>
          <ac:grpSpMkLst>
            <pc:docMk/>
            <pc:sldMk cId="3274212698" sldId="1925"/>
            <ac:grpSpMk id="89" creationId="{3955A9F5-B7CD-4F64-90B8-D5971EBAE0DD}"/>
          </ac:grpSpMkLst>
        </pc:grpChg>
        <pc:picChg chg="del">
          <ac:chgData name="Aurelien Domont" userId="6da7715ce44349b3" providerId="LiveId" clId="{E6277905-FCCE-4B88-BAD6-C5854D60B696}" dt="2021-05-19T06:44:02.951" v="1138" actId="478"/>
          <ac:picMkLst>
            <pc:docMk/>
            <pc:sldMk cId="3274212698" sldId="1925"/>
            <ac:picMk id="55" creationId="{A4FA445D-A84A-41ED-8E02-195CF8F8A81D}"/>
          </ac:picMkLst>
        </pc:picChg>
        <pc:picChg chg="del">
          <ac:chgData name="Aurelien Domont" userId="6da7715ce44349b3" providerId="LiveId" clId="{E6277905-FCCE-4B88-BAD6-C5854D60B696}" dt="2021-05-19T06:44:02.951" v="1138" actId="478"/>
          <ac:picMkLst>
            <pc:docMk/>
            <pc:sldMk cId="3274212698" sldId="1925"/>
            <ac:picMk id="56" creationId="{64ADD5FF-156B-4D9B-A8EF-89EB7E6D3FBF}"/>
          </ac:picMkLst>
        </pc:picChg>
        <pc:picChg chg="del">
          <ac:chgData name="Aurelien Domont" userId="6da7715ce44349b3" providerId="LiveId" clId="{E6277905-FCCE-4B88-BAD6-C5854D60B696}" dt="2021-05-19T06:44:02.951" v="1138" actId="478"/>
          <ac:picMkLst>
            <pc:docMk/>
            <pc:sldMk cId="3274212698" sldId="1925"/>
            <ac:picMk id="57" creationId="{FB803174-AE02-400E-9C93-D03E88712308}"/>
          </ac:picMkLst>
        </pc:picChg>
        <pc:picChg chg="del">
          <ac:chgData name="Aurelien Domont" userId="6da7715ce44349b3" providerId="LiveId" clId="{E6277905-FCCE-4B88-BAD6-C5854D60B696}" dt="2021-05-19T06:44:02.951" v="1138" actId="478"/>
          <ac:picMkLst>
            <pc:docMk/>
            <pc:sldMk cId="3274212698" sldId="1925"/>
            <ac:picMk id="58" creationId="{D4A6C9F0-BCEF-4AFF-9704-E4BF64DB0ADD}"/>
          </ac:picMkLst>
        </pc:picChg>
        <pc:picChg chg="del">
          <ac:chgData name="Aurelien Domont" userId="6da7715ce44349b3" providerId="LiveId" clId="{E6277905-FCCE-4B88-BAD6-C5854D60B696}" dt="2021-05-19T06:44:02.951" v="1138" actId="478"/>
          <ac:picMkLst>
            <pc:docMk/>
            <pc:sldMk cId="3274212698" sldId="1925"/>
            <ac:picMk id="66" creationId="{9A15547F-27C7-494F-9B37-6EB3ED04DB87}"/>
          </ac:picMkLst>
        </pc:picChg>
        <pc:picChg chg="del">
          <ac:chgData name="Aurelien Domont" userId="6da7715ce44349b3" providerId="LiveId" clId="{E6277905-FCCE-4B88-BAD6-C5854D60B696}" dt="2021-05-19T06:44:02.951" v="1138" actId="478"/>
          <ac:picMkLst>
            <pc:docMk/>
            <pc:sldMk cId="3274212698" sldId="1925"/>
            <ac:picMk id="69" creationId="{7D2EA8E4-AEED-45E4-851F-DDA0ED3FADFB}"/>
          </ac:picMkLst>
        </pc:picChg>
        <pc:picChg chg="del">
          <ac:chgData name="Aurelien Domont" userId="6da7715ce44349b3" providerId="LiveId" clId="{E6277905-FCCE-4B88-BAD6-C5854D60B696}" dt="2021-05-19T06:44:02.951" v="1138" actId="478"/>
          <ac:picMkLst>
            <pc:docMk/>
            <pc:sldMk cId="3274212698" sldId="1925"/>
            <ac:picMk id="72" creationId="{3E3C36E9-A83F-4982-AF48-F596BB1975B8}"/>
          </ac:picMkLst>
        </pc:picChg>
        <pc:picChg chg="del">
          <ac:chgData name="Aurelien Domont" userId="6da7715ce44349b3" providerId="LiveId" clId="{E6277905-FCCE-4B88-BAD6-C5854D60B696}" dt="2021-05-19T06:44:02.951" v="1138" actId="478"/>
          <ac:picMkLst>
            <pc:docMk/>
            <pc:sldMk cId="3274212698" sldId="1925"/>
            <ac:picMk id="73" creationId="{E75442E2-71E9-44FC-A238-51195747C8BC}"/>
          </ac:picMkLst>
        </pc:picChg>
        <pc:picChg chg="del">
          <ac:chgData name="Aurelien Domont" userId="6da7715ce44349b3" providerId="LiveId" clId="{E6277905-FCCE-4B88-BAD6-C5854D60B696}" dt="2021-05-19T06:44:02.951" v="1138" actId="478"/>
          <ac:picMkLst>
            <pc:docMk/>
            <pc:sldMk cId="3274212698" sldId="1925"/>
            <ac:picMk id="77" creationId="{8008FDF0-7F97-4342-A1DE-7763174709E6}"/>
          </ac:picMkLst>
        </pc:picChg>
        <pc:picChg chg="del">
          <ac:chgData name="Aurelien Domont" userId="6da7715ce44349b3" providerId="LiveId" clId="{E6277905-FCCE-4B88-BAD6-C5854D60B696}" dt="2021-05-19T06:44:02.951" v="1138" actId="478"/>
          <ac:picMkLst>
            <pc:docMk/>
            <pc:sldMk cId="3274212698" sldId="1925"/>
            <ac:picMk id="80" creationId="{39C7C8E8-3819-4704-9576-38320744029D}"/>
          </ac:picMkLst>
        </pc:picChg>
        <pc:picChg chg="del">
          <ac:chgData name="Aurelien Domont" userId="6da7715ce44349b3" providerId="LiveId" clId="{E6277905-FCCE-4B88-BAD6-C5854D60B696}" dt="2021-05-19T06:44:02.951" v="1138" actId="478"/>
          <ac:picMkLst>
            <pc:docMk/>
            <pc:sldMk cId="3274212698" sldId="1925"/>
            <ac:picMk id="81" creationId="{E1A1A112-7EBD-45B0-8611-7A7D55304913}"/>
          </ac:picMkLst>
        </pc:picChg>
        <pc:picChg chg="add mod">
          <ac:chgData name="Aurelien Domont" userId="6da7715ce44349b3" providerId="LiveId" clId="{E6277905-FCCE-4B88-BAD6-C5854D60B696}" dt="2021-05-19T06:45:08.943" v="1139"/>
          <ac:picMkLst>
            <pc:docMk/>
            <pc:sldMk cId="3274212698" sldId="1925"/>
            <ac:picMk id="93" creationId="{55D4B895-3F0B-4DD6-853E-DCC05E388F80}"/>
          </ac:picMkLst>
        </pc:picChg>
        <pc:picChg chg="add mod">
          <ac:chgData name="Aurelien Domont" userId="6da7715ce44349b3" providerId="LiveId" clId="{E6277905-FCCE-4B88-BAD6-C5854D60B696}" dt="2021-05-19T06:45:08.943" v="1139"/>
          <ac:picMkLst>
            <pc:docMk/>
            <pc:sldMk cId="3274212698" sldId="1925"/>
            <ac:picMk id="94" creationId="{E6B5A254-7475-41A8-AD4A-41672F41F9AD}"/>
          </ac:picMkLst>
        </pc:picChg>
        <pc:picChg chg="add mod">
          <ac:chgData name="Aurelien Domont" userId="6da7715ce44349b3" providerId="LiveId" clId="{E6277905-FCCE-4B88-BAD6-C5854D60B696}" dt="2021-05-19T06:45:08.943" v="1139"/>
          <ac:picMkLst>
            <pc:docMk/>
            <pc:sldMk cId="3274212698" sldId="1925"/>
            <ac:picMk id="95" creationId="{BAC39F4C-80C6-4F37-939A-FEC43265C745}"/>
          </ac:picMkLst>
        </pc:picChg>
        <pc:picChg chg="add mod">
          <ac:chgData name="Aurelien Domont" userId="6da7715ce44349b3" providerId="LiveId" clId="{E6277905-FCCE-4B88-BAD6-C5854D60B696}" dt="2021-05-19T06:45:08.943" v="1139"/>
          <ac:picMkLst>
            <pc:docMk/>
            <pc:sldMk cId="3274212698" sldId="1925"/>
            <ac:picMk id="96" creationId="{E8DA2080-DD45-41EE-A88B-D78AF94F664B}"/>
          </ac:picMkLst>
        </pc:picChg>
        <pc:picChg chg="add mod">
          <ac:chgData name="Aurelien Domont" userId="6da7715ce44349b3" providerId="LiveId" clId="{E6277905-FCCE-4B88-BAD6-C5854D60B696}" dt="2021-05-19T06:45:08.943" v="1139"/>
          <ac:picMkLst>
            <pc:docMk/>
            <pc:sldMk cId="3274212698" sldId="1925"/>
            <ac:picMk id="104" creationId="{C818559D-D1CC-483D-8C91-4FF20EF6C5E5}"/>
          </ac:picMkLst>
        </pc:picChg>
        <pc:picChg chg="add mod">
          <ac:chgData name="Aurelien Domont" userId="6da7715ce44349b3" providerId="LiveId" clId="{E6277905-FCCE-4B88-BAD6-C5854D60B696}" dt="2021-05-19T06:45:08.943" v="1139"/>
          <ac:picMkLst>
            <pc:docMk/>
            <pc:sldMk cId="3274212698" sldId="1925"/>
            <ac:picMk id="107" creationId="{2BA8F216-B9A4-4F55-8B5D-97927B4A9754}"/>
          </ac:picMkLst>
        </pc:picChg>
        <pc:picChg chg="add mod">
          <ac:chgData name="Aurelien Domont" userId="6da7715ce44349b3" providerId="LiveId" clId="{E6277905-FCCE-4B88-BAD6-C5854D60B696}" dt="2021-05-19T06:45:08.943" v="1139"/>
          <ac:picMkLst>
            <pc:docMk/>
            <pc:sldMk cId="3274212698" sldId="1925"/>
            <ac:picMk id="110" creationId="{AA72594A-CB70-4602-8A29-5BCAD24FC85B}"/>
          </ac:picMkLst>
        </pc:picChg>
        <pc:picChg chg="add mod">
          <ac:chgData name="Aurelien Domont" userId="6da7715ce44349b3" providerId="LiveId" clId="{E6277905-FCCE-4B88-BAD6-C5854D60B696}" dt="2021-05-19T06:45:08.943" v="1139"/>
          <ac:picMkLst>
            <pc:docMk/>
            <pc:sldMk cId="3274212698" sldId="1925"/>
            <ac:picMk id="113" creationId="{BE302D27-2062-4483-BA8A-40643D1A0757}"/>
          </ac:picMkLst>
        </pc:picChg>
        <pc:picChg chg="add mod">
          <ac:chgData name="Aurelien Domont" userId="6da7715ce44349b3" providerId="LiveId" clId="{E6277905-FCCE-4B88-BAD6-C5854D60B696}" dt="2021-05-19T06:45:08.943" v="1139"/>
          <ac:picMkLst>
            <pc:docMk/>
            <pc:sldMk cId="3274212698" sldId="1925"/>
            <ac:picMk id="118" creationId="{56FCC3FA-007A-40E2-B90C-01AFFCF85C47}"/>
          </ac:picMkLst>
        </pc:picChg>
        <pc:picChg chg="add mod">
          <ac:chgData name="Aurelien Domont" userId="6da7715ce44349b3" providerId="LiveId" clId="{E6277905-FCCE-4B88-BAD6-C5854D60B696}" dt="2021-05-19T06:45:08.943" v="1139"/>
          <ac:picMkLst>
            <pc:docMk/>
            <pc:sldMk cId="3274212698" sldId="1925"/>
            <ac:picMk id="119" creationId="{86CC8FE2-E91B-444C-9A8D-5927B10AD0D3}"/>
          </ac:picMkLst>
        </pc:picChg>
        <pc:picChg chg="add mod">
          <ac:chgData name="Aurelien Domont" userId="6da7715ce44349b3" providerId="LiveId" clId="{E6277905-FCCE-4B88-BAD6-C5854D60B696}" dt="2021-05-19T06:45:08.943" v="1139"/>
          <ac:picMkLst>
            <pc:docMk/>
            <pc:sldMk cId="3274212698" sldId="1925"/>
            <ac:picMk id="120" creationId="{7EF86C02-27FF-4AA3-B563-8410E16DC732}"/>
          </ac:picMkLst>
        </pc:picChg>
      </pc:sldChg>
      <pc:sldChg chg="del">
        <pc:chgData name="Aurelien Domont" userId="6da7715ce44349b3" providerId="LiveId" clId="{E6277905-FCCE-4B88-BAD6-C5854D60B696}" dt="2021-05-19T07:18:52.520" v="1773" actId="47"/>
        <pc:sldMkLst>
          <pc:docMk/>
          <pc:sldMk cId="4057054822" sldId="2147"/>
        </pc:sldMkLst>
      </pc:sldChg>
      <pc:sldChg chg="del">
        <pc:chgData name="Aurelien Domont" userId="6da7715ce44349b3" providerId="LiveId" clId="{E6277905-FCCE-4B88-BAD6-C5854D60B696}" dt="2021-05-19T07:18:52.520" v="1773" actId="47"/>
        <pc:sldMkLst>
          <pc:docMk/>
          <pc:sldMk cId="4208437711" sldId="2148"/>
        </pc:sldMkLst>
      </pc:sldChg>
      <pc:sldChg chg="addSp delSp modSp add mod">
        <pc:chgData name="Aurelien Domont" userId="6da7715ce44349b3" providerId="LiveId" clId="{E6277905-FCCE-4B88-BAD6-C5854D60B696}" dt="2021-05-27T01:27:06.051" v="1819" actId="20577"/>
        <pc:sldMkLst>
          <pc:docMk/>
          <pc:sldMk cId="3004254457" sldId="2150"/>
        </pc:sldMkLst>
        <pc:spChg chg="add del mod">
          <ac:chgData name="Aurelien Domont" userId="6da7715ce44349b3" providerId="LiveId" clId="{E6277905-FCCE-4B88-BAD6-C5854D60B696}" dt="2021-05-26T06:40:50.460" v="1781"/>
          <ac:spMkLst>
            <pc:docMk/>
            <pc:sldMk cId="3004254457" sldId="2150"/>
            <ac:spMk id="15" creationId="{289522BB-8120-41ED-8691-D1DB7714657B}"/>
          </ac:spMkLst>
        </pc:spChg>
        <pc:spChg chg="del">
          <ac:chgData name="Aurelien Domont" userId="6da7715ce44349b3" providerId="LiveId" clId="{E6277905-FCCE-4B88-BAD6-C5854D60B696}" dt="2021-05-26T06:40:44.917" v="1778" actId="478"/>
          <ac:spMkLst>
            <pc:docMk/>
            <pc:sldMk cId="3004254457" sldId="2150"/>
            <ac:spMk id="17" creationId="{469F466A-B940-41E3-B12F-110D72502BCE}"/>
          </ac:spMkLst>
        </pc:spChg>
        <pc:spChg chg="add del mod">
          <ac:chgData name="Aurelien Domont" userId="6da7715ce44349b3" providerId="LiveId" clId="{E6277905-FCCE-4B88-BAD6-C5854D60B696}" dt="2021-05-26T06:40:50.460" v="1781"/>
          <ac:spMkLst>
            <pc:docMk/>
            <pc:sldMk cId="3004254457" sldId="2150"/>
            <ac:spMk id="18" creationId="{810A83E6-FE02-4001-9505-44D323E9D95D}"/>
          </ac:spMkLst>
        </pc:spChg>
        <pc:spChg chg="add del mod">
          <ac:chgData name="Aurelien Domont" userId="6da7715ce44349b3" providerId="LiveId" clId="{E6277905-FCCE-4B88-BAD6-C5854D60B696}" dt="2021-05-26T06:40:50.460" v="1781"/>
          <ac:spMkLst>
            <pc:docMk/>
            <pc:sldMk cId="3004254457" sldId="2150"/>
            <ac:spMk id="19" creationId="{6B0700AA-AC6D-4D0E-87F8-23C3C0894B7F}"/>
          </ac:spMkLst>
        </pc:spChg>
        <pc:spChg chg="del">
          <ac:chgData name="Aurelien Domont" userId="6da7715ce44349b3" providerId="LiveId" clId="{E6277905-FCCE-4B88-BAD6-C5854D60B696}" dt="2021-05-26T06:40:44.917" v="1778" actId="478"/>
          <ac:spMkLst>
            <pc:docMk/>
            <pc:sldMk cId="3004254457" sldId="2150"/>
            <ac:spMk id="20" creationId="{3A4E6A8C-908C-49FF-9BF8-90A9FC12224D}"/>
          </ac:spMkLst>
        </pc:spChg>
        <pc:spChg chg="del">
          <ac:chgData name="Aurelien Domont" userId="6da7715ce44349b3" providerId="LiveId" clId="{E6277905-FCCE-4B88-BAD6-C5854D60B696}" dt="2021-05-26T06:40:44.917" v="1778" actId="478"/>
          <ac:spMkLst>
            <pc:docMk/>
            <pc:sldMk cId="3004254457" sldId="2150"/>
            <ac:spMk id="21" creationId="{16FAC062-BB56-4A49-9044-4444E78429DF}"/>
          </ac:spMkLst>
        </pc:spChg>
        <pc:spChg chg="add del mod">
          <ac:chgData name="Aurelien Domont" userId="6da7715ce44349b3" providerId="LiveId" clId="{E6277905-FCCE-4B88-BAD6-C5854D60B696}" dt="2021-05-26T06:40:50.460" v="1781"/>
          <ac:spMkLst>
            <pc:docMk/>
            <pc:sldMk cId="3004254457" sldId="2150"/>
            <ac:spMk id="23" creationId="{DDAAF93C-8394-4D44-BF82-1D40800031E3}"/>
          </ac:spMkLst>
        </pc:spChg>
        <pc:spChg chg="del">
          <ac:chgData name="Aurelien Domont" userId="6da7715ce44349b3" providerId="LiveId" clId="{E6277905-FCCE-4B88-BAD6-C5854D60B696}" dt="2021-05-26T06:40:44.917" v="1778" actId="478"/>
          <ac:spMkLst>
            <pc:docMk/>
            <pc:sldMk cId="3004254457" sldId="2150"/>
            <ac:spMk id="24" creationId="{95714746-22CF-48C5-AD51-9D9AE6E5F2C8}"/>
          </ac:spMkLst>
        </pc:spChg>
        <pc:spChg chg="del">
          <ac:chgData name="Aurelien Domont" userId="6da7715ce44349b3" providerId="LiveId" clId="{E6277905-FCCE-4B88-BAD6-C5854D60B696}" dt="2021-05-26T06:40:48.253" v="1779" actId="478"/>
          <ac:spMkLst>
            <pc:docMk/>
            <pc:sldMk cId="3004254457" sldId="2150"/>
            <ac:spMk id="25" creationId="{0B462317-12E0-4745-AFEC-1DF156C5EB17}"/>
          </ac:spMkLst>
        </pc:spChg>
        <pc:spChg chg="add del mod">
          <ac:chgData name="Aurelien Domont" userId="6da7715ce44349b3" providerId="LiveId" clId="{E6277905-FCCE-4B88-BAD6-C5854D60B696}" dt="2021-05-26T06:40:50.460" v="1781"/>
          <ac:spMkLst>
            <pc:docMk/>
            <pc:sldMk cId="3004254457" sldId="2150"/>
            <ac:spMk id="27" creationId="{1E9241A9-8AC6-40BA-9028-747979496287}"/>
          </ac:spMkLst>
        </pc:spChg>
        <pc:spChg chg="del">
          <ac:chgData name="Aurelien Domont" userId="6da7715ce44349b3" providerId="LiveId" clId="{E6277905-FCCE-4B88-BAD6-C5854D60B696}" dt="2021-05-26T06:40:44.917" v="1778" actId="478"/>
          <ac:spMkLst>
            <pc:docMk/>
            <pc:sldMk cId="3004254457" sldId="2150"/>
            <ac:spMk id="28" creationId="{46F541B2-19A4-48FE-BC36-F95AB3359448}"/>
          </ac:spMkLst>
        </pc:spChg>
        <pc:spChg chg="add del mod">
          <ac:chgData name="Aurelien Domont" userId="6da7715ce44349b3" providerId="LiveId" clId="{E6277905-FCCE-4B88-BAD6-C5854D60B696}" dt="2021-05-26T06:40:50.460" v="1781"/>
          <ac:spMkLst>
            <pc:docMk/>
            <pc:sldMk cId="3004254457" sldId="2150"/>
            <ac:spMk id="29" creationId="{18ED52D6-0147-4100-8A16-A75D674809A5}"/>
          </ac:spMkLst>
        </pc:spChg>
        <pc:spChg chg="add del mod">
          <ac:chgData name="Aurelien Domont" userId="6da7715ce44349b3" providerId="LiveId" clId="{E6277905-FCCE-4B88-BAD6-C5854D60B696}" dt="2021-05-26T06:40:56.939" v="1783" actId="478"/>
          <ac:spMkLst>
            <pc:docMk/>
            <pc:sldMk cId="3004254457" sldId="2150"/>
            <ac:spMk id="31" creationId="{C800D2F5-D2B7-4475-A5E3-A9FE8396C089}"/>
          </ac:spMkLst>
        </pc:spChg>
        <pc:spChg chg="add mod">
          <ac:chgData name="Aurelien Domont" userId="6da7715ce44349b3" providerId="LiveId" clId="{E6277905-FCCE-4B88-BAD6-C5854D60B696}" dt="2021-05-26T06:40:54.163" v="1782"/>
          <ac:spMkLst>
            <pc:docMk/>
            <pc:sldMk cId="3004254457" sldId="2150"/>
            <ac:spMk id="32" creationId="{F4E53BA9-9AB9-48F0-A73B-05C6322E3392}"/>
          </ac:spMkLst>
        </pc:spChg>
        <pc:spChg chg="add mod">
          <ac:chgData name="Aurelien Domont" userId="6da7715ce44349b3" providerId="LiveId" clId="{E6277905-FCCE-4B88-BAD6-C5854D60B696}" dt="2021-05-26T06:40:54.163" v="1782"/>
          <ac:spMkLst>
            <pc:docMk/>
            <pc:sldMk cId="3004254457" sldId="2150"/>
            <ac:spMk id="33" creationId="{CDADC7B4-4779-49A3-9FCF-3DC29EF44738}"/>
          </ac:spMkLst>
        </pc:spChg>
        <pc:spChg chg="add mod">
          <ac:chgData name="Aurelien Domont" userId="6da7715ce44349b3" providerId="LiveId" clId="{E6277905-FCCE-4B88-BAD6-C5854D60B696}" dt="2021-05-26T06:40:59.418" v="1784" actId="108"/>
          <ac:spMkLst>
            <pc:docMk/>
            <pc:sldMk cId="3004254457" sldId="2150"/>
            <ac:spMk id="34" creationId="{30185B92-2394-4D45-8987-284B6B741CF6}"/>
          </ac:spMkLst>
        </pc:spChg>
        <pc:spChg chg="add mod">
          <ac:chgData name="Aurelien Domont" userId="6da7715ce44349b3" providerId="LiveId" clId="{E6277905-FCCE-4B88-BAD6-C5854D60B696}" dt="2021-05-26T06:40:54.163" v="1782"/>
          <ac:spMkLst>
            <pc:docMk/>
            <pc:sldMk cId="3004254457" sldId="2150"/>
            <ac:spMk id="36" creationId="{AAC5EFF7-9581-4CFA-9007-0B2D138DC929}"/>
          </ac:spMkLst>
        </pc:spChg>
        <pc:spChg chg="add mod">
          <ac:chgData name="Aurelien Domont" userId="6da7715ce44349b3" providerId="LiveId" clId="{E6277905-FCCE-4B88-BAD6-C5854D60B696}" dt="2021-05-26T06:40:54.163" v="1782"/>
          <ac:spMkLst>
            <pc:docMk/>
            <pc:sldMk cId="3004254457" sldId="2150"/>
            <ac:spMk id="37" creationId="{97849EAC-234E-45EF-B196-78699AC97FA2}"/>
          </ac:spMkLst>
        </pc:spChg>
        <pc:spChg chg="add mod">
          <ac:chgData name="Aurelien Domont" userId="6da7715ce44349b3" providerId="LiveId" clId="{E6277905-FCCE-4B88-BAD6-C5854D60B696}" dt="2021-05-27T01:27:06.051" v="1819" actId="20577"/>
          <ac:spMkLst>
            <pc:docMk/>
            <pc:sldMk cId="3004254457" sldId="2150"/>
            <ac:spMk id="38" creationId="{3CA2023D-F310-415B-9867-7BDE343D904B}"/>
          </ac:spMkLst>
        </pc:spChg>
        <pc:cxnChg chg="del">
          <ac:chgData name="Aurelien Domont" userId="6da7715ce44349b3" providerId="LiveId" clId="{E6277905-FCCE-4B88-BAD6-C5854D60B696}" dt="2021-05-26T06:40:44.917" v="1778" actId="478"/>
          <ac:cxnSpMkLst>
            <pc:docMk/>
            <pc:sldMk cId="3004254457" sldId="2150"/>
            <ac:cxnSpMk id="14" creationId="{8AF311F1-81EB-4B55-BE8A-132238822DBA}"/>
          </ac:cxnSpMkLst>
        </pc:cxnChg>
        <pc:cxnChg chg="del">
          <ac:chgData name="Aurelien Domont" userId="6da7715ce44349b3" providerId="LiveId" clId="{E6277905-FCCE-4B88-BAD6-C5854D60B696}" dt="2021-05-26T06:40:44.917" v="1778" actId="478"/>
          <ac:cxnSpMkLst>
            <pc:docMk/>
            <pc:sldMk cId="3004254457" sldId="2150"/>
            <ac:cxnSpMk id="22" creationId="{8F214CF9-01D2-40DC-9D6F-DAC675E238D0}"/>
          </ac:cxnSpMkLst>
        </pc:cxnChg>
        <pc:cxnChg chg="add del mod">
          <ac:chgData name="Aurelien Domont" userId="6da7715ce44349b3" providerId="LiveId" clId="{E6277905-FCCE-4B88-BAD6-C5854D60B696}" dt="2021-05-26T06:40:50.460" v="1781"/>
          <ac:cxnSpMkLst>
            <pc:docMk/>
            <pc:sldMk cId="3004254457" sldId="2150"/>
            <ac:cxnSpMk id="26" creationId="{57957259-D5E3-4C24-91F9-79457648283C}"/>
          </ac:cxnSpMkLst>
        </pc:cxnChg>
        <pc:cxnChg chg="add del mod">
          <ac:chgData name="Aurelien Domont" userId="6da7715ce44349b3" providerId="LiveId" clId="{E6277905-FCCE-4B88-BAD6-C5854D60B696}" dt="2021-05-26T06:40:50.460" v="1781"/>
          <ac:cxnSpMkLst>
            <pc:docMk/>
            <pc:sldMk cId="3004254457" sldId="2150"/>
            <ac:cxnSpMk id="30" creationId="{BE7426A9-F6EC-4B08-9D2D-D1185F92903E}"/>
          </ac:cxnSpMkLst>
        </pc:cxnChg>
        <pc:cxnChg chg="add mod">
          <ac:chgData name="Aurelien Domont" userId="6da7715ce44349b3" providerId="LiveId" clId="{E6277905-FCCE-4B88-BAD6-C5854D60B696}" dt="2021-05-26T06:40:54.163" v="1782"/>
          <ac:cxnSpMkLst>
            <pc:docMk/>
            <pc:sldMk cId="3004254457" sldId="2150"/>
            <ac:cxnSpMk id="35" creationId="{AC48342A-109D-4373-B3D7-98BE0267DC04}"/>
          </ac:cxnSpMkLst>
        </pc:cxnChg>
        <pc:cxnChg chg="add mod">
          <ac:chgData name="Aurelien Domont" userId="6da7715ce44349b3" providerId="LiveId" clId="{E6277905-FCCE-4B88-BAD6-C5854D60B696}" dt="2021-05-26T06:40:54.163" v="1782"/>
          <ac:cxnSpMkLst>
            <pc:docMk/>
            <pc:sldMk cId="3004254457" sldId="2150"/>
            <ac:cxnSpMk id="39" creationId="{02DB1088-3FCD-49FB-A3C3-A1CEBA001978}"/>
          </ac:cxnSpMkLst>
        </pc:cxnChg>
      </pc:sldChg>
      <pc:sldChg chg="delSp add del mod">
        <pc:chgData name="Aurelien Domont" userId="6da7715ce44349b3" providerId="LiveId" clId="{E6277905-FCCE-4B88-BAD6-C5854D60B696}" dt="2021-05-19T06:29:07.268" v="922" actId="47"/>
        <pc:sldMkLst>
          <pc:docMk/>
          <pc:sldMk cId="4006627445" sldId="2150"/>
        </pc:sldMkLst>
        <pc:spChg chg="del">
          <ac:chgData name="Aurelien Domont" userId="6da7715ce44349b3" providerId="LiveId" clId="{E6277905-FCCE-4B88-BAD6-C5854D60B696}" dt="2021-05-18T05:50:46.670" v="44" actId="478"/>
          <ac:spMkLst>
            <pc:docMk/>
            <pc:sldMk cId="4006627445" sldId="2150"/>
            <ac:spMk id="14" creationId="{1E88A16D-E54C-45FC-97FE-3A1C196DAF1A}"/>
          </ac:spMkLst>
        </pc:spChg>
      </pc:sldChg>
      <pc:sldChg chg="modSp add del mod">
        <pc:chgData name="Aurelien Domont" userId="6da7715ce44349b3" providerId="LiveId" clId="{E6277905-FCCE-4B88-BAD6-C5854D60B696}" dt="2021-05-19T06:28:23.391" v="921" actId="47"/>
        <pc:sldMkLst>
          <pc:docMk/>
          <pc:sldMk cId="800771593" sldId="2151"/>
        </pc:sldMkLst>
        <pc:spChg chg="mod">
          <ac:chgData name="Aurelien Domont" userId="6da7715ce44349b3" providerId="LiveId" clId="{E6277905-FCCE-4B88-BAD6-C5854D60B696}" dt="2021-05-19T05:54:39.115" v="328" actId="207"/>
          <ac:spMkLst>
            <pc:docMk/>
            <pc:sldMk cId="800771593" sldId="2151"/>
            <ac:spMk id="2" creationId="{8D91CEA2-A9A2-44FD-975C-6F4A2D59641D}"/>
          </ac:spMkLst>
        </pc:spChg>
      </pc:sldChg>
      <pc:sldChg chg="modSp add del mod">
        <pc:chgData name="Aurelien Domont" userId="6da7715ce44349b3" providerId="LiveId" clId="{E6277905-FCCE-4B88-BAD6-C5854D60B696}" dt="2021-05-19T06:28:21.064" v="920" actId="47"/>
        <pc:sldMkLst>
          <pc:docMk/>
          <pc:sldMk cId="3247063612" sldId="2152"/>
        </pc:sldMkLst>
        <pc:spChg chg="mod">
          <ac:chgData name="Aurelien Domont" userId="6da7715ce44349b3" providerId="LiveId" clId="{E6277905-FCCE-4B88-BAD6-C5854D60B696}" dt="2021-05-19T06:12:41.432" v="657" actId="108"/>
          <ac:spMkLst>
            <pc:docMk/>
            <pc:sldMk cId="3247063612" sldId="2152"/>
            <ac:spMk id="2" creationId="{8D91CEA2-A9A2-44FD-975C-6F4A2D59641D}"/>
          </ac:spMkLst>
        </pc:spChg>
      </pc:sldChg>
    </pc:docChg>
  </pc:docChgLst>
  <pc:docChgLst>
    <pc:chgData name="Aurelien Domont" userId="6da7715ce44349b3" providerId="LiveId" clId="{C523CB9D-DE17-4F66-BAA5-E2467A3E4858}"/>
    <pc:docChg chg="delSld modSld">
      <pc:chgData name="Aurelien Domont" userId="6da7715ce44349b3" providerId="LiveId" clId="{C523CB9D-DE17-4F66-BAA5-E2467A3E4858}" dt="2021-05-03T08:03:28.500" v="13" actId="20577"/>
      <pc:docMkLst>
        <pc:docMk/>
      </pc:docMkLst>
      <pc:sldChg chg="del">
        <pc:chgData name="Aurelien Domont" userId="6da7715ce44349b3" providerId="LiveId" clId="{C523CB9D-DE17-4F66-BAA5-E2467A3E4858}" dt="2021-05-03T08:02:20.197" v="0" actId="47"/>
        <pc:sldMkLst>
          <pc:docMk/>
          <pc:sldMk cId="4262757208" sldId="1792"/>
        </pc:sldMkLst>
      </pc:sldChg>
      <pc:sldChg chg="del">
        <pc:chgData name="Aurelien Domont" userId="6da7715ce44349b3" providerId="LiveId" clId="{C523CB9D-DE17-4F66-BAA5-E2467A3E4858}" dt="2021-05-03T08:02:20.197" v="0" actId="47"/>
        <pc:sldMkLst>
          <pc:docMk/>
          <pc:sldMk cId="504490806" sldId="1796"/>
        </pc:sldMkLst>
      </pc:sldChg>
      <pc:sldChg chg="del">
        <pc:chgData name="Aurelien Domont" userId="6da7715ce44349b3" providerId="LiveId" clId="{C523CB9D-DE17-4F66-BAA5-E2467A3E4858}" dt="2021-05-03T08:02:20.197" v="0" actId="47"/>
        <pc:sldMkLst>
          <pc:docMk/>
          <pc:sldMk cId="767058056" sldId="1797"/>
        </pc:sldMkLst>
      </pc:sldChg>
      <pc:sldChg chg="del">
        <pc:chgData name="Aurelien Domont" userId="6da7715ce44349b3" providerId="LiveId" clId="{C523CB9D-DE17-4F66-BAA5-E2467A3E4858}" dt="2021-05-03T08:02:20.197" v="0" actId="47"/>
        <pc:sldMkLst>
          <pc:docMk/>
          <pc:sldMk cId="713437184" sldId="1882"/>
        </pc:sldMkLst>
      </pc:sldChg>
      <pc:sldChg chg="del">
        <pc:chgData name="Aurelien Domont" userId="6da7715ce44349b3" providerId="LiveId" clId="{C523CB9D-DE17-4F66-BAA5-E2467A3E4858}" dt="2021-05-03T08:02:20.197" v="0" actId="47"/>
        <pc:sldMkLst>
          <pc:docMk/>
          <pc:sldMk cId="3792836084" sldId="1883"/>
        </pc:sldMkLst>
      </pc:sldChg>
      <pc:sldChg chg="del">
        <pc:chgData name="Aurelien Domont" userId="6da7715ce44349b3" providerId="LiveId" clId="{C523CB9D-DE17-4F66-BAA5-E2467A3E4858}" dt="2021-05-03T08:02:20.197" v="0" actId="47"/>
        <pc:sldMkLst>
          <pc:docMk/>
          <pc:sldMk cId="3227587685" sldId="1884"/>
        </pc:sldMkLst>
      </pc:sldChg>
      <pc:sldChg chg="del">
        <pc:chgData name="Aurelien Domont" userId="6da7715ce44349b3" providerId="LiveId" clId="{C523CB9D-DE17-4F66-BAA5-E2467A3E4858}" dt="2021-05-03T08:02:20.197" v="0" actId="47"/>
        <pc:sldMkLst>
          <pc:docMk/>
          <pc:sldMk cId="2820013767" sldId="1885"/>
        </pc:sldMkLst>
      </pc:sldChg>
      <pc:sldChg chg="del">
        <pc:chgData name="Aurelien Domont" userId="6da7715ce44349b3" providerId="LiveId" clId="{C523CB9D-DE17-4F66-BAA5-E2467A3E4858}" dt="2021-05-03T08:02:20.197" v="0" actId="47"/>
        <pc:sldMkLst>
          <pc:docMk/>
          <pc:sldMk cId="3287084427" sldId="1886"/>
        </pc:sldMkLst>
      </pc:sldChg>
      <pc:sldChg chg="del">
        <pc:chgData name="Aurelien Domont" userId="6da7715ce44349b3" providerId="LiveId" clId="{C523CB9D-DE17-4F66-BAA5-E2467A3E4858}" dt="2021-05-03T08:02:20.197" v="0" actId="47"/>
        <pc:sldMkLst>
          <pc:docMk/>
          <pc:sldMk cId="2955017529" sldId="1887"/>
        </pc:sldMkLst>
      </pc:sldChg>
      <pc:sldChg chg="del">
        <pc:chgData name="Aurelien Domont" userId="6da7715ce44349b3" providerId="LiveId" clId="{C523CB9D-DE17-4F66-BAA5-E2467A3E4858}" dt="2021-05-03T08:02:20.197" v="0" actId="47"/>
        <pc:sldMkLst>
          <pc:docMk/>
          <pc:sldMk cId="3064639401" sldId="1889"/>
        </pc:sldMkLst>
      </pc:sldChg>
      <pc:sldChg chg="del">
        <pc:chgData name="Aurelien Domont" userId="6da7715ce44349b3" providerId="LiveId" clId="{C523CB9D-DE17-4F66-BAA5-E2467A3E4858}" dt="2021-05-03T08:02:20.197" v="0" actId="47"/>
        <pc:sldMkLst>
          <pc:docMk/>
          <pc:sldMk cId="4203379594" sldId="1890"/>
        </pc:sldMkLst>
      </pc:sldChg>
      <pc:sldChg chg="del">
        <pc:chgData name="Aurelien Domont" userId="6da7715ce44349b3" providerId="LiveId" clId="{C523CB9D-DE17-4F66-BAA5-E2467A3E4858}" dt="2021-05-03T08:02:20.197" v="0" actId="47"/>
        <pc:sldMkLst>
          <pc:docMk/>
          <pc:sldMk cId="2239563003" sldId="1892"/>
        </pc:sldMkLst>
      </pc:sldChg>
      <pc:sldChg chg="del">
        <pc:chgData name="Aurelien Domont" userId="6da7715ce44349b3" providerId="LiveId" clId="{C523CB9D-DE17-4F66-BAA5-E2467A3E4858}" dt="2021-05-03T08:02:20.197" v="0" actId="47"/>
        <pc:sldMkLst>
          <pc:docMk/>
          <pc:sldMk cId="3677099460" sldId="1893"/>
        </pc:sldMkLst>
      </pc:sldChg>
      <pc:sldChg chg="modSp mod">
        <pc:chgData name="Aurelien Domont" userId="6da7715ce44349b3" providerId="LiveId" clId="{C523CB9D-DE17-4F66-BAA5-E2467A3E4858}" dt="2021-05-03T08:02:57.383" v="2" actId="20577"/>
        <pc:sldMkLst>
          <pc:docMk/>
          <pc:sldMk cId="3738554192" sldId="1918"/>
        </pc:sldMkLst>
        <pc:spChg chg="mod">
          <ac:chgData name="Aurelien Domont" userId="6da7715ce44349b3" providerId="LiveId" clId="{C523CB9D-DE17-4F66-BAA5-E2467A3E4858}" dt="2021-05-03T08:02:57.383" v="2" actId="20577"/>
          <ac:spMkLst>
            <pc:docMk/>
            <pc:sldMk cId="3738554192" sldId="1918"/>
            <ac:spMk id="16" creationId="{6C2BB713-9637-4B9B-938F-E9768876782A}"/>
          </ac:spMkLst>
        </pc:spChg>
      </pc:sldChg>
      <pc:sldChg chg="modSp mod">
        <pc:chgData name="Aurelien Domont" userId="6da7715ce44349b3" providerId="LiveId" clId="{C523CB9D-DE17-4F66-BAA5-E2467A3E4858}" dt="2021-05-03T08:03:28.500" v="13" actId="20577"/>
        <pc:sldMkLst>
          <pc:docMk/>
          <pc:sldMk cId="4287792945" sldId="1919"/>
        </pc:sldMkLst>
        <pc:spChg chg="mod">
          <ac:chgData name="Aurelien Domont" userId="6da7715ce44349b3" providerId="LiveId" clId="{C523CB9D-DE17-4F66-BAA5-E2467A3E4858}" dt="2021-05-03T08:03:25.707" v="11" actId="20577"/>
          <ac:spMkLst>
            <pc:docMk/>
            <pc:sldMk cId="4287792945" sldId="1919"/>
            <ac:spMk id="2" creationId="{DB8DB0C8-E51F-47D1-A351-F9D9CA2C15DA}"/>
          </ac:spMkLst>
        </pc:spChg>
        <pc:spChg chg="mod">
          <ac:chgData name="Aurelien Domont" userId="6da7715ce44349b3" providerId="LiveId" clId="{C523CB9D-DE17-4F66-BAA5-E2467A3E4858}" dt="2021-05-03T08:03:28.500" v="13" actId="20577"/>
          <ac:spMkLst>
            <pc:docMk/>
            <pc:sldMk cId="4287792945" sldId="1919"/>
            <ac:spMk id="16" creationId="{6C2BB713-9637-4B9B-938F-E9768876782A}"/>
          </ac:spMkLst>
        </pc:spChg>
      </pc:sldChg>
      <pc:sldChg chg="del">
        <pc:chgData name="Aurelien Domont" userId="6da7715ce44349b3" providerId="LiveId" clId="{C523CB9D-DE17-4F66-BAA5-E2467A3E4858}" dt="2021-05-03T08:02:20.197" v="0" actId="47"/>
        <pc:sldMkLst>
          <pc:docMk/>
          <pc:sldMk cId="597933806" sldId="1925"/>
        </pc:sldMkLst>
      </pc:sldChg>
      <pc:sldChg chg="del">
        <pc:chgData name="Aurelien Domont" userId="6da7715ce44349b3" providerId="LiveId" clId="{C523CB9D-DE17-4F66-BAA5-E2467A3E4858}" dt="2021-05-03T08:02:20.197" v="0" actId="47"/>
        <pc:sldMkLst>
          <pc:docMk/>
          <pc:sldMk cId="1874123290" sldId="1926"/>
        </pc:sldMkLst>
      </pc:sldChg>
      <pc:sldChg chg="del">
        <pc:chgData name="Aurelien Domont" userId="6da7715ce44349b3" providerId="LiveId" clId="{C523CB9D-DE17-4F66-BAA5-E2467A3E4858}" dt="2021-05-03T08:02:20.197" v="0" actId="47"/>
        <pc:sldMkLst>
          <pc:docMk/>
          <pc:sldMk cId="235018652" sldId="1927"/>
        </pc:sldMkLst>
      </pc:sldChg>
      <pc:sldChg chg="del">
        <pc:chgData name="Aurelien Domont" userId="6da7715ce44349b3" providerId="LiveId" clId="{C523CB9D-DE17-4F66-BAA5-E2467A3E4858}" dt="2021-05-03T08:02:20.197" v="0" actId="47"/>
        <pc:sldMkLst>
          <pc:docMk/>
          <pc:sldMk cId="1374159068" sldId="1928"/>
        </pc:sldMkLst>
      </pc:sldChg>
      <pc:sldChg chg="del">
        <pc:chgData name="Aurelien Domont" userId="6da7715ce44349b3" providerId="LiveId" clId="{C523CB9D-DE17-4F66-BAA5-E2467A3E4858}" dt="2021-05-03T08:02:20.197" v="0" actId="47"/>
        <pc:sldMkLst>
          <pc:docMk/>
          <pc:sldMk cId="802743741" sldId="1929"/>
        </pc:sldMkLst>
      </pc:sldChg>
      <pc:sldChg chg="del">
        <pc:chgData name="Aurelien Domont" userId="6da7715ce44349b3" providerId="LiveId" clId="{C523CB9D-DE17-4F66-BAA5-E2467A3E4858}" dt="2021-05-03T08:02:20.197" v="0" actId="47"/>
        <pc:sldMkLst>
          <pc:docMk/>
          <pc:sldMk cId="948385396" sldId="1930"/>
        </pc:sldMkLst>
      </pc:sldChg>
      <pc:sldChg chg="del">
        <pc:chgData name="Aurelien Domont" userId="6da7715ce44349b3" providerId="LiveId" clId="{C523CB9D-DE17-4F66-BAA5-E2467A3E4858}" dt="2021-05-03T08:02:20.197" v="0" actId="47"/>
        <pc:sldMkLst>
          <pc:docMk/>
          <pc:sldMk cId="784211076" sldId="1931"/>
        </pc:sldMkLst>
      </pc:sldChg>
      <pc:sldChg chg="del">
        <pc:chgData name="Aurelien Domont" userId="6da7715ce44349b3" providerId="LiveId" clId="{C523CB9D-DE17-4F66-BAA5-E2467A3E4858}" dt="2021-05-03T08:02:20.197" v="0" actId="47"/>
        <pc:sldMkLst>
          <pc:docMk/>
          <pc:sldMk cId="2839386134" sldId="1932"/>
        </pc:sldMkLst>
      </pc:sldChg>
      <pc:sldChg chg="del">
        <pc:chgData name="Aurelien Domont" userId="6da7715ce44349b3" providerId="LiveId" clId="{C523CB9D-DE17-4F66-BAA5-E2467A3E4858}" dt="2021-05-03T08:02:20.197" v="0" actId="47"/>
        <pc:sldMkLst>
          <pc:docMk/>
          <pc:sldMk cId="631546691" sldId="1933"/>
        </pc:sldMkLst>
      </pc:sldChg>
      <pc:sldChg chg="del">
        <pc:chgData name="Aurelien Domont" userId="6da7715ce44349b3" providerId="LiveId" clId="{C523CB9D-DE17-4F66-BAA5-E2467A3E4858}" dt="2021-05-03T08:02:20.197" v="0" actId="47"/>
        <pc:sldMkLst>
          <pc:docMk/>
          <pc:sldMk cId="1360412850" sldId="1934"/>
        </pc:sldMkLst>
      </pc:sldChg>
      <pc:sldChg chg="del">
        <pc:chgData name="Aurelien Domont" userId="6da7715ce44349b3" providerId="LiveId" clId="{C523CB9D-DE17-4F66-BAA5-E2467A3E4858}" dt="2021-05-03T08:02:20.197" v="0" actId="47"/>
        <pc:sldMkLst>
          <pc:docMk/>
          <pc:sldMk cId="317604876" sldId="1935"/>
        </pc:sldMkLst>
      </pc:sldChg>
      <pc:sldChg chg="del">
        <pc:chgData name="Aurelien Domont" userId="6da7715ce44349b3" providerId="LiveId" clId="{C523CB9D-DE17-4F66-BAA5-E2467A3E4858}" dt="2021-05-03T08:02:20.197" v="0" actId="47"/>
        <pc:sldMkLst>
          <pc:docMk/>
          <pc:sldMk cId="580696589" sldId="1936"/>
        </pc:sldMkLst>
      </pc:sldChg>
      <pc:sldChg chg="del">
        <pc:chgData name="Aurelien Domont" userId="6da7715ce44349b3" providerId="LiveId" clId="{C523CB9D-DE17-4F66-BAA5-E2467A3E4858}" dt="2021-05-03T08:02:20.197" v="0" actId="47"/>
        <pc:sldMkLst>
          <pc:docMk/>
          <pc:sldMk cId="2855966363" sldId="1937"/>
        </pc:sldMkLst>
      </pc:sldChg>
      <pc:sldChg chg="del">
        <pc:chgData name="Aurelien Domont" userId="6da7715ce44349b3" providerId="LiveId" clId="{C523CB9D-DE17-4F66-BAA5-E2467A3E4858}" dt="2021-05-03T08:02:20.197" v="0" actId="47"/>
        <pc:sldMkLst>
          <pc:docMk/>
          <pc:sldMk cId="2589605413" sldId="1938"/>
        </pc:sldMkLst>
      </pc:sldChg>
      <pc:sldChg chg="del">
        <pc:chgData name="Aurelien Domont" userId="6da7715ce44349b3" providerId="LiveId" clId="{C523CB9D-DE17-4F66-BAA5-E2467A3E4858}" dt="2021-05-03T08:02:20.197" v="0" actId="47"/>
        <pc:sldMkLst>
          <pc:docMk/>
          <pc:sldMk cId="3714325450" sldId="1939"/>
        </pc:sldMkLst>
      </pc:sldChg>
      <pc:sldChg chg="del">
        <pc:chgData name="Aurelien Domont" userId="6da7715ce44349b3" providerId="LiveId" clId="{C523CB9D-DE17-4F66-BAA5-E2467A3E4858}" dt="2021-05-03T08:02:20.197" v="0" actId="47"/>
        <pc:sldMkLst>
          <pc:docMk/>
          <pc:sldMk cId="1414149744" sldId="1940"/>
        </pc:sldMkLst>
      </pc:sldChg>
      <pc:sldChg chg="del">
        <pc:chgData name="Aurelien Domont" userId="6da7715ce44349b3" providerId="LiveId" clId="{C523CB9D-DE17-4F66-BAA5-E2467A3E4858}" dt="2021-05-03T08:02:20.197" v="0" actId="47"/>
        <pc:sldMkLst>
          <pc:docMk/>
          <pc:sldMk cId="599795422" sldId="1941"/>
        </pc:sldMkLst>
      </pc:sldChg>
      <pc:sldChg chg="del">
        <pc:chgData name="Aurelien Domont" userId="6da7715ce44349b3" providerId="LiveId" clId="{C523CB9D-DE17-4F66-BAA5-E2467A3E4858}" dt="2021-05-03T08:02:20.197" v="0" actId="47"/>
        <pc:sldMkLst>
          <pc:docMk/>
          <pc:sldMk cId="1403188377" sldId="1942"/>
        </pc:sldMkLst>
      </pc:sldChg>
      <pc:sldChg chg="del">
        <pc:chgData name="Aurelien Domont" userId="6da7715ce44349b3" providerId="LiveId" clId="{C523CB9D-DE17-4F66-BAA5-E2467A3E4858}" dt="2021-05-03T08:02:20.197" v="0" actId="47"/>
        <pc:sldMkLst>
          <pc:docMk/>
          <pc:sldMk cId="2977576074" sldId="1943"/>
        </pc:sldMkLst>
      </pc:sldChg>
      <pc:sldChg chg="del">
        <pc:chgData name="Aurelien Domont" userId="6da7715ce44349b3" providerId="LiveId" clId="{C523CB9D-DE17-4F66-BAA5-E2467A3E4858}" dt="2021-05-03T08:02:20.197" v="0" actId="47"/>
        <pc:sldMkLst>
          <pc:docMk/>
          <pc:sldMk cId="1662017462" sldId="1944"/>
        </pc:sldMkLst>
      </pc:sldChg>
      <pc:sldChg chg="del">
        <pc:chgData name="Aurelien Domont" userId="6da7715ce44349b3" providerId="LiveId" clId="{C523CB9D-DE17-4F66-BAA5-E2467A3E4858}" dt="2021-05-03T08:02:20.197" v="0" actId="47"/>
        <pc:sldMkLst>
          <pc:docMk/>
          <pc:sldMk cId="1128419591" sldId="1945"/>
        </pc:sldMkLst>
      </pc:sldChg>
      <pc:sldChg chg="del">
        <pc:chgData name="Aurelien Domont" userId="6da7715ce44349b3" providerId="LiveId" clId="{C523CB9D-DE17-4F66-BAA5-E2467A3E4858}" dt="2021-05-03T08:02:20.197" v="0" actId="47"/>
        <pc:sldMkLst>
          <pc:docMk/>
          <pc:sldMk cId="3950953867" sldId="1946"/>
        </pc:sldMkLst>
      </pc:sldChg>
      <pc:sldChg chg="del">
        <pc:chgData name="Aurelien Domont" userId="6da7715ce44349b3" providerId="LiveId" clId="{C523CB9D-DE17-4F66-BAA5-E2467A3E4858}" dt="2021-05-03T08:02:20.197" v="0" actId="47"/>
        <pc:sldMkLst>
          <pc:docMk/>
          <pc:sldMk cId="1632976083" sldId="1947"/>
        </pc:sldMkLst>
      </pc:sldChg>
      <pc:sldChg chg="del">
        <pc:chgData name="Aurelien Domont" userId="6da7715ce44349b3" providerId="LiveId" clId="{C523CB9D-DE17-4F66-BAA5-E2467A3E4858}" dt="2021-05-03T08:02:20.197" v="0" actId="47"/>
        <pc:sldMkLst>
          <pc:docMk/>
          <pc:sldMk cId="3026069399" sldId="1948"/>
        </pc:sldMkLst>
      </pc:sldChg>
      <pc:sldChg chg="del">
        <pc:chgData name="Aurelien Domont" userId="6da7715ce44349b3" providerId="LiveId" clId="{C523CB9D-DE17-4F66-BAA5-E2467A3E4858}" dt="2021-05-03T08:02:20.197" v="0" actId="47"/>
        <pc:sldMkLst>
          <pc:docMk/>
          <pc:sldMk cId="301689330" sldId="1949"/>
        </pc:sldMkLst>
      </pc:sldChg>
      <pc:sldChg chg="del">
        <pc:chgData name="Aurelien Domont" userId="6da7715ce44349b3" providerId="LiveId" clId="{C523CB9D-DE17-4F66-BAA5-E2467A3E4858}" dt="2021-05-03T08:02:20.197" v="0" actId="47"/>
        <pc:sldMkLst>
          <pc:docMk/>
          <pc:sldMk cId="2802637173" sldId="1950"/>
        </pc:sldMkLst>
      </pc:sldChg>
      <pc:sldChg chg="del">
        <pc:chgData name="Aurelien Domont" userId="6da7715ce44349b3" providerId="LiveId" clId="{C523CB9D-DE17-4F66-BAA5-E2467A3E4858}" dt="2021-05-03T08:02:20.197" v="0" actId="47"/>
        <pc:sldMkLst>
          <pc:docMk/>
          <pc:sldMk cId="799750334" sldId="1951"/>
        </pc:sldMkLst>
      </pc:sldChg>
      <pc:sldChg chg="del">
        <pc:chgData name="Aurelien Domont" userId="6da7715ce44349b3" providerId="LiveId" clId="{C523CB9D-DE17-4F66-BAA5-E2467A3E4858}" dt="2021-05-03T08:02:20.197" v="0" actId="47"/>
        <pc:sldMkLst>
          <pc:docMk/>
          <pc:sldMk cId="2365333669" sldId="1952"/>
        </pc:sldMkLst>
      </pc:sldChg>
      <pc:sldChg chg="del">
        <pc:chgData name="Aurelien Domont" userId="6da7715ce44349b3" providerId="LiveId" clId="{C523CB9D-DE17-4F66-BAA5-E2467A3E4858}" dt="2021-05-03T08:02:20.197" v="0" actId="47"/>
        <pc:sldMkLst>
          <pc:docMk/>
          <pc:sldMk cId="931823183" sldId="1953"/>
        </pc:sldMkLst>
      </pc:sldChg>
      <pc:sldChg chg="del">
        <pc:chgData name="Aurelien Domont" userId="6da7715ce44349b3" providerId="LiveId" clId="{C523CB9D-DE17-4F66-BAA5-E2467A3E4858}" dt="2021-05-03T08:02:20.197" v="0" actId="47"/>
        <pc:sldMkLst>
          <pc:docMk/>
          <pc:sldMk cId="636448820" sldId="1954"/>
        </pc:sldMkLst>
      </pc:sldChg>
      <pc:sldChg chg="del">
        <pc:chgData name="Aurelien Domont" userId="6da7715ce44349b3" providerId="LiveId" clId="{C523CB9D-DE17-4F66-BAA5-E2467A3E4858}" dt="2021-05-03T08:02:20.197" v="0" actId="47"/>
        <pc:sldMkLst>
          <pc:docMk/>
          <pc:sldMk cId="660112904" sldId="1955"/>
        </pc:sldMkLst>
      </pc:sldChg>
      <pc:sldChg chg="del">
        <pc:chgData name="Aurelien Domont" userId="6da7715ce44349b3" providerId="LiveId" clId="{C523CB9D-DE17-4F66-BAA5-E2467A3E4858}" dt="2021-05-03T08:02:20.197" v="0" actId="47"/>
        <pc:sldMkLst>
          <pc:docMk/>
          <pc:sldMk cId="387956599" sldId="1956"/>
        </pc:sldMkLst>
      </pc:sldChg>
      <pc:sldChg chg="del">
        <pc:chgData name="Aurelien Domont" userId="6da7715ce44349b3" providerId="LiveId" clId="{C523CB9D-DE17-4F66-BAA5-E2467A3E4858}" dt="2021-05-03T08:02:20.197" v="0" actId="47"/>
        <pc:sldMkLst>
          <pc:docMk/>
          <pc:sldMk cId="2207806883" sldId="1957"/>
        </pc:sldMkLst>
      </pc:sldChg>
      <pc:sldChg chg="del">
        <pc:chgData name="Aurelien Domont" userId="6da7715ce44349b3" providerId="LiveId" clId="{C523CB9D-DE17-4F66-BAA5-E2467A3E4858}" dt="2021-05-03T08:02:20.197" v="0" actId="47"/>
        <pc:sldMkLst>
          <pc:docMk/>
          <pc:sldMk cId="7362875" sldId="1958"/>
        </pc:sldMkLst>
      </pc:sldChg>
      <pc:sldChg chg="del">
        <pc:chgData name="Aurelien Domont" userId="6da7715ce44349b3" providerId="LiveId" clId="{C523CB9D-DE17-4F66-BAA5-E2467A3E4858}" dt="2021-05-03T08:02:20.197" v="0" actId="47"/>
        <pc:sldMkLst>
          <pc:docMk/>
          <pc:sldMk cId="1662162763" sldId="1959"/>
        </pc:sldMkLst>
      </pc:sldChg>
      <pc:sldChg chg="del">
        <pc:chgData name="Aurelien Domont" userId="6da7715ce44349b3" providerId="LiveId" clId="{C523CB9D-DE17-4F66-BAA5-E2467A3E4858}" dt="2021-05-03T08:02:20.197" v="0" actId="47"/>
        <pc:sldMkLst>
          <pc:docMk/>
          <pc:sldMk cId="1380287118" sldId="1960"/>
        </pc:sldMkLst>
      </pc:sldChg>
      <pc:sldChg chg="del">
        <pc:chgData name="Aurelien Domont" userId="6da7715ce44349b3" providerId="LiveId" clId="{C523CB9D-DE17-4F66-BAA5-E2467A3E4858}" dt="2021-05-03T08:02:20.197" v="0" actId="47"/>
        <pc:sldMkLst>
          <pc:docMk/>
          <pc:sldMk cId="2862939476" sldId="1961"/>
        </pc:sldMkLst>
      </pc:sldChg>
      <pc:sldChg chg="del">
        <pc:chgData name="Aurelien Domont" userId="6da7715ce44349b3" providerId="LiveId" clId="{C523CB9D-DE17-4F66-BAA5-E2467A3E4858}" dt="2021-05-03T08:02:20.197" v="0" actId="47"/>
        <pc:sldMkLst>
          <pc:docMk/>
          <pc:sldMk cId="1371325009" sldId="1963"/>
        </pc:sldMkLst>
      </pc:sldChg>
      <pc:sldChg chg="del">
        <pc:chgData name="Aurelien Domont" userId="6da7715ce44349b3" providerId="LiveId" clId="{C523CB9D-DE17-4F66-BAA5-E2467A3E4858}" dt="2021-05-03T08:02:20.197" v="0" actId="47"/>
        <pc:sldMkLst>
          <pc:docMk/>
          <pc:sldMk cId="2434730998" sldId="1964"/>
        </pc:sldMkLst>
      </pc:sldChg>
      <pc:sldChg chg="del">
        <pc:chgData name="Aurelien Domont" userId="6da7715ce44349b3" providerId="LiveId" clId="{C523CB9D-DE17-4F66-BAA5-E2467A3E4858}" dt="2021-05-03T08:02:20.197" v="0" actId="47"/>
        <pc:sldMkLst>
          <pc:docMk/>
          <pc:sldMk cId="2118611170" sldId="1965"/>
        </pc:sldMkLst>
      </pc:sldChg>
      <pc:sldChg chg="del">
        <pc:chgData name="Aurelien Domont" userId="6da7715ce44349b3" providerId="LiveId" clId="{C523CB9D-DE17-4F66-BAA5-E2467A3E4858}" dt="2021-05-03T08:02:20.197" v="0" actId="47"/>
        <pc:sldMkLst>
          <pc:docMk/>
          <pc:sldMk cId="708328687" sldId="1966"/>
        </pc:sldMkLst>
      </pc:sldChg>
      <pc:sldChg chg="del">
        <pc:chgData name="Aurelien Domont" userId="6da7715ce44349b3" providerId="LiveId" clId="{C523CB9D-DE17-4F66-BAA5-E2467A3E4858}" dt="2021-05-03T08:02:20.197" v="0" actId="47"/>
        <pc:sldMkLst>
          <pc:docMk/>
          <pc:sldMk cId="3081941897" sldId="1967"/>
        </pc:sldMkLst>
      </pc:sldChg>
      <pc:sldChg chg="del">
        <pc:chgData name="Aurelien Domont" userId="6da7715ce44349b3" providerId="LiveId" clId="{C523CB9D-DE17-4F66-BAA5-E2467A3E4858}" dt="2021-05-03T08:02:20.197" v="0" actId="47"/>
        <pc:sldMkLst>
          <pc:docMk/>
          <pc:sldMk cId="3440858440" sldId="1968"/>
        </pc:sldMkLst>
      </pc:sldChg>
      <pc:sldChg chg="del">
        <pc:chgData name="Aurelien Domont" userId="6da7715ce44349b3" providerId="LiveId" clId="{C523CB9D-DE17-4F66-BAA5-E2467A3E4858}" dt="2021-05-03T08:02:20.197" v="0" actId="47"/>
        <pc:sldMkLst>
          <pc:docMk/>
          <pc:sldMk cId="3954766657" sldId="1969"/>
        </pc:sldMkLst>
      </pc:sldChg>
      <pc:sldChg chg="del">
        <pc:chgData name="Aurelien Domont" userId="6da7715ce44349b3" providerId="LiveId" clId="{C523CB9D-DE17-4F66-BAA5-E2467A3E4858}" dt="2021-05-03T08:02:20.197" v="0" actId="47"/>
        <pc:sldMkLst>
          <pc:docMk/>
          <pc:sldMk cId="668275467" sldId="1970"/>
        </pc:sldMkLst>
      </pc:sldChg>
      <pc:sldChg chg="del">
        <pc:chgData name="Aurelien Domont" userId="6da7715ce44349b3" providerId="LiveId" clId="{C523CB9D-DE17-4F66-BAA5-E2467A3E4858}" dt="2021-05-03T08:02:20.197" v="0" actId="47"/>
        <pc:sldMkLst>
          <pc:docMk/>
          <pc:sldMk cId="529194852" sldId="1971"/>
        </pc:sldMkLst>
      </pc:sldChg>
      <pc:sldChg chg="del">
        <pc:chgData name="Aurelien Domont" userId="6da7715ce44349b3" providerId="LiveId" clId="{C523CB9D-DE17-4F66-BAA5-E2467A3E4858}" dt="2021-05-03T08:02:20.197" v="0" actId="47"/>
        <pc:sldMkLst>
          <pc:docMk/>
          <pc:sldMk cId="2410991361" sldId="1972"/>
        </pc:sldMkLst>
      </pc:sldChg>
      <pc:sldChg chg="del">
        <pc:chgData name="Aurelien Domont" userId="6da7715ce44349b3" providerId="LiveId" clId="{C523CB9D-DE17-4F66-BAA5-E2467A3E4858}" dt="2021-05-03T08:02:20.197" v="0" actId="47"/>
        <pc:sldMkLst>
          <pc:docMk/>
          <pc:sldMk cId="2653177920" sldId="1973"/>
        </pc:sldMkLst>
      </pc:sldChg>
      <pc:sldChg chg="del">
        <pc:chgData name="Aurelien Domont" userId="6da7715ce44349b3" providerId="LiveId" clId="{C523CB9D-DE17-4F66-BAA5-E2467A3E4858}" dt="2021-05-03T08:02:20.197" v="0" actId="47"/>
        <pc:sldMkLst>
          <pc:docMk/>
          <pc:sldMk cId="1373862011" sldId="1974"/>
        </pc:sldMkLst>
      </pc:sldChg>
      <pc:sldChg chg="del">
        <pc:chgData name="Aurelien Domont" userId="6da7715ce44349b3" providerId="LiveId" clId="{C523CB9D-DE17-4F66-BAA5-E2467A3E4858}" dt="2021-05-03T08:02:20.197" v="0" actId="47"/>
        <pc:sldMkLst>
          <pc:docMk/>
          <pc:sldMk cId="2119972109" sldId="1975"/>
        </pc:sldMkLst>
      </pc:sldChg>
      <pc:sldChg chg="del">
        <pc:chgData name="Aurelien Domont" userId="6da7715ce44349b3" providerId="LiveId" clId="{C523CB9D-DE17-4F66-BAA5-E2467A3E4858}" dt="2021-05-03T08:02:20.197" v="0" actId="47"/>
        <pc:sldMkLst>
          <pc:docMk/>
          <pc:sldMk cId="2078645186" sldId="1976"/>
        </pc:sldMkLst>
      </pc:sldChg>
      <pc:sldChg chg="del">
        <pc:chgData name="Aurelien Domont" userId="6da7715ce44349b3" providerId="LiveId" clId="{C523CB9D-DE17-4F66-BAA5-E2467A3E4858}" dt="2021-05-03T08:02:20.197" v="0" actId="47"/>
        <pc:sldMkLst>
          <pc:docMk/>
          <pc:sldMk cId="2474191175" sldId="1977"/>
        </pc:sldMkLst>
      </pc:sldChg>
      <pc:sldChg chg="del">
        <pc:chgData name="Aurelien Domont" userId="6da7715ce44349b3" providerId="LiveId" clId="{C523CB9D-DE17-4F66-BAA5-E2467A3E4858}" dt="2021-05-03T08:02:20.197" v="0" actId="47"/>
        <pc:sldMkLst>
          <pc:docMk/>
          <pc:sldMk cId="4089601017" sldId="1978"/>
        </pc:sldMkLst>
      </pc:sldChg>
      <pc:sldChg chg="del">
        <pc:chgData name="Aurelien Domont" userId="6da7715ce44349b3" providerId="LiveId" clId="{C523CB9D-DE17-4F66-BAA5-E2467A3E4858}" dt="2021-05-03T08:02:20.197" v="0" actId="47"/>
        <pc:sldMkLst>
          <pc:docMk/>
          <pc:sldMk cId="2403768916" sldId="1979"/>
        </pc:sldMkLst>
      </pc:sldChg>
      <pc:sldChg chg="del">
        <pc:chgData name="Aurelien Domont" userId="6da7715ce44349b3" providerId="LiveId" clId="{C523CB9D-DE17-4F66-BAA5-E2467A3E4858}" dt="2021-05-03T08:02:20.197" v="0" actId="47"/>
        <pc:sldMkLst>
          <pc:docMk/>
          <pc:sldMk cId="3828206272" sldId="1980"/>
        </pc:sldMkLst>
      </pc:sldChg>
      <pc:sldChg chg="del">
        <pc:chgData name="Aurelien Domont" userId="6da7715ce44349b3" providerId="LiveId" clId="{C523CB9D-DE17-4F66-BAA5-E2467A3E4858}" dt="2021-05-03T08:02:20.197" v="0" actId="47"/>
        <pc:sldMkLst>
          <pc:docMk/>
          <pc:sldMk cId="1691820959" sldId="1981"/>
        </pc:sldMkLst>
      </pc:sldChg>
      <pc:sldChg chg="del">
        <pc:chgData name="Aurelien Domont" userId="6da7715ce44349b3" providerId="LiveId" clId="{C523CB9D-DE17-4F66-BAA5-E2467A3E4858}" dt="2021-05-03T08:02:20.197" v="0" actId="47"/>
        <pc:sldMkLst>
          <pc:docMk/>
          <pc:sldMk cId="3425621628" sldId="1982"/>
        </pc:sldMkLst>
      </pc:sldChg>
      <pc:sldChg chg="del">
        <pc:chgData name="Aurelien Domont" userId="6da7715ce44349b3" providerId="LiveId" clId="{C523CB9D-DE17-4F66-BAA5-E2467A3E4858}" dt="2021-05-03T08:02:20.197" v="0" actId="47"/>
        <pc:sldMkLst>
          <pc:docMk/>
          <pc:sldMk cId="978935005" sldId="1983"/>
        </pc:sldMkLst>
      </pc:sldChg>
      <pc:sldChg chg="del">
        <pc:chgData name="Aurelien Domont" userId="6da7715ce44349b3" providerId="LiveId" clId="{C523CB9D-DE17-4F66-BAA5-E2467A3E4858}" dt="2021-05-03T08:02:20.197" v="0" actId="47"/>
        <pc:sldMkLst>
          <pc:docMk/>
          <pc:sldMk cId="2297949056" sldId="1984"/>
        </pc:sldMkLst>
      </pc:sldChg>
      <pc:sldChg chg="del">
        <pc:chgData name="Aurelien Domont" userId="6da7715ce44349b3" providerId="LiveId" clId="{C523CB9D-DE17-4F66-BAA5-E2467A3E4858}" dt="2021-05-03T08:02:20.197" v="0" actId="47"/>
        <pc:sldMkLst>
          <pc:docMk/>
          <pc:sldMk cId="1823605290" sldId="1985"/>
        </pc:sldMkLst>
      </pc:sldChg>
      <pc:sldChg chg="del">
        <pc:chgData name="Aurelien Domont" userId="6da7715ce44349b3" providerId="LiveId" clId="{C523CB9D-DE17-4F66-BAA5-E2467A3E4858}" dt="2021-05-03T08:02:20.197" v="0" actId="47"/>
        <pc:sldMkLst>
          <pc:docMk/>
          <pc:sldMk cId="1026744296" sldId="1986"/>
        </pc:sldMkLst>
      </pc:sldChg>
      <pc:sldChg chg="del">
        <pc:chgData name="Aurelien Domont" userId="6da7715ce44349b3" providerId="LiveId" clId="{C523CB9D-DE17-4F66-BAA5-E2467A3E4858}" dt="2021-05-03T08:02:20.197" v="0" actId="47"/>
        <pc:sldMkLst>
          <pc:docMk/>
          <pc:sldMk cId="1357942581" sldId="1987"/>
        </pc:sldMkLst>
      </pc:sldChg>
      <pc:sldChg chg="del">
        <pc:chgData name="Aurelien Domont" userId="6da7715ce44349b3" providerId="LiveId" clId="{C523CB9D-DE17-4F66-BAA5-E2467A3E4858}" dt="2021-05-03T08:02:20.197" v="0" actId="47"/>
        <pc:sldMkLst>
          <pc:docMk/>
          <pc:sldMk cId="1940386508" sldId="1988"/>
        </pc:sldMkLst>
      </pc:sldChg>
      <pc:sldChg chg="del">
        <pc:chgData name="Aurelien Domont" userId="6da7715ce44349b3" providerId="LiveId" clId="{C523CB9D-DE17-4F66-BAA5-E2467A3E4858}" dt="2021-05-03T08:02:20.197" v="0" actId="47"/>
        <pc:sldMkLst>
          <pc:docMk/>
          <pc:sldMk cId="2299758324" sldId="1989"/>
        </pc:sldMkLst>
      </pc:sldChg>
      <pc:sldChg chg="del">
        <pc:chgData name="Aurelien Domont" userId="6da7715ce44349b3" providerId="LiveId" clId="{C523CB9D-DE17-4F66-BAA5-E2467A3E4858}" dt="2021-05-03T08:02:20.197" v="0" actId="47"/>
        <pc:sldMkLst>
          <pc:docMk/>
          <pc:sldMk cId="1124419684" sldId="1990"/>
        </pc:sldMkLst>
      </pc:sldChg>
      <pc:sldChg chg="del">
        <pc:chgData name="Aurelien Domont" userId="6da7715ce44349b3" providerId="LiveId" clId="{C523CB9D-DE17-4F66-BAA5-E2467A3E4858}" dt="2021-05-03T08:02:20.197" v="0" actId="47"/>
        <pc:sldMkLst>
          <pc:docMk/>
          <pc:sldMk cId="205289071" sldId="1991"/>
        </pc:sldMkLst>
      </pc:sldChg>
      <pc:sldChg chg="del">
        <pc:chgData name="Aurelien Domont" userId="6da7715ce44349b3" providerId="LiveId" clId="{C523CB9D-DE17-4F66-BAA5-E2467A3E4858}" dt="2021-05-03T08:02:20.197" v="0" actId="47"/>
        <pc:sldMkLst>
          <pc:docMk/>
          <pc:sldMk cId="3239629277" sldId="1992"/>
        </pc:sldMkLst>
      </pc:sldChg>
      <pc:sldChg chg="del">
        <pc:chgData name="Aurelien Domont" userId="6da7715ce44349b3" providerId="LiveId" clId="{C523CB9D-DE17-4F66-BAA5-E2467A3E4858}" dt="2021-05-03T08:02:20.197" v="0" actId="47"/>
        <pc:sldMkLst>
          <pc:docMk/>
          <pc:sldMk cId="1752228771" sldId="1993"/>
        </pc:sldMkLst>
      </pc:sldChg>
      <pc:sldChg chg="del">
        <pc:chgData name="Aurelien Domont" userId="6da7715ce44349b3" providerId="LiveId" clId="{C523CB9D-DE17-4F66-BAA5-E2467A3E4858}" dt="2021-05-03T08:02:20.197" v="0" actId="47"/>
        <pc:sldMkLst>
          <pc:docMk/>
          <pc:sldMk cId="1158613024" sldId="1994"/>
        </pc:sldMkLst>
      </pc:sldChg>
      <pc:sldChg chg="del">
        <pc:chgData name="Aurelien Domont" userId="6da7715ce44349b3" providerId="LiveId" clId="{C523CB9D-DE17-4F66-BAA5-E2467A3E4858}" dt="2021-05-03T08:02:20.197" v="0" actId="47"/>
        <pc:sldMkLst>
          <pc:docMk/>
          <pc:sldMk cId="3526698175" sldId="1995"/>
        </pc:sldMkLst>
      </pc:sldChg>
      <pc:sldChg chg="del">
        <pc:chgData name="Aurelien Domont" userId="6da7715ce44349b3" providerId="LiveId" clId="{C523CB9D-DE17-4F66-BAA5-E2467A3E4858}" dt="2021-05-03T08:02:20.197" v="0" actId="47"/>
        <pc:sldMkLst>
          <pc:docMk/>
          <pc:sldMk cId="3049023689" sldId="1996"/>
        </pc:sldMkLst>
      </pc:sldChg>
      <pc:sldChg chg="del">
        <pc:chgData name="Aurelien Domont" userId="6da7715ce44349b3" providerId="LiveId" clId="{C523CB9D-DE17-4F66-BAA5-E2467A3E4858}" dt="2021-05-03T08:02:20.197" v="0" actId="47"/>
        <pc:sldMkLst>
          <pc:docMk/>
          <pc:sldMk cId="1142596438" sldId="1997"/>
        </pc:sldMkLst>
      </pc:sldChg>
      <pc:sldChg chg="del">
        <pc:chgData name="Aurelien Domont" userId="6da7715ce44349b3" providerId="LiveId" clId="{C523CB9D-DE17-4F66-BAA5-E2467A3E4858}" dt="2021-05-03T08:02:20.197" v="0" actId="47"/>
        <pc:sldMkLst>
          <pc:docMk/>
          <pc:sldMk cId="2206188045" sldId="1998"/>
        </pc:sldMkLst>
      </pc:sldChg>
      <pc:sldChg chg="del">
        <pc:chgData name="Aurelien Domont" userId="6da7715ce44349b3" providerId="LiveId" clId="{C523CB9D-DE17-4F66-BAA5-E2467A3E4858}" dt="2021-05-03T08:02:20.197" v="0" actId="47"/>
        <pc:sldMkLst>
          <pc:docMk/>
          <pc:sldMk cId="3928808042" sldId="1999"/>
        </pc:sldMkLst>
      </pc:sldChg>
      <pc:sldChg chg="del">
        <pc:chgData name="Aurelien Domont" userId="6da7715ce44349b3" providerId="LiveId" clId="{C523CB9D-DE17-4F66-BAA5-E2467A3E4858}" dt="2021-05-03T08:02:20.197" v="0" actId="47"/>
        <pc:sldMkLst>
          <pc:docMk/>
          <pc:sldMk cId="3600611330" sldId="2000"/>
        </pc:sldMkLst>
      </pc:sldChg>
      <pc:sldChg chg="del">
        <pc:chgData name="Aurelien Domont" userId="6da7715ce44349b3" providerId="LiveId" clId="{C523CB9D-DE17-4F66-BAA5-E2467A3E4858}" dt="2021-05-03T08:02:20.197" v="0" actId="47"/>
        <pc:sldMkLst>
          <pc:docMk/>
          <pc:sldMk cId="494454371" sldId="2001"/>
        </pc:sldMkLst>
      </pc:sldChg>
      <pc:sldChg chg="del">
        <pc:chgData name="Aurelien Domont" userId="6da7715ce44349b3" providerId="LiveId" clId="{C523CB9D-DE17-4F66-BAA5-E2467A3E4858}" dt="2021-05-03T08:02:20.197" v="0" actId="47"/>
        <pc:sldMkLst>
          <pc:docMk/>
          <pc:sldMk cId="3160285512" sldId="2002"/>
        </pc:sldMkLst>
      </pc:sldChg>
      <pc:sldChg chg="del">
        <pc:chgData name="Aurelien Domont" userId="6da7715ce44349b3" providerId="LiveId" clId="{C523CB9D-DE17-4F66-BAA5-E2467A3E4858}" dt="2021-05-03T08:02:20.197" v="0" actId="47"/>
        <pc:sldMkLst>
          <pc:docMk/>
          <pc:sldMk cId="2011482222" sldId="2003"/>
        </pc:sldMkLst>
      </pc:sldChg>
      <pc:sldChg chg="del">
        <pc:chgData name="Aurelien Domont" userId="6da7715ce44349b3" providerId="LiveId" clId="{C523CB9D-DE17-4F66-BAA5-E2467A3E4858}" dt="2021-05-03T08:02:20.197" v="0" actId="47"/>
        <pc:sldMkLst>
          <pc:docMk/>
          <pc:sldMk cId="235415864" sldId="2004"/>
        </pc:sldMkLst>
      </pc:sldChg>
      <pc:sldChg chg="del">
        <pc:chgData name="Aurelien Domont" userId="6da7715ce44349b3" providerId="LiveId" clId="{C523CB9D-DE17-4F66-BAA5-E2467A3E4858}" dt="2021-05-03T08:02:20.197" v="0" actId="47"/>
        <pc:sldMkLst>
          <pc:docMk/>
          <pc:sldMk cId="673232207" sldId="2005"/>
        </pc:sldMkLst>
      </pc:sldChg>
      <pc:sldChg chg="del">
        <pc:chgData name="Aurelien Domont" userId="6da7715ce44349b3" providerId="LiveId" clId="{C523CB9D-DE17-4F66-BAA5-E2467A3E4858}" dt="2021-05-03T08:02:20.197" v="0" actId="47"/>
        <pc:sldMkLst>
          <pc:docMk/>
          <pc:sldMk cId="539105764" sldId="2006"/>
        </pc:sldMkLst>
      </pc:sldChg>
      <pc:sldChg chg="del">
        <pc:chgData name="Aurelien Domont" userId="6da7715ce44349b3" providerId="LiveId" clId="{C523CB9D-DE17-4F66-BAA5-E2467A3E4858}" dt="2021-05-03T08:02:20.197" v="0" actId="47"/>
        <pc:sldMkLst>
          <pc:docMk/>
          <pc:sldMk cId="1585643901" sldId="2007"/>
        </pc:sldMkLst>
      </pc:sldChg>
      <pc:sldChg chg="del">
        <pc:chgData name="Aurelien Domont" userId="6da7715ce44349b3" providerId="LiveId" clId="{C523CB9D-DE17-4F66-BAA5-E2467A3E4858}" dt="2021-05-03T08:02:20.197" v="0" actId="47"/>
        <pc:sldMkLst>
          <pc:docMk/>
          <pc:sldMk cId="153376507" sldId="2008"/>
        </pc:sldMkLst>
      </pc:sldChg>
      <pc:sldChg chg="del">
        <pc:chgData name="Aurelien Domont" userId="6da7715ce44349b3" providerId="LiveId" clId="{C523CB9D-DE17-4F66-BAA5-E2467A3E4858}" dt="2021-05-03T08:02:20.197" v="0" actId="47"/>
        <pc:sldMkLst>
          <pc:docMk/>
          <pc:sldMk cId="938136842" sldId="2010"/>
        </pc:sldMkLst>
      </pc:sldChg>
      <pc:sldChg chg="del">
        <pc:chgData name="Aurelien Domont" userId="6da7715ce44349b3" providerId="LiveId" clId="{C523CB9D-DE17-4F66-BAA5-E2467A3E4858}" dt="2021-05-03T08:02:20.197" v="0" actId="47"/>
        <pc:sldMkLst>
          <pc:docMk/>
          <pc:sldMk cId="2968255840" sldId="2011"/>
        </pc:sldMkLst>
      </pc:sldChg>
      <pc:sldChg chg="del">
        <pc:chgData name="Aurelien Domont" userId="6da7715ce44349b3" providerId="LiveId" clId="{C523CB9D-DE17-4F66-BAA5-E2467A3E4858}" dt="2021-05-03T08:02:20.197" v="0" actId="47"/>
        <pc:sldMkLst>
          <pc:docMk/>
          <pc:sldMk cId="2300727758" sldId="2012"/>
        </pc:sldMkLst>
      </pc:sldChg>
      <pc:sldChg chg="del">
        <pc:chgData name="Aurelien Domont" userId="6da7715ce44349b3" providerId="LiveId" clId="{C523CB9D-DE17-4F66-BAA5-E2467A3E4858}" dt="2021-05-03T08:02:20.197" v="0" actId="47"/>
        <pc:sldMkLst>
          <pc:docMk/>
          <pc:sldMk cId="2690714282" sldId="2013"/>
        </pc:sldMkLst>
      </pc:sldChg>
      <pc:sldChg chg="del">
        <pc:chgData name="Aurelien Domont" userId="6da7715ce44349b3" providerId="LiveId" clId="{C523CB9D-DE17-4F66-BAA5-E2467A3E4858}" dt="2021-05-03T08:02:20.197" v="0" actId="47"/>
        <pc:sldMkLst>
          <pc:docMk/>
          <pc:sldMk cId="2140429196" sldId="2014"/>
        </pc:sldMkLst>
      </pc:sldChg>
      <pc:sldChg chg="del">
        <pc:chgData name="Aurelien Domont" userId="6da7715ce44349b3" providerId="LiveId" clId="{C523CB9D-DE17-4F66-BAA5-E2467A3E4858}" dt="2021-05-03T08:02:20.197" v="0" actId="47"/>
        <pc:sldMkLst>
          <pc:docMk/>
          <pc:sldMk cId="1874727100" sldId="2015"/>
        </pc:sldMkLst>
      </pc:sldChg>
      <pc:sldChg chg="del">
        <pc:chgData name="Aurelien Domont" userId="6da7715ce44349b3" providerId="LiveId" clId="{C523CB9D-DE17-4F66-BAA5-E2467A3E4858}" dt="2021-05-03T08:02:20.197" v="0" actId="47"/>
        <pc:sldMkLst>
          <pc:docMk/>
          <pc:sldMk cId="2219283537" sldId="2016"/>
        </pc:sldMkLst>
      </pc:sldChg>
      <pc:sldChg chg="del">
        <pc:chgData name="Aurelien Domont" userId="6da7715ce44349b3" providerId="LiveId" clId="{C523CB9D-DE17-4F66-BAA5-E2467A3E4858}" dt="2021-05-03T08:02:20.197" v="0" actId="47"/>
        <pc:sldMkLst>
          <pc:docMk/>
          <pc:sldMk cId="786852373" sldId="2017"/>
        </pc:sldMkLst>
      </pc:sldChg>
      <pc:sldChg chg="del">
        <pc:chgData name="Aurelien Domont" userId="6da7715ce44349b3" providerId="LiveId" clId="{C523CB9D-DE17-4F66-BAA5-E2467A3E4858}" dt="2021-05-03T08:02:20.197" v="0" actId="47"/>
        <pc:sldMkLst>
          <pc:docMk/>
          <pc:sldMk cId="1850178084" sldId="2018"/>
        </pc:sldMkLst>
      </pc:sldChg>
      <pc:sldChg chg="del">
        <pc:chgData name="Aurelien Domont" userId="6da7715ce44349b3" providerId="LiveId" clId="{C523CB9D-DE17-4F66-BAA5-E2467A3E4858}" dt="2021-05-03T08:02:20.197" v="0" actId="47"/>
        <pc:sldMkLst>
          <pc:docMk/>
          <pc:sldMk cId="1391445569" sldId="2019"/>
        </pc:sldMkLst>
      </pc:sldChg>
      <pc:sldChg chg="del">
        <pc:chgData name="Aurelien Domont" userId="6da7715ce44349b3" providerId="LiveId" clId="{C523CB9D-DE17-4F66-BAA5-E2467A3E4858}" dt="2021-05-03T08:02:20.197" v="0" actId="47"/>
        <pc:sldMkLst>
          <pc:docMk/>
          <pc:sldMk cId="833432062" sldId="2020"/>
        </pc:sldMkLst>
      </pc:sldChg>
      <pc:sldChg chg="del">
        <pc:chgData name="Aurelien Domont" userId="6da7715ce44349b3" providerId="LiveId" clId="{C523CB9D-DE17-4F66-BAA5-E2467A3E4858}" dt="2021-05-03T08:02:20.197" v="0" actId="47"/>
        <pc:sldMkLst>
          <pc:docMk/>
          <pc:sldMk cId="1884153820" sldId="2021"/>
        </pc:sldMkLst>
      </pc:sldChg>
      <pc:sldChg chg="del">
        <pc:chgData name="Aurelien Domont" userId="6da7715ce44349b3" providerId="LiveId" clId="{C523CB9D-DE17-4F66-BAA5-E2467A3E4858}" dt="2021-05-03T08:02:20.197" v="0" actId="47"/>
        <pc:sldMkLst>
          <pc:docMk/>
          <pc:sldMk cId="3266627109" sldId="2022"/>
        </pc:sldMkLst>
      </pc:sldChg>
      <pc:sldChg chg="del">
        <pc:chgData name="Aurelien Domont" userId="6da7715ce44349b3" providerId="LiveId" clId="{C523CB9D-DE17-4F66-BAA5-E2467A3E4858}" dt="2021-05-03T08:02:20.197" v="0" actId="47"/>
        <pc:sldMkLst>
          <pc:docMk/>
          <pc:sldMk cId="1720365225" sldId="2023"/>
        </pc:sldMkLst>
      </pc:sldChg>
      <pc:sldChg chg="del">
        <pc:chgData name="Aurelien Domont" userId="6da7715ce44349b3" providerId="LiveId" clId="{C523CB9D-DE17-4F66-BAA5-E2467A3E4858}" dt="2021-05-03T08:02:20.197" v="0" actId="47"/>
        <pc:sldMkLst>
          <pc:docMk/>
          <pc:sldMk cId="2200437321" sldId="2024"/>
        </pc:sldMkLst>
      </pc:sldChg>
      <pc:sldChg chg="del">
        <pc:chgData name="Aurelien Domont" userId="6da7715ce44349b3" providerId="LiveId" clId="{C523CB9D-DE17-4F66-BAA5-E2467A3E4858}" dt="2021-05-03T08:02:20.197" v="0" actId="47"/>
        <pc:sldMkLst>
          <pc:docMk/>
          <pc:sldMk cId="2510494898" sldId="2025"/>
        </pc:sldMkLst>
      </pc:sldChg>
      <pc:sldChg chg="del">
        <pc:chgData name="Aurelien Domont" userId="6da7715ce44349b3" providerId="LiveId" clId="{C523CB9D-DE17-4F66-BAA5-E2467A3E4858}" dt="2021-05-03T08:02:20.197" v="0" actId="47"/>
        <pc:sldMkLst>
          <pc:docMk/>
          <pc:sldMk cId="4191176648" sldId="2026"/>
        </pc:sldMkLst>
      </pc:sldChg>
      <pc:sldChg chg="del">
        <pc:chgData name="Aurelien Domont" userId="6da7715ce44349b3" providerId="LiveId" clId="{C523CB9D-DE17-4F66-BAA5-E2467A3E4858}" dt="2021-05-03T08:02:20.197" v="0" actId="47"/>
        <pc:sldMkLst>
          <pc:docMk/>
          <pc:sldMk cId="4065434126" sldId="2027"/>
        </pc:sldMkLst>
      </pc:sldChg>
      <pc:sldChg chg="del">
        <pc:chgData name="Aurelien Domont" userId="6da7715ce44349b3" providerId="LiveId" clId="{C523CB9D-DE17-4F66-BAA5-E2467A3E4858}" dt="2021-05-03T08:02:20.197" v="0" actId="47"/>
        <pc:sldMkLst>
          <pc:docMk/>
          <pc:sldMk cId="724289588" sldId="2028"/>
        </pc:sldMkLst>
      </pc:sldChg>
      <pc:sldChg chg="del">
        <pc:chgData name="Aurelien Domont" userId="6da7715ce44349b3" providerId="LiveId" clId="{C523CB9D-DE17-4F66-BAA5-E2467A3E4858}" dt="2021-05-03T08:02:20.197" v="0" actId="47"/>
        <pc:sldMkLst>
          <pc:docMk/>
          <pc:sldMk cId="1151893028" sldId="2029"/>
        </pc:sldMkLst>
      </pc:sldChg>
      <pc:sldChg chg="del">
        <pc:chgData name="Aurelien Domont" userId="6da7715ce44349b3" providerId="LiveId" clId="{C523CB9D-DE17-4F66-BAA5-E2467A3E4858}" dt="2021-05-03T08:02:20.197" v="0" actId="47"/>
        <pc:sldMkLst>
          <pc:docMk/>
          <pc:sldMk cId="3518638678" sldId="2030"/>
        </pc:sldMkLst>
      </pc:sldChg>
      <pc:sldChg chg="del">
        <pc:chgData name="Aurelien Domont" userId="6da7715ce44349b3" providerId="LiveId" clId="{C523CB9D-DE17-4F66-BAA5-E2467A3E4858}" dt="2021-05-03T08:02:20.197" v="0" actId="47"/>
        <pc:sldMkLst>
          <pc:docMk/>
          <pc:sldMk cId="3867219056" sldId="2031"/>
        </pc:sldMkLst>
      </pc:sldChg>
      <pc:sldChg chg="del">
        <pc:chgData name="Aurelien Domont" userId="6da7715ce44349b3" providerId="LiveId" clId="{C523CB9D-DE17-4F66-BAA5-E2467A3E4858}" dt="2021-05-03T08:02:20.197" v="0" actId="47"/>
        <pc:sldMkLst>
          <pc:docMk/>
          <pc:sldMk cId="2964978532" sldId="2032"/>
        </pc:sldMkLst>
      </pc:sldChg>
      <pc:sldChg chg="del">
        <pc:chgData name="Aurelien Domont" userId="6da7715ce44349b3" providerId="LiveId" clId="{C523CB9D-DE17-4F66-BAA5-E2467A3E4858}" dt="2021-05-03T08:02:45.439" v="1" actId="47"/>
        <pc:sldMkLst>
          <pc:docMk/>
          <pc:sldMk cId="1692242364" sldId="2033"/>
        </pc:sldMkLst>
      </pc:sldChg>
    </pc:docChg>
  </pc:docChgLst>
  <pc:docChgLst>
    <pc:chgData name="Aurelien Domont" userId="6da7715ce44349b3" providerId="LiveId" clId="{C18CC5C4-3AAC-491D-9097-885406CBF5DB}"/>
    <pc:docChg chg="custSel addSld delSld modSld">
      <pc:chgData name="Aurelien Domont" userId="6da7715ce44349b3" providerId="LiveId" clId="{C18CC5C4-3AAC-491D-9097-885406CBF5DB}" dt="2021-05-04T04:11:38.160" v="272" actId="478"/>
      <pc:docMkLst>
        <pc:docMk/>
      </pc:docMkLst>
      <pc:sldChg chg="modSp mod">
        <pc:chgData name="Aurelien Domont" userId="6da7715ce44349b3" providerId="LiveId" clId="{C18CC5C4-3AAC-491D-9097-885406CBF5DB}" dt="2021-05-04T03:22:26.865" v="21" actId="20577"/>
        <pc:sldMkLst>
          <pc:docMk/>
          <pc:sldMk cId="3131901387" sldId="256"/>
        </pc:sldMkLst>
        <pc:spChg chg="mod">
          <ac:chgData name="Aurelien Domont" userId="6da7715ce44349b3" providerId="LiveId" clId="{C18CC5C4-3AAC-491D-9097-885406CBF5DB}" dt="2021-05-04T03:22:26.865" v="21" actId="20577"/>
          <ac:spMkLst>
            <pc:docMk/>
            <pc:sldMk cId="3131901387" sldId="256"/>
            <ac:spMk id="2" creationId="{5261080C-C60C-4746-B6B1-A9A4FFA86785}"/>
          </ac:spMkLst>
        </pc:spChg>
      </pc:sldChg>
      <pc:sldChg chg="del">
        <pc:chgData name="Aurelien Domont" userId="6da7715ce44349b3" providerId="LiveId" clId="{C18CC5C4-3AAC-491D-9097-885406CBF5DB}" dt="2021-05-04T03:29:51.423" v="270" actId="47"/>
        <pc:sldMkLst>
          <pc:docMk/>
          <pc:sldMk cId="3692499981" sldId="1597"/>
        </pc:sldMkLst>
      </pc:sldChg>
      <pc:sldChg chg="del">
        <pc:chgData name="Aurelien Domont" userId="6da7715ce44349b3" providerId="LiveId" clId="{C18CC5C4-3AAC-491D-9097-885406CBF5DB}" dt="2021-05-04T03:29:41.764" v="269" actId="47"/>
        <pc:sldMkLst>
          <pc:docMk/>
          <pc:sldMk cId="1754585881" sldId="1598"/>
        </pc:sldMkLst>
      </pc:sldChg>
      <pc:sldChg chg="del">
        <pc:chgData name="Aurelien Domont" userId="6da7715ce44349b3" providerId="LiveId" clId="{C18CC5C4-3AAC-491D-9097-885406CBF5DB}" dt="2021-05-04T03:29:41.764" v="269" actId="47"/>
        <pc:sldMkLst>
          <pc:docMk/>
          <pc:sldMk cId="748962572" sldId="1599"/>
        </pc:sldMkLst>
      </pc:sldChg>
      <pc:sldChg chg="del">
        <pc:chgData name="Aurelien Domont" userId="6da7715ce44349b3" providerId="LiveId" clId="{C18CC5C4-3AAC-491D-9097-885406CBF5DB}" dt="2021-05-04T03:29:41.764" v="269" actId="47"/>
        <pc:sldMkLst>
          <pc:docMk/>
          <pc:sldMk cId="2853806433" sldId="1600"/>
        </pc:sldMkLst>
      </pc:sldChg>
      <pc:sldChg chg="modSp mod">
        <pc:chgData name="Aurelien Domont" userId="6da7715ce44349b3" providerId="LiveId" clId="{C18CC5C4-3AAC-491D-9097-885406CBF5DB}" dt="2021-05-04T03:28:04.054" v="247" actId="20577"/>
        <pc:sldMkLst>
          <pc:docMk/>
          <pc:sldMk cId="3324303879" sldId="1917"/>
        </pc:sldMkLst>
        <pc:spChg chg="mod">
          <ac:chgData name="Aurelien Domont" userId="6da7715ce44349b3" providerId="LiveId" clId="{C18CC5C4-3AAC-491D-9097-885406CBF5DB}" dt="2021-05-04T03:28:04.054" v="247" actId="20577"/>
          <ac:spMkLst>
            <pc:docMk/>
            <pc:sldMk cId="3324303879" sldId="1917"/>
            <ac:spMk id="14" creationId="{956AA4B1-A1E2-4421-8BDC-FFA14C801B6B}"/>
          </ac:spMkLst>
        </pc:spChg>
        <pc:spChg chg="mod">
          <ac:chgData name="Aurelien Domont" userId="6da7715ce44349b3" providerId="LiveId" clId="{C18CC5C4-3AAC-491D-9097-885406CBF5DB}" dt="2021-05-04T03:24:41.474" v="69" actId="20577"/>
          <ac:spMkLst>
            <pc:docMk/>
            <pc:sldMk cId="3324303879" sldId="1917"/>
            <ac:spMk id="16" creationId="{6C2BB713-9637-4B9B-938F-E9768876782A}"/>
          </ac:spMkLst>
        </pc:spChg>
      </pc:sldChg>
      <pc:sldChg chg="modSp mod">
        <pc:chgData name="Aurelien Domont" userId="6da7715ce44349b3" providerId="LiveId" clId="{C18CC5C4-3AAC-491D-9097-885406CBF5DB}" dt="2021-05-04T03:24:04.586" v="51" actId="313"/>
        <pc:sldMkLst>
          <pc:docMk/>
          <pc:sldMk cId="1872329668" sldId="1923"/>
        </pc:sldMkLst>
        <pc:spChg chg="mod">
          <ac:chgData name="Aurelien Domont" userId="6da7715ce44349b3" providerId="LiveId" clId="{C18CC5C4-3AAC-491D-9097-885406CBF5DB}" dt="2021-05-04T03:24:04.586" v="51" actId="313"/>
          <ac:spMkLst>
            <pc:docMk/>
            <pc:sldMk cId="1872329668" sldId="1923"/>
            <ac:spMk id="14" creationId="{C9800183-F524-4412-AB39-A6E1A21FF0B3}"/>
          </ac:spMkLst>
        </pc:spChg>
      </pc:sldChg>
      <pc:sldChg chg="delSp modSp mod">
        <pc:chgData name="Aurelien Domont" userId="6da7715ce44349b3" providerId="LiveId" clId="{C18CC5C4-3AAC-491D-9097-885406CBF5DB}" dt="2021-05-04T04:11:38.160" v="272" actId="478"/>
        <pc:sldMkLst>
          <pc:docMk/>
          <pc:sldMk cId="1659127470" sldId="1924"/>
        </pc:sldMkLst>
        <pc:spChg chg="del">
          <ac:chgData name="Aurelien Domont" userId="6da7715ce44349b3" providerId="LiveId" clId="{C18CC5C4-3AAC-491D-9097-885406CBF5DB}" dt="2021-05-04T04:11:38.160" v="272" actId="478"/>
          <ac:spMkLst>
            <pc:docMk/>
            <pc:sldMk cId="1659127470" sldId="1924"/>
            <ac:spMk id="2" creationId="{47EAB931-197A-40BB-B426-D6D65C61BAA2}"/>
          </ac:spMkLst>
        </pc:spChg>
        <pc:spChg chg="mod">
          <ac:chgData name="Aurelien Domont" userId="6da7715ce44349b3" providerId="LiveId" clId="{C18CC5C4-3AAC-491D-9097-885406CBF5DB}" dt="2021-05-04T03:28:53.465" v="267" actId="20577"/>
          <ac:spMkLst>
            <pc:docMk/>
            <pc:sldMk cId="1659127470" sldId="1924"/>
            <ac:spMk id="16" creationId="{6C2BB713-9637-4B9B-938F-E9768876782A}"/>
          </ac:spMkLst>
        </pc:spChg>
      </pc:sldChg>
      <pc:sldChg chg="add">
        <pc:chgData name="Aurelien Domont" userId="6da7715ce44349b3" providerId="LiveId" clId="{C18CC5C4-3AAC-491D-9097-885406CBF5DB}" dt="2021-05-04T03:29:39.341" v="268"/>
        <pc:sldMkLst>
          <pc:docMk/>
          <pc:sldMk cId="3274212698" sldId="1925"/>
        </pc:sldMkLst>
      </pc:sldChg>
      <pc:sldChg chg="add del">
        <pc:chgData name="Aurelien Domont" userId="6da7715ce44349b3" providerId="LiveId" clId="{C18CC5C4-3AAC-491D-9097-885406CBF5DB}" dt="2021-05-04T03:30:17.302" v="271" actId="47"/>
        <pc:sldMkLst>
          <pc:docMk/>
          <pc:sldMk cId="3028091984" sldId="2146"/>
        </pc:sldMkLst>
      </pc:sldChg>
      <pc:sldChg chg="add">
        <pc:chgData name="Aurelien Domont" userId="6da7715ce44349b3" providerId="LiveId" clId="{C18CC5C4-3AAC-491D-9097-885406CBF5DB}" dt="2021-05-04T03:29:39.341" v="268"/>
        <pc:sldMkLst>
          <pc:docMk/>
          <pc:sldMk cId="4057054822" sldId="2147"/>
        </pc:sldMkLst>
      </pc:sldChg>
      <pc:sldChg chg="add">
        <pc:chgData name="Aurelien Domont" userId="6da7715ce44349b3" providerId="LiveId" clId="{C18CC5C4-3AAC-491D-9097-885406CBF5DB}" dt="2021-05-04T03:29:39.341" v="268"/>
        <pc:sldMkLst>
          <pc:docMk/>
          <pc:sldMk cId="4208437711" sldId="2148"/>
        </pc:sldMkLst>
      </pc:sldChg>
      <pc:sldChg chg="add">
        <pc:chgData name="Aurelien Domont" userId="6da7715ce44349b3" providerId="LiveId" clId="{C18CC5C4-3AAC-491D-9097-885406CBF5DB}" dt="2021-05-04T03:29:39.341" v="268"/>
        <pc:sldMkLst>
          <pc:docMk/>
          <pc:sldMk cId="1289725493" sldId="2149"/>
        </pc:sldMkLst>
      </pc:sldChg>
    </pc:docChg>
  </pc:docChgLst>
  <pc:docChgLst>
    <pc:chgData name="Aurelien Domont" userId="6da7715ce44349b3" providerId="LiveId" clId="{3120ADC0-11CA-4D44-8C30-0625BC2FF170}"/>
    <pc:docChg chg="custSel modSld">
      <pc:chgData name="Aurelien Domont" userId="6da7715ce44349b3" providerId="LiveId" clId="{3120ADC0-11CA-4D44-8C30-0625BC2FF170}" dt="2021-04-30T01:16:47.575" v="287" actId="20577"/>
      <pc:docMkLst>
        <pc:docMk/>
      </pc:docMkLst>
      <pc:sldChg chg="addSp modSp mod">
        <pc:chgData name="Aurelien Domont" userId="6da7715ce44349b3" providerId="LiveId" clId="{3120ADC0-11CA-4D44-8C30-0625BC2FF170}" dt="2021-04-30T01:16:47.575" v="287" actId="20577"/>
        <pc:sldMkLst>
          <pc:docMk/>
          <pc:sldMk cId="1659127470" sldId="1924"/>
        </pc:sldMkLst>
        <pc:spChg chg="add mod">
          <ac:chgData name="Aurelien Domont" userId="6da7715ce44349b3" providerId="LiveId" clId="{3120ADC0-11CA-4D44-8C30-0625BC2FF170}" dt="2021-04-29T07:05:48.694" v="122" actId="207"/>
          <ac:spMkLst>
            <pc:docMk/>
            <pc:sldMk cId="1659127470" sldId="1924"/>
            <ac:spMk id="2" creationId="{47EAB931-197A-40BB-B426-D6D65C61BAA2}"/>
          </ac:spMkLst>
        </pc:spChg>
        <pc:spChg chg="mod">
          <ac:chgData name="Aurelien Domont" userId="6da7715ce44349b3" providerId="LiveId" clId="{3120ADC0-11CA-4D44-8C30-0625BC2FF170}" dt="2021-04-30T01:05:37.562" v="174" actId="20577"/>
          <ac:spMkLst>
            <pc:docMk/>
            <pc:sldMk cId="1659127470" sldId="1924"/>
            <ac:spMk id="14" creationId="{493F826D-CCF6-440C-BFA4-C3799A3ED755}"/>
          </ac:spMkLst>
        </pc:spChg>
        <pc:spChg chg="mod">
          <ac:chgData name="Aurelien Domont" userId="6da7715ce44349b3" providerId="LiveId" clId="{3120ADC0-11CA-4D44-8C30-0625BC2FF170}" dt="2021-04-30T01:06:05.905" v="187" actId="20577"/>
          <ac:spMkLst>
            <pc:docMk/>
            <pc:sldMk cId="1659127470" sldId="1924"/>
            <ac:spMk id="18" creationId="{0BCD4164-FFCE-447D-8269-E5891A7FEF0D}"/>
          </ac:spMkLst>
        </pc:spChg>
        <pc:spChg chg="mod">
          <ac:chgData name="Aurelien Domont" userId="6da7715ce44349b3" providerId="LiveId" clId="{3120ADC0-11CA-4D44-8C30-0625BC2FF170}" dt="2021-04-30T01:06:53.718" v="227" actId="20577"/>
          <ac:spMkLst>
            <pc:docMk/>
            <pc:sldMk cId="1659127470" sldId="1924"/>
            <ac:spMk id="19" creationId="{554EE1B4-E11D-4B37-9F78-B5B5FA8738AA}"/>
          </ac:spMkLst>
        </pc:spChg>
        <pc:spChg chg="mod">
          <ac:chgData name="Aurelien Domont" userId="6da7715ce44349b3" providerId="LiveId" clId="{3120ADC0-11CA-4D44-8C30-0625BC2FF170}" dt="2021-04-30T01:15:47.976" v="276" actId="20577"/>
          <ac:spMkLst>
            <pc:docMk/>
            <pc:sldMk cId="1659127470" sldId="1924"/>
            <ac:spMk id="34" creationId="{E2BDE0B8-90AF-4DE7-A71B-FE78ADE30B55}"/>
          </ac:spMkLst>
        </pc:spChg>
        <pc:spChg chg="mod">
          <ac:chgData name="Aurelien Domont" userId="6da7715ce44349b3" providerId="LiveId" clId="{3120ADC0-11CA-4D44-8C30-0625BC2FF170}" dt="2021-04-30T01:03:33.767" v="141" actId="20577"/>
          <ac:spMkLst>
            <pc:docMk/>
            <pc:sldMk cId="1659127470" sldId="1924"/>
            <ac:spMk id="35" creationId="{1BC3B263-81C3-42AD-96C7-45AB7FFD0557}"/>
          </ac:spMkLst>
        </pc:spChg>
        <pc:spChg chg="mod">
          <ac:chgData name="Aurelien Domont" userId="6da7715ce44349b3" providerId="LiveId" clId="{3120ADC0-11CA-4D44-8C30-0625BC2FF170}" dt="2021-04-30T01:16:47.575" v="287" actId="20577"/>
          <ac:spMkLst>
            <pc:docMk/>
            <pc:sldMk cId="1659127470" sldId="1924"/>
            <ac:spMk id="36" creationId="{DEACEA99-9E9A-408A-9277-86EFC1C60A69}"/>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r>
              <a:rPr lang="en-US" b="1" dirty="0">
                <a:solidFill>
                  <a:schemeClr val="tx1"/>
                </a:solidFill>
              </a:rPr>
              <a:t>Mergers &amp; Acquisitions’ ability</a:t>
            </a:r>
            <a:r>
              <a:rPr lang="en-US" b="1" baseline="0" dirty="0">
                <a:solidFill>
                  <a:schemeClr val="tx1"/>
                </a:solidFill>
              </a:rPr>
              <a:t> to reach </a:t>
            </a:r>
          </a:p>
          <a:p>
            <a:pPr>
              <a:defRPr b="1">
                <a:solidFill>
                  <a:schemeClr val="tx1"/>
                </a:solidFill>
              </a:defRPr>
            </a:pPr>
            <a:r>
              <a:rPr lang="en-US" b="1" baseline="0" dirty="0">
                <a:solidFill>
                  <a:schemeClr val="tx1"/>
                </a:solidFill>
              </a:rPr>
              <a:t>value creation objectives*</a:t>
            </a:r>
            <a:endParaRPr lang="en-US" b="1" dirty="0">
              <a:solidFill>
                <a:schemeClr val="tx1"/>
              </a:solidFill>
            </a:endParaRPr>
          </a:p>
        </c:rich>
      </c:tx>
      <c:layout>
        <c:manualLayout>
          <c:xMode val="edge"/>
          <c:yMode val="edge"/>
          <c:x val="0.21175964706539341"/>
          <c:y val="3.1914893617021274E-2"/>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endParaRPr lang="en-US"/>
        </a:p>
      </c:txPr>
    </c:title>
    <c:autoTitleDeleted val="0"/>
    <c:plotArea>
      <c:layout/>
      <c:pieChart>
        <c:varyColors val="1"/>
        <c:ser>
          <c:idx val="0"/>
          <c:order val="0"/>
          <c:tx>
            <c:strRef>
              <c:f>Sheet1!$B$1</c:f>
              <c:strCache>
                <c:ptCount val="1"/>
                <c:pt idx="0">
                  <c:v>Mergers &amp; Acquisitions’ ability to reach their value creation objectives</c:v>
                </c:pt>
              </c:strCache>
            </c:strRef>
          </c:tx>
          <c:dPt>
            <c:idx val="0"/>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1-9E2B-4CFA-9C28-FD5B467547C8}"/>
              </c:ext>
            </c:extLst>
          </c:dPt>
          <c:dPt>
            <c:idx val="1"/>
            <c:bubble3D val="0"/>
            <c:spPr>
              <a:solidFill>
                <a:schemeClr val="tx1"/>
              </a:solidFill>
              <a:ln w="19050">
                <a:solidFill>
                  <a:schemeClr val="lt1"/>
                </a:solidFill>
              </a:ln>
              <a:effectLst/>
            </c:spPr>
            <c:extLst>
              <c:ext xmlns:c16="http://schemas.microsoft.com/office/drawing/2014/chart" uri="{C3380CC4-5D6E-409C-BE32-E72D297353CC}">
                <c16:uniqueId val="{00000003-9E2B-4CFA-9C28-FD5B467547C8}"/>
              </c:ext>
            </c:extLst>
          </c:dPt>
          <c:dLbls>
            <c:dLbl>
              <c:idx val="0"/>
              <c:layout>
                <c:manualLayout>
                  <c:x val="-0.15974213994527287"/>
                  <c:y val="-1.1376277433405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E2B-4CFA-9C28-FD5B467547C8}"/>
                </c:ext>
              </c:extLst>
            </c:dLbl>
            <c:dLbl>
              <c:idx val="1"/>
              <c:layout>
                <c:manualLayout>
                  <c:x val="0.1672763444463059"/>
                  <c:y val="4.01340257999664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E2B-4CFA-9C28-FD5B467547C8}"/>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ailure rate</c:v>
                </c:pt>
                <c:pt idx="1">
                  <c:v>Success rate</c:v>
                </c:pt>
              </c:strCache>
            </c:strRef>
          </c:cat>
          <c:val>
            <c:numRef>
              <c:f>Sheet1!$B$2:$B$3</c:f>
              <c:numCache>
                <c:formatCode>0%</c:formatCode>
                <c:ptCount val="2"/>
                <c:pt idx="0">
                  <c:v>0.55000000000000004</c:v>
                </c:pt>
                <c:pt idx="1">
                  <c:v>0.45</c:v>
                </c:pt>
              </c:numCache>
            </c:numRef>
          </c:val>
          <c:extLst>
            <c:ext xmlns:c16="http://schemas.microsoft.com/office/drawing/2014/chart" uri="{C3380CC4-5D6E-409C-BE32-E72D297353CC}">
              <c16:uniqueId val="{00000004-9E2B-4CFA-9C28-FD5B467547C8}"/>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8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Main reasons for M&amp;A failure (%)</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orporate Strategy definition</c:v>
                </c:pt>
                <c:pt idx="1">
                  <c:v>Target screening &amp; Due diligence</c:v>
                </c:pt>
                <c:pt idx="2">
                  <c:v>Negotiation &amp; closing</c:v>
                </c:pt>
                <c:pt idx="3">
                  <c:v>Post merger integration</c:v>
                </c:pt>
              </c:strCache>
            </c:strRef>
          </c:cat>
          <c:val>
            <c:numRef>
              <c:f>Sheet1!$B$2:$B$5</c:f>
              <c:numCache>
                <c:formatCode>0%</c:formatCode>
                <c:ptCount val="4"/>
                <c:pt idx="0">
                  <c:v>0.09</c:v>
                </c:pt>
                <c:pt idx="1">
                  <c:v>0.25</c:v>
                </c:pt>
                <c:pt idx="2">
                  <c:v>0.14000000000000001</c:v>
                </c:pt>
                <c:pt idx="3">
                  <c:v>0.52</c:v>
                </c:pt>
              </c:numCache>
            </c:numRef>
          </c:val>
          <c:extLst>
            <c:ext xmlns:c16="http://schemas.microsoft.com/office/drawing/2014/chart" uri="{C3380CC4-5D6E-409C-BE32-E72D297353CC}">
              <c16:uniqueId val="{00000000-F032-4567-8503-4E32B2C87F29}"/>
            </c:ext>
          </c:extLst>
        </c:ser>
        <c:dLbls>
          <c:showLegendKey val="0"/>
          <c:showVal val="0"/>
          <c:showCatName val="0"/>
          <c:showSerName val="0"/>
          <c:showPercent val="0"/>
          <c:showBubbleSize val="0"/>
        </c:dLbls>
        <c:gapWidth val="219"/>
        <c:overlap val="-27"/>
        <c:axId val="272305999"/>
        <c:axId val="216084207"/>
      </c:barChart>
      <c:catAx>
        <c:axId val="272305999"/>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16084207"/>
        <c:crosses val="autoZero"/>
        <c:auto val="1"/>
        <c:lblAlgn val="ctr"/>
        <c:lblOffset val="100"/>
        <c:noMultiLvlLbl val="0"/>
      </c:catAx>
      <c:valAx>
        <c:axId val="216084207"/>
        <c:scaling>
          <c:orientation val="minMax"/>
        </c:scaling>
        <c:delete val="0"/>
        <c:axPos val="l"/>
        <c:majorGridlines>
          <c:spPr>
            <a:ln w="9525" cap="flat" cmpd="sng" algn="ctr">
              <a:solidFill>
                <a:schemeClr val="bg1">
                  <a:lumMod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72305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7/20/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7/20/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42859470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22145538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28189613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4</a:t>
            </a:fld>
            <a:endParaRPr lang="en-US" dirty="0"/>
          </a:p>
        </p:txBody>
      </p:sp>
    </p:spTree>
    <p:extLst>
      <p:ext uri="{BB962C8B-B14F-4D97-AF65-F5344CB8AC3E}">
        <p14:creationId xmlns:p14="http://schemas.microsoft.com/office/powerpoint/2010/main" val="24837919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5</a:t>
            </a:fld>
            <a:endParaRPr lang="en-US" dirty="0"/>
          </a:p>
        </p:txBody>
      </p:sp>
    </p:spTree>
    <p:extLst>
      <p:ext uri="{BB962C8B-B14F-4D97-AF65-F5344CB8AC3E}">
        <p14:creationId xmlns:p14="http://schemas.microsoft.com/office/powerpoint/2010/main" val="38673615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6</a:t>
            </a:fld>
            <a:endParaRPr lang="en-US" dirty="0"/>
          </a:p>
        </p:txBody>
      </p:sp>
    </p:spTree>
    <p:extLst>
      <p:ext uri="{BB962C8B-B14F-4D97-AF65-F5344CB8AC3E}">
        <p14:creationId xmlns:p14="http://schemas.microsoft.com/office/powerpoint/2010/main" val="38673615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7</a:t>
            </a:fld>
            <a:endParaRPr lang="en-US" dirty="0"/>
          </a:p>
        </p:txBody>
      </p:sp>
    </p:spTree>
    <p:extLst>
      <p:ext uri="{BB962C8B-B14F-4D97-AF65-F5344CB8AC3E}">
        <p14:creationId xmlns:p14="http://schemas.microsoft.com/office/powerpoint/2010/main" val="21832100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8</a:t>
            </a:fld>
            <a:endParaRPr lang="en-US" dirty="0"/>
          </a:p>
        </p:txBody>
      </p:sp>
    </p:spTree>
    <p:extLst>
      <p:ext uri="{BB962C8B-B14F-4D97-AF65-F5344CB8AC3E}">
        <p14:creationId xmlns:p14="http://schemas.microsoft.com/office/powerpoint/2010/main" val="36483800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9</a:t>
            </a:fld>
            <a:endParaRPr lang="en-US" dirty="0"/>
          </a:p>
        </p:txBody>
      </p:sp>
    </p:spTree>
    <p:extLst>
      <p:ext uri="{BB962C8B-B14F-4D97-AF65-F5344CB8AC3E}">
        <p14:creationId xmlns:p14="http://schemas.microsoft.com/office/powerpoint/2010/main" val="41738693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0</a:t>
            </a:fld>
            <a:endParaRPr lang="en-US" dirty="0"/>
          </a:p>
        </p:txBody>
      </p:sp>
    </p:spTree>
    <p:extLst>
      <p:ext uri="{BB962C8B-B14F-4D97-AF65-F5344CB8AC3E}">
        <p14:creationId xmlns:p14="http://schemas.microsoft.com/office/powerpoint/2010/main" val="5656435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33582372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1</a:t>
            </a:fld>
            <a:endParaRPr lang="en-US" dirty="0"/>
          </a:p>
        </p:txBody>
      </p:sp>
    </p:spTree>
    <p:extLst>
      <p:ext uri="{BB962C8B-B14F-4D97-AF65-F5344CB8AC3E}">
        <p14:creationId xmlns:p14="http://schemas.microsoft.com/office/powerpoint/2010/main" val="16414607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2</a:t>
            </a:fld>
            <a:endParaRPr lang="en-US" dirty="0"/>
          </a:p>
        </p:txBody>
      </p:sp>
    </p:spTree>
    <p:extLst>
      <p:ext uri="{BB962C8B-B14F-4D97-AF65-F5344CB8AC3E}">
        <p14:creationId xmlns:p14="http://schemas.microsoft.com/office/powerpoint/2010/main" val="18910185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3</a:t>
            </a:fld>
            <a:endParaRPr lang="en-US" dirty="0"/>
          </a:p>
        </p:txBody>
      </p:sp>
    </p:spTree>
    <p:extLst>
      <p:ext uri="{BB962C8B-B14F-4D97-AF65-F5344CB8AC3E}">
        <p14:creationId xmlns:p14="http://schemas.microsoft.com/office/powerpoint/2010/main" val="437334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4</a:t>
            </a:fld>
            <a:endParaRPr lang="en-US" dirty="0"/>
          </a:p>
        </p:txBody>
      </p:sp>
    </p:spTree>
    <p:extLst>
      <p:ext uri="{BB962C8B-B14F-4D97-AF65-F5344CB8AC3E}">
        <p14:creationId xmlns:p14="http://schemas.microsoft.com/office/powerpoint/2010/main" val="14798833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5</a:t>
            </a:fld>
            <a:endParaRPr lang="en-US" dirty="0"/>
          </a:p>
        </p:txBody>
      </p:sp>
    </p:spTree>
    <p:extLst>
      <p:ext uri="{BB962C8B-B14F-4D97-AF65-F5344CB8AC3E}">
        <p14:creationId xmlns:p14="http://schemas.microsoft.com/office/powerpoint/2010/main" val="5041292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6</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7</a:t>
            </a:fld>
            <a:endParaRPr lang="en-US" dirty="0"/>
          </a:p>
        </p:txBody>
      </p:sp>
    </p:spTree>
    <p:extLst>
      <p:ext uri="{BB962C8B-B14F-4D97-AF65-F5344CB8AC3E}">
        <p14:creationId xmlns:p14="http://schemas.microsoft.com/office/powerpoint/2010/main" val="7674029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9</a:t>
            </a:fld>
            <a:endParaRPr lang="en-US" dirty="0"/>
          </a:p>
        </p:txBody>
      </p:sp>
    </p:spTree>
    <p:extLst>
      <p:ext uri="{BB962C8B-B14F-4D97-AF65-F5344CB8AC3E}">
        <p14:creationId xmlns:p14="http://schemas.microsoft.com/office/powerpoint/2010/main" val="27649952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0</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18997928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11139700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8833646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15357421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28297328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30146304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24384002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88.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52038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2834804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377205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14727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41309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414121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72425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13202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30564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oleObject" Target="../embeddings/oleObject9.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17.xml"/><Relationship Id="rId5" Type="http://schemas.openxmlformats.org/officeDocument/2006/relationships/slideLayout" Target="../slideLayouts/slideLayout12.xml"/><Relationship Id="rId10" Type="http://schemas.openxmlformats.org/officeDocument/2006/relationships/tags" Target="../tags/tag16.xml"/><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18.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32.xml"/><Relationship Id="rId5" Type="http://schemas.openxmlformats.org/officeDocument/2006/relationships/slideLayout" Target="../slideLayouts/slideLayout20.xml"/><Relationship Id="rId10" Type="http://schemas.openxmlformats.org/officeDocument/2006/relationships/tags" Target="../tags/tag31.xml"/><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oleObject" Target="../embeddings/oleObject27.bin"/><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47.xml"/><Relationship Id="rId5" Type="http://schemas.openxmlformats.org/officeDocument/2006/relationships/slideLayout" Target="../slideLayouts/slideLayout28.xml"/><Relationship Id="rId10" Type="http://schemas.openxmlformats.org/officeDocument/2006/relationships/tags" Target="../tags/tag46.xml"/><Relationship Id="rId4" Type="http://schemas.openxmlformats.org/officeDocument/2006/relationships/slideLayout" Target="../slideLayouts/slideLayout2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oleObject" Target="../embeddings/oleObject36.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62.xml"/><Relationship Id="rId5" Type="http://schemas.openxmlformats.org/officeDocument/2006/relationships/slideLayout" Target="../slideLayouts/slideLayout36.xml"/><Relationship Id="rId10" Type="http://schemas.openxmlformats.org/officeDocument/2006/relationships/tags" Target="../tags/tag61.xml"/><Relationship Id="rId4" Type="http://schemas.openxmlformats.org/officeDocument/2006/relationships/slideLayout" Target="../slideLayouts/slideLayout3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oleObject" Target="../embeddings/oleObject45.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77.xml"/><Relationship Id="rId5" Type="http://schemas.openxmlformats.org/officeDocument/2006/relationships/slideLayout" Target="../slideLayouts/slideLayout44.xml"/><Relationship Id="rId10" Type="http://schemas.openxmlformats.org/officeDocument/2006/relationships/tags" Target="../tags/tag76.xml"/><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54.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92.xml"/><Relationship Id="rId5" Type="http://schemas.openxmlformats.org/officeDocument/2006/relationships/slideLayout" Target="../slideLayouts/slideLayout52.xml"/><Relationship Id="rId10" Type="http://schemas.openxmlformats.org/officeDocument/2006/relationships/tags" Target="../tags/tag91.xml"/><Relationship Id="rId4" Type="http://schemas.openxmlformats.org/officeDocument/2006/relationships/slideLayout" Target="../slideLayouts/slideLayout51.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oleObject" Target="../embeddings/oleObject56.bin"/><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96.xml"/><Relationship Id="rId5" Type="http://schemas.openxmlformats.org/officeDocument/2006/relationships/slideLayout" Target="../slideLayouts/slideLayout60.xml"/><Relationship Id="rId10" Type="http://schemas.openxmlformats.org/officeDocument/2006/relationships/tags" Target="../tags/tag95.xml"/><Relationship Id="rId4" Type="http://schemas.openxmlformats.org/officeDocument/2006/relationships/slideLayout" Target="../slideLayouts/slideLayout59.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1.em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oleObject" Target="../embeddings/oleObject58.bin"/><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ags" Target="../tags/tag100.xml"/><Relationship Id="rId5" Type="http://schemas.openxmlformats.org/officeDocument/2006/relationships/slideLayout" Target="../slideLayouts/slideLayout68.xml"/><Relationship Id="rId10" Type="http://schemas.openxmlformats.org/officeDocument/2006/relationships/tags" Target="../tags/tag99.xml"/><Relationship Id="rId4" Type="http://schemas.openxmlformats.org/officeDocument/2006/relationships/slideLayout" Target="../slideLayouts/slideLayout67.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hyperlink" Target="https://www.slidebooks.com/" TargetMode="Externa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14.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15.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38.svg"/><Relationship Id="rId2" Type="http://schemas.openxmlformats.org/officeDocument/2006/relationships/slideLayout" Target="../slideLayouts/slideLayout3.xml"/><Relationship Id="rId1" Type="http://schemas.openxmlformats.org/officeDocument/2006/relationships/tags" Target="../tags/tag116.x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6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38.svg"/><Relationship Id="rId2" Type="http://schemas.openxmlformats.org/officeDocument/2006/relationships/slideLayout" Target="../slideLayouts/slideLayout3.xml"/><Relationship Id="rId1" Type="http://schemas.openxmlformats.org/officeDocument/2006/relationships/tags" Target="../tags/tag117.x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6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118.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119.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120.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notesSlide" Target="../notesSlides/notesSlide16.xml"/><Relationship Id="rId7" Type="http://schemas.openxmlformats.org/officeDocument/2006/relationships/image" Target="../media/image42.png"/><Relationship Id="rId2" Type="http://schemas.openxmlformats.org/officeDocument/2006/relationships/slideLayout" Target="../slideLayouts/slideLayout3.xml"/><Relationship Id="rId1" Type="http://schemas.openxmlformats.org/officeDocument/2006/relationships/tags" Target="../tags/tag121.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122.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123.xml"/><Relationship Id="rId5" Type="http://schemas.openxmlformats.org/officeDocument/2006/relationships/image" Target="../media/image1.emf"/><Relationship Id="rId4" Type="http://schemas.openxmlformats.org/officeDocument/2006/relationships/oleObject" Target="../embeddings/oleObject68.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05.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124.xml"/><Relationship Id="rId6" Type="http://schemas.openxmlformats.org/officeDocument/2006/relationships/image" Target="../media/image43.png"/><Relationship Id="rId5" Type="http://schemas.openxmlformats.org/officeDocument/2006/relationships/image" Target="../media/image1.emf"/><Relationship Id="rId4" Type="http://schemas.openxmlformats.org/officeDocument/2006/relationships/oleObject" Target="../embeddings/oleObject68.bin"/></Relationships>
</file>

<file path=ppt/slides/_rels/slide21.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notesSlide" Target="../notesSlides/notesSlide20.xml"/><Relationship Id="rId7" Type="http://schemas.openxmlformats.org/officeDocument/2006/relationships/image" Target="../media/image47.png"/><Relationship Id="rId2" Type="http://schemas.openxmlformats.org/officeDocument/2006/relationships/slideLayout" Target="../slideLayouts/slideLayout3.xml"/><Relationship Id="rId1" Type="http://schemas.openxmlformats.org/officeDocument/2006/relationships/tags" Target="../tags/tag125.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126.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2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notesSlide" Target="../notesSlides/notesSlide22.xml"/><Relationship Id="rId7" Type="http://schemas.openxmlformats.org/officeDocument/2006/relationships/image" Target="../media/image49.svg"/><Relationship Id="rId2" Type="http://schemas.openxmlformats.org/officeDocument/2006/relationships/slideLayout" Target="../slideLayouts/slideLayout3.xml"/><Relationship Id="rId1" Type="http://schemas.openxmlformats.org/officeDocument/2006/relationships/tags" Target="../tags/tag127.xml"/><Relationship Id="rId6" Type="http://schemas.openxmlformats.org/officeDocument/2006/relationships/image" Target="../media/image48.png"/><Relationship Id="rId5" Type="http://schemas.openxmlformats.org/officeDocument/2006/relationships/image" Target="../media/image1.emf"/><Relationship Id="rId4" Type="http://schemas.openxmlformats.org/officeDocument/2006/relationships/oleObject" Target="../embeddings/oleObject69.bin"/><Relationship Id="rId9" Type="http://schemas.openxmlformats.org/officeDocument/2006/relationships/image" Target="../media/image51.svg"/></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notesSlide" Target="../notesSlides/notesSlide23.xml"/><Relationship Id="rId7" Type="http://schemas.openxmlformats.org/officeDocument/2006/relationships/image" Target="../media/image55.png"/><Relationship Id="rId2" Type="http://schemas.openxmlformats.org/officeDocument/2006/relationships/slideLayout" Target="../slideLayouts/slideLayout3.xml"/><Relationship Id="rId1" Type="http://schemas.openxmlformats.org/officeDocument/2006/relationships/tags" Target="../tags/tag128.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image" Target="../media/image1.emf"/></Relationships>
</file>

<file path=ppt/slides/_rels/slide25.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notesSlide" Target="../notesSlides/notesSlide24.xml"/><Relationship Id="rId7" Type="http://schemas.openxmlformats.org/officeDocument/2006/relationships/image" Target="../media/image57.svg"/><Relationship Id="rId2" Type="http://schemas.openxmlformats.org/officeDocument/2006/relationships/slideLayout" Target="../slideLayouts/slideLayout18.xml"/><Relationship Id="rId1" Type="http://schemas.openxmlformats.org/officeDocument/2006/relationships/tags" Target="../tags/tag129.xml"/><Relationship Id="rId6" Type="http://schemas.openxmlformats.org/officeDocument/2006/relationships/image" Target="../media/image56.png"/><Relationship Id="rId11" Type="http://schemas.openxmlformats.org/officeDocument/2006/relationships/image" Target="../media/image61.svg"/><Relationship Id="rId5" Type="http://schemas.openxmlformats.org/officeDocument/2006/relationships/image" Target="../media/image1.emf"/><Relationship Id="rId10" Type="http://schemas.openxmlformats.org/officeDocument/2006/relationships/image" Target="../media/image60.png"/><Relationship Id="rId4" Type="http://schemas.openxmlformats.org/officeDocument/2006/relationships/oleObject" Target="../embeddings/oleObject61.bin"/><Relationship Id="rId9" Type="http://schemas.openxmlformats.org/officeDocument/2006/relationships/image" Target="../media/image59.png"/></Relationships>
</file>

<file path=ppt/slides/_rels/slide26.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18.xml"/><Relationship Id="rId7" Type="http://schemas.openxmlformats.org/officeDocument/2006/relationships/hyperlink" Target="https://www.slidebooks.com/products/business-toolkit?variant=12473147916370&amp;utm_source=email&amp;utm_medium=email&amp;utm_campaign=entering%20new%20market" TargetMode="External"/><Relationship Id="rId12" Type="http://schemas.openxmlformats.org/officeDocument/2006/relationships/hyperlink" Target="https://www.slidebooks.com/collections/best-seller-business-documents/products/business-toolkit?variant=12473147916370&amp;utm_source=email&amp;utm_medium=email&amp;utm_campaign=entering%20new%20market" TargetMode="Externa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2.emf"/><Relationship Id="rId11" Type="http://schemas.openxmlformats.org/officeDocument/2006/relationships/hyperlink" Target="https://www.slidebooks.com/products/business-toolkit?variant=12473147916370" TargetMode="External"/><Relationship Id="rId5" Type="http://schemas.openxmlformats.org/officeDocument/2006/relationships/oleObject" Target="../embeddings/oleObject70.bin"/><Relationship Id="rId10" Type="http://schemas.openxmlformats.org/officeDocument/2006/relationships/hyperlink" Target="http://www.slidebooks.com/" TargetMode="External"/><Relationship Id="rId4" Type="http://schemas.openxmlformats.org/officeDocument/2006/relationships/notesSlide" Target="../notesSlides/notesSlide25.xml"/><Relationship Id="rId9" Type="http://schemas.openxmlformats.org/officeDocument/2006/relationships/hyperlink" Target="https://www.slidebooks.com/products/strategy-toolkit?variant=17648810693" TargetMode="External"/></Relationships>
</file>

<file path=ppt/slides/_rels/slide27.xml.rels><?xml version="1.0" encoding="UTF-8" standalone="yes"?>
<Relationships xmlns="http://schemas.openxmlformats.org/package/2006/relationships"><Relationship Id="rId8" Type="http://schemas.openxmlformats.org/officeDocument/2006/relationships/image" Target="../media/image64.svg"/><Relationship Id="rId13" Type="http://schemas.openxmlformats.org/officeDocument/2006/relationships/image" Target="../media/image69.png"/><Relationship Id="rId18" Type="http://schemas.openxmlformats.org/officeDocument/2006/relationships/image" Target="../media/image74.svg"/><Relationship Id="rId3" Type="http://schemas.openxmlformats.org/officeDocument/2006/relationships/slideLayout" Target="../slideLayouts/slideLayout18.xml"/><Relationship Id="rId21" Type="http://schemas.openxmlformats.org/officeDocument/2006/relationships/image" Target="../media/image77.png"/><Relationship Id="rId7" Type="http://schemas.openxmlformats.org/officeDocument/2006/relationships/image" Target="../media/image63.png"/><Relationship Id="rId12" Type="http://schemas.openxmlformats.org/officeDocument/2006/relationships/image" Target="../media/image68.svg"/><Relationship Id="rId17" Type="http://schemas.openxmlformats.org/officeDocument/2006/relationships/image" Target="../media/image73.png"/><Relationship Id="rId2" Type="http://schemas.openxmlformats.org/officeDocument/2006/relationships/tags" Target="../tags/tag133.xml"/><Relationship Id="rId16" Type="http://schemas.openxmlformats.org/officeDocument/2006/relationships/image" Target="../media/image72.svg"/><Relationship Id="rId20" Type="http://schemas.openxmlformats.org/officeDocument/2006/relationships/image" Target="../media/image76.svg"/><Relationship Id="rId1" Type="http://schemas.openxmlformats.org/officeDocument/2006/relationships/tags" Target="../tags/tag132.xml"/><Relationship Id="rId6" Type="http://schemas.openxmlformats.org/officeDocument/2006/relationships/image" Target="../media/image1.emf"/><Relationship Id="rId11" Type="http://schemas.openxmlformats.org/officeDocument/2006/relationships/image" Target="../media/image67.png"/><Relationship Id="rId24" Type="http://schemas.openxmlformats.org/officeDocument/2006/relationships/image" Target="../media/image80.svg"/><Relationship Id="rId5" Type="http://schemas.openxmlformats.org/officeDocument/2006/relationships/oleObject" Target="../embeddings/oleObject71.bin"/><Relationship Id="rId15" Type="http://schemas.openxmlformats.org/officeDocument/2006/relationships/image" Target="../media/image71.png"/><Relationship Id="rId23" Type="http://schemas.openxmlformats.org/officeDocument/2006/relationships/image" Target="../media/image79.png"/><Relationship Id="rId10" Type="http://schemas.openxmlformats.org/officeDocument/2006/relationships/image" Target="../media/image66.svg"/><Relationship Id="rId19" Type="http://schemas.openxmlformats.org/officeDocument/2006/relationships/image" Target="../media/image75.png"/><Relationship Id="rId4" Type="http://schemas.openxmlformats.org/officeDocument/2006/relationships/notesSlide" Target="../notesSlides/notesSlide26.xml"/><Relationship Id="rId9" Type="http://schemas.openxmlformats.org/officeDocument/2006/relationships/image" Target="../media/image65.png"/><Relationship Id="rId14" Type="http://schemas.openxmlformats.org/officeDocument/2006/relationships/image" Target="../media/image70.svg"/><Relationship Id="rId22" Type="http://schemas.openxmlformats.org/officeDocument/2006/relationships/image" Target="../media/image78.svg"/></Relationships>
</file>

<file path=ppt/slides/_rels/slide28.xml.rels><?xml version="1.0" encoding="UTF-8" standalone="yes"?>
<Relationships xmlns="http://schemas.openxmlformats.org/package/2006/relationships"><Relationship Id="rId3" Type="http://schemas.openxmlformats.org/officeDocument/2006/relationships/hyperlink" Target="https://www.slidebooks.com/pages/reviews" TargetMode="External"/><Relationship Id="rId2" Type="http://schemas.openxmlformats.org/officeDocument/2006/relationships/image" Target="../media/image81.pn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83.png"/><Relationship Id="rId2" Type="http://schemas.openxmlformats.org/officeDocument/2006/relationships/slideLayout" Target="../slideLayouts/slideLayout18.xml"/><Relationship Id="rId1" Type="http://schemas.openxmlformats.org/officeDocument/2006/relationships/tags" Target="../tags/tag134.xml"/><Relationship Id="rId6" Type="http://schemas.openxmlformats.org/officeDocument/2006/relationships/image" Target="../media/image82.png"/><Relationship Id="rId5" Type="http://schemas.openxmlformats.org/officeDocument/2006/relationships/image" Target="../media/image1.emf"/><Relationship Id="rId4" Type="http://schemas.openxmlformats.org/officeDocument/2006/relationships/oleObject" Target="../embeddings/oleObject7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06.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3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8.xml"/><Relationship Id="rId7" Type="http://schemas.openxmlformats.org/officeDocument/2006/relationships/hyperlink" Target="https://www.slidebooks.com/?utm_source=email&amp;utm_medium=email&amp;utm_campaign=entering%20new%20market" TargetMode="Externa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notesSlide" Target="../notesSlides/notesSlide28.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slideLayout" Target="../slideLayouts/slideLayout3.xml"/><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tags" Target="../tags/tag108.xml"/><Relationship Id="rId16" Type="http://schemas.openxmlformats.org/officeDocument/2006/relationships/image" Target="../media/image14.png"/><Relationship Id="rId1" Type="http://schemas.openxmlformats.org/officeDocument/2006/relationships/tags" Target="../tags/tag107.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oleObject" Target="../embeddings/oleObject62.bin"/><Relationship Id="rId9" Type="http://schemas.openxmlformats.org/officeDocument/2006/relationships/image" Target="../media/image7.svg"/><Relationship Id="rId1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09.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10.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gif"/><Relationship Id="rId3" Type="http://schemas.openxmlformats.org/officeDocument/2006/relationships/notesSlide" Target="../notesSlides/notesSlide6.xml"/><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slideLayout" Target="../slideLayouts/slideLayout3.xml"/><Relationship Id="rId1" Type="http://schemas.openxmlformats.org/officeDocument/2006/relationships/tags" Target="../tags/tag111.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emf"/><Relationship Id="rId10" Type="http://schemas.openxmlformats.org/officeDocument/2006/relationships/image" Target="../media/image20.png"/><Relationship Id="rId4" Type="http://schemas.openxmlformats.org/officeDocument/2006/relationships/oleObject" Target="../embeddings/oleObject61.bin"/><Relationship Id="rId9" Type="http://schemas.openxmlformats.org/officeDocument/2006/relationships/image" Target="../media/image19.png"/><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svg"/><Relationship Id="rId3" Type="http://schemas.openxmlformats.org/officeDocument/2006/relationships/notesSlide" Target="../notesSlides/notesSlide7.xml"/><Relationship Id="rId7" Type="http://schemas.openxmlformats.org/officeDocument/2006/relationships/image" Target="../media/image26.svg"/><Relationship Id="rId12" Type="http://schemas.openxmlformats.org/officeDocument/2006/relationships/image" Target="../media/image31.png"/><Relationship Id="rId17" Type="http://schemas.openxmlformats.org/officeDocument/2006/relationships/image" Target="../media/image36.svg"/><Relationship Id="rId2" Type="http://schemas.openxmlformats.org/officeDocument/2006/relationships/slideLayout" Target="../slideLayouts/slideLayout3.xml"/><Relationship Id="rId16" Type="http://schemas.openxmlformats.org/officeDocument/2006/relationships/image" Target="../media/image35.png"/><Relationship Id="rId1" Type="http://schemas.openxmlformats.org/officeDocument/2006/relationships/tags" Target="../tags/tag112.xml"/><Relationship Id="rId6" Type="http://schemas.openxmlformats.org/officeDocument/2006/relationships/image" Target="../media/image25.png"/><Relationship Id="rId11" Type="http://schemas.openxmlformats.org/officeDocument/2006/relationships/image" Target="../media/image30.svg"/><Relationship Id="rId5" Type="http://schemas.openxmlformats.org/officeDocument/2006/relationships/image" Target="../media/image1.emf"/><Relationship Id="rId15" Type="http://schemas.openxmlformats.org/officeDocument/2006/relationships/image" Target="../media/image34.svg"/><Relationship Id="rId10" Type="http://schemas.openxmlformats.org/officeDocument/2006/relationships/image" Target="../media/image29.png"/><Relationship Id="rId4" Type="http://schemas.openxmlformats.org/officeDocument/2006/relationships/oleObject" Target="../embeddings/oleObject61.bin"/><Relationship Id="rId9" Type="http://schemas.openxmlformats.org/officeDocument/2006/relationships/image" Target="../media/image28.svg"/><Relationship Id="rId1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6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299175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1" y="810229"/>
            <a:ext cx="10256128" cy="1967160"/>
          </a:xfrm>
        </p:spPr>
        <p:txBody>
          <a:bodyPr>
            <a:normAutofit/>
          </a:bodyPr>
          <a:lstStyle/>
          <a:p>
            <a:pPr>
              <a:defRPr/>
            </a:pPr>
            <a:r>
              <a:rPr lang="en-US" sz="4800" dirty="0"/>
              <a:t>Post Merger Integration Toolkit</a:t>
            </a:r>
            <a:br>
              <a:rPr lang="en-US" sz="4800" dirty="0"/>
            </a:br>
            <a:r>
              <a:rPr lang="en-US" sz="4800" b="0" dirty="0"/>
              <a:t>Overview and 3-Phase Approach</a:t>
            </a:r>
          </a:p>
        </p:txBody>
      </p:sp>
      <p:pic>
        <p:nvPicPr>
          <p:cNvPr id="7" name="Picture 6">
            <a:hlinkClick r:id="rId7"/>
            <a:extLst>
              <a:ext uri="{FF2B5EF4-FFF2-40B4-BE49-F238E27FC236}">
                <a16:creationId xmlns:a16="http://schemas.microsoft.com/office/drawing/2014/main" id="{56F6D9FE-2BD8-43FA-8517-544E7B92AA1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86245" y="5169132"/>
            <a:ext cx="4306571" cy="1264867"/>
          </a:xfrm>
          <a:prstGeom prst="rect">
            <a:avLst/>
          </a:prstGeom>
        </p:spPr>
      </p:pic>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6" name="Text Placeholder 2">
            <a:extLst>
              <a:ext uri="{FF2B5EF4-FFF2-40B4-BE49-F238E27FC236}">
                <a16:creationId xmlns:a16="http://schemas.microsoft.com/office/drawing/2014/main" id="{2436D48A-FAB5-4E4C-AB97-233E7A3795E6}"/>
              </a:ext>
            </a:extLst>
          </p:cNvPr>
          <p:cNvSpPr>
            <a:spLocks noGrp="1"/>
          </p:cNvSpPr>
          <p:nvPr>
            <p:ph type="body" sz="quarter" idx="11"/>
          </p:nvPr>
        </p:nvSpPr>
        <p:spPr>
          <a:xfrm>
            <a:off x="586365" y="3336377"/>
            <a:ext cx="6165414" cy="775597"/>
          </a:xfrm>
        </p:spPr>
        <p:txBody>
          <a:bodyPr wrap="square" lIns="0" tIns="0" rIns="0" bIns="0">
            <a:spAutoFit/>
          </a:bodyPr>
          <a:lstStyle/>
          <a:p>
            <a:r>
              <a:rPr lang="en-GB" sz="2800" b="1" dirty="0"/>
              <a:t>Created by ex-McKinsey, Deloitte &amp; BCG Strategy Consultants</a:t>
            </a:r>
            <a:endParaRPr lang="en-US" sz="2800" dirty="0"/>
          </a:p>
        </p:txBody>
      </p:sp>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280486"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3-Phase Approach</a:t>
            </a:r>
            <a:br>
              <a:rPr lang="en-US" sz="2400" dirty="0"/>
            </a:br>
            <a:r>
              <a:rPr lang="en-US" sz="1700" b="0" dirty="0"/>
              <a:t>The Post Merger Integration Toolkit includes a 3-Phase Approach that we built and refined over the past 20 years, by constant trial and error. The good news is that you don’t have to waste your time, energy and money going through that lengthy trial-and-error process. You can simply leverage our work and customize it based on the specificities of your organization.</a:t>
            </a:r>
            <a:endParaRPr lang="en-US" sz="17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15" name="Chevron 17">
            <a:extLst>
              <a:ext uri="{FF2B5EF4-FFF2-40B4-BE49-F238E27FC236}">
                <a16:creationId xmlns:a16="http://schemas.microsoft.com/office/drawing/2014/main" id="{732724F5-813D-4E0C-955B-93EC1AD01210}"/>
              </a:ext>
            </a:extLst>
          </p:cNvPr>
          <p:cNvSpPr/>
          <p:nvPr/>
        </p:nvSpPr>
        <p:spPr bwMode="auto">
          <a:xfrm>
            <a:off x="606385"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17" name="Chevron 17">
            <a:extLst>
              <a:ext uri="{FF2B5EF4-FFF2-40B4-BE49-F238E27FC236}">
                <a16:creationId xmlns:a16="http://schemas.microsoft.com/office/drawing/2014/main" id="{BAEEACBE-E39A-4BC1-B55D-166857BB1CEC}"/>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FCD01D50-6898-4F94-A2D3-151F072B5E6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21" name="Rectangle 20">
            <a:extLst>
              <a:ext uri="{FF2B5EF4-FFF2-40B4-BE49-F238E27FC236}">
                <a16:creationId xmlns:a16="http://schemas.microsoft.com/office/drawing/2014/main" id="{04475BBB-2493-447A-9108-B1FDDAAEE739}"/>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22" name="Rectangle 21">
            <a:extLst>
              <a:ext uri="{FF2B5EF4-FFF2-40B4-BE49-F238E27FC236}">
                <a16:creationId xmlns:a16="http://schemas.microsoft.com/office/drawing/2014/main" id="{BFED4C53-91DC-4B0E-A0FE-AEA7E1F6E302}"/>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Institutionalization of the updated PMI Toolkit</a:t>
            </a:r>
          </a:p>
        </p:txBody>
      </p:sp>
      <p:sp>
        <p:nvSpPr>
          <p:cNvPr id="23" name="Rectangle 22">
            <a:extLst>
              <a:ext uri="{FF2B5EF4-FFF2-40B4-BE49-F238E27FC236}">
                <a16:creationId xmlns:a16="http://schemas.microsoft.com/office/drawing/2014/main" id="{06434AF8-353F-4315-B496-98AFB94390E4}"/>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24" name="Straight Connector 23">
            <a:extLst>
              <a:ext uri="{FF2B5EF4-FFF2-40B4-BE49-F238E27FC236}">
                <a16:creationId xmlns:a16="http://schemas.microsoft.com/office/drawing/2014/main" id="{7DA920B0-69B0-48D7-8090-86754EC05ABA}"/>
              </a:ext>
            </a:extLst>
          </p:cNvPr>
          <p:cNvCxnSpPr>
            <a:cxnSpLocks/>
          </p:cNvCxnSpPr>
          <p:nvPr/>
        </p:nvCxnSpPr>
        <p:spPr>
          <a:xfrm>
            <a:off x="4208622" y="275346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FBC7EE2-0F73-4E32-BDF4-026FD95A0CE3}"/>
              </a:ext>
            </a:extLst>
          </p:cNvPr>
          <p:cNvCxnSpPr>
            <a:cxnSpLocks/>
          </p:cNvCxnSpPr>
          <p:nvPr/>
        </p:nvCxnSpPr>
        <p:spPr>
          <a:xfrm>
            <a:off x="7792864" y="275346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30885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430741"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In the next slides, you’ll see a small preview of the Phase 1</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15" name="Chevron 17">
            <a:extLst>
              <a:ext uri="{FF2B5EF4-FFF2-40B4-BE49-F238E27FC236}">
                <a16:creationId xmlns:a16="http://schemas.microsoft.com/office/drawing/2014/main" id="{3D6571D5-A81D-4415-8BC9-38148D060548}"/>
              </a:ext>
            </a:extLst>
          </p:cNvPr>
          <p:cNvSpPr/>
          <p:nvPr/>
        </p:nvSpPr>
        <p:spPr bwMode="auto">
          <a:xfrm>
            <a:off x="606385" y="1719946"/>
            <a:ext cx="3742661" cy="859968"/>
          </a:xfrm>
          <a:prstGeom prst="chevron">
            <a:avLst>
              <a:gd name="adj" fmla="val 31818"/>
            </a:avLst>
          </a:prstGeom>
          <a:solidFill>
            <a:schemeClr val="tx1">
              <a:lumMod val="50000"/>
              <a:lumOff val="50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17" name="Chevron 17">
            <a:extLst>
              <a:ext uri="{FF2B5EF4-FFF2-40B4-BE49-F238E27FC236}">
                <a16:creationId xmlns:a16="http://schemas.microsoft.com/office/drawing/2014/main" id="{5611752A-CBCE-4358-A06D-CD5B7D3FCBA5}"/>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941B4194-451D-4C8C-86F3-43266AF5F1C9}"/>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21" name="Rectangle 20">
            <a:extLst>
              <a:ext uri="{FF2B5EF4-FFF2-40B4-BE49-F238E27FC236}">
                <a16:creationId xmlns:a16="http://schemas.microsoft.com/office/drawing/2014/main" id="{45CED05E-9538-4A61-8AE5-0AB13C4EB9B7}"/>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22" name="Rectangle 21">
            <a:extLst>
              <a:ext uri="{FF2B5EF4-FFF2-40B4-BE49-F238E27FC236}">
                <a16:creationId xmlns:a16="http://schemas.microsoft.com/office/drawing/2014/main" id="{4C81D99D-DC3D-42DB-9B56-C3EA06DC6B38}"/>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Institutionalization of the updated PMI Toolkit</a:t>
            </a:r>
          </a:p>
        </p:txBody>
      </p:sp>
      <p:sp>
        <p:nvSpPr>
          <p:cNvPr id="23" name="Rectangle 22">
            <a:extLst>
              <a:ext uri="{FF2B5EF4-FFF2-40B4-BE49-F238E27FC236}">
                <a16:creationId xmlns:a16="http://schemas.microsoft.com/office/drawing/2014/main" id="{8E53CE99-66E6-4B19-90D2-F9280357A5E8}"/>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24" name="Straight Connector 23">
            <a:extLst>
              <a:ext uri="{FF2B5EF4-FFF2-40B4-BE49-F238E27FC236}">
                <a16:creationId xmlns:a16="http://schemas.microsoft.com/office/drawing/2014/main" id="{2B005BE4-D55B-4537-AAED-FE1BBF2126EE}"/>
              </a:ext>
            </a:extLst>
          </p:cNvPr>
          <p:cNvCxnSpPr>
            <a:cxnSpLocks/>
          </p:cNvCxnSpPr>
          <p:nvPr/>
        </p:nvCxnSpPr>
        <p:spPr>
          <a:xfrm>
            <a:off x="4208622" y="275346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39B4D90-31A2-44E7-B90E-A9086938B32F}"/>
              </a:ext>
            </a:extLst>
          </p:cNvPr>
          <p:cNvCxnSpPr>
            <a:cxnSpLocks/>
          </p:cNvCxnSpPr>
          <p:nvPr/>
        </p:nvCxnSpPr>
        <p:spPr>
          <a:xfrm>
            <a:off x="7792864" y="275346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95057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Our merger strategic objectives are:</a:t>
            </a:r>
            <a:endParaRPr lang="en-GB" sz="240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algn="l"/>
            <a:fld id="{37F5C94B-8C55-478B-B509-BAE6A06B2E2A}" type="slidenum">
              <a:rPr lang="en-US" sz="1000" smtClean="0">
                <a:solidFill>
                  <a:srgbClr val="ADAFBB"/>
                </a:solidFill>
              </a:rPr>
              <a:pPr algn="l"/>
              <a:t>12</a:t>
            </a:fld>
            <a:endParaRPr lang="en-US" sz="1000" dirty="0">
              <a:solidFill>
                <a:srgbClr val="ADAFBB"/>
              </a:solidFill>
            </a:endParaRPr>
          </a:p>
        </p:txBody>
      </p:sp>
      <p:pic>
        <p:nvPicPr>
          <p:cNvPr id="40" name="Graphic 39" descr="Bullseye">
            <a:extLst>
              <a:ext uri="{FF2B5EF4-FFF2-40B4-BE49-F238E27FC236}">
                <a16:creationId xmlns:a16="http://schemas.microsoft.com/office/drawing/2014/main" id="{87655F76-1738-42D2-B5AA-76B2A1EA36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90667" y="562183"/>
            <a:ext cx="696496" cy="696496"/>
          </a:xfrm>
          <a:prstGeom prst="rect">
            <a:avLst/>
          </a:prstGeom>
        </p:spPr>
      </p:pic>
      <p:sp>
        <p:nvSpPr>
          <p:cNvPr id="21" name="Rectangle 20">
            <a:extLst>
              <a:ext uri="{FF2B5EF4-FFF2-40B4-BE49-F238E27FC236}">
                <a16:creationId xmlns:a16="http://schemas.microsoft.com/office/drawing/2014/main" id="{C56EC5CA-9E5F-43AD-8CE8-18269E004DB1}"/>
              </a:ext>
            </a:extLst>
          </p:cNvPr>
          <p:cNvSpPr/>
          <p:nvPr/>
        </p:nvSpPr>
        <p:spPr>
          <a:xfrm>
            <a:off x="604837" y="1631373"/>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22" name="Rectangle 21">
            <a:extLst>
              <a:ext uri="{FF2B5EF4-FFF2-40B4-BE49-F238E27FC236}">
                <a16:creationId xmlns:a16="http://schemas.microsoft.com/office/drawing/2014/main" id="{4C65153E-2DC5-4549-9BEA-3CBB7CE57BAC}"/>
              </a:ext>
            </a:extLst>
          </p:cNvPr>
          <p:cNvSpPr/>
          <p:nvPr/>
        </p:nvSpPr>
        <p:spPr>
          <a:xfrm>
            <a:off x="2012772" y="1631373"/>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23" name="Rectangle 22">
            <a:extLst>
              <a:ext uri="{FF2B5EF4-FFF2-40B4-BE49-F238E27FC236}">
                <a16:creationId xmlns:a16="http://schemas.microsoft.com/office/drawing/2014/main" id="{D4E11AFB-7818-44C8-AB58-0886DEEBF2CB}"/>
              </a:ext>
            </a:extLst>
          </p:cNvPr>
          <p:cNvSpPr/>
          <p:nvPr/>
        </p:nvSpPr>
        <p:spPr>
          <a:xfrm>
            <a:off x="604837" y="2459075"/>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4" name="Rectangle 23">
            <a:extLst>
              <a:ext uri="{FF2B5EF4-FFF2-40B4-BE49-F238E27FC236}">
                <a16:creationId xmlns:a16="http://schemas.microsoft.com/office/drawing/2014/main" id="{57B39C43-1692-4644-9018-578041BDAC00}"/>
              </a:ext>
            </a:extLst>
          </p:cNvPr>
          <p:cNvSpPr/>
          <p:nvPr/>
        </p:nvSpPr>
        <p:spPr>
          <a:xfrm>
            <a:off x="2012772" y="2459075"/>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34" name="Rectangle 33">
            <a:extLst>
              <a:ext uri="{FF2B5EF4-FFF2-40B4-BE49-F238E27FC236}">
                <a16:creationId xmlns:a16="http://schemas.microsoft.com/office/drawing/2014/main" id="{CC1B151A-DB1D-4111-A0AD-34FCFAE45A34}"/>
              </a:ext>
            </a:extLst>
          </p:cNvPr>
          <p:cNvSpPr/>
          <p:nvPr/>
        </p:nvSpPr>
        <p:spPr>
          <a:xfrm>
            <a:off x="604837" y="3286777"/>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35" name="Rectangle 34">
            <a:extLst>
              <a:ext uri="{FF2B5EF4-FFF2-40B4-BE49-F238E27FC236}">
                <a16:creationId xmlns:a16="http://schemas.microsoft.com/office/drawing/2014/main" id="{68CAC4AC-FC9D-495D-A867-A1F7DFAB5EE5}"/>
              </a:ext>
            </a:extLst>
          </p:cNvPr>
          <p:cNvSpPr/>
          <p:nvPr/>
        </p:nvSpPr>
        <p:spPr>
          <a:xfrm>
            <a:off x="2012772" y="3286777"/>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36" name="Rectangle 35">
            <a:extLst>
              <a:ext uri="{FF2B5EF4-FFF2-40B4-BE49-F238E27FC236}">
                <a16:creationId xmlns:a16="http://schemas.microsoft.com/office/drawing/2014/main" id="{394A612E-200C-457B-B317-32DFEC49D7B7}"/>
              </a:ext>
            </a:extLst>
          </p:cNvPr>
          <p:cNvSpPr/>
          <p:nvPr/>
        </p:nvSpPr>
        <p:spPr>
          <a:xfrm>
            <a:off x="604837" y="4114480"/>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7" name="Rectangle 36">
            <a:extLst>
              <a:ext uri="{FF2B5EF4-FFF2-40B4-BE49-F238E27FC236}">
                <a16:creationId xmlns:a16="http://schemas.microsoft.com/office/drawing/2014/main" id="{8DD3C8A5-5216-47D7-8F63-A1BED34F8035}"/>
              </a:ext>
            </a:extLst>
          </p:cNvPr>
          <p:cNvSpPr/>
          <p:nvPr/>
        </p:nvSpPr>
        <p:spPr>
          <a:xfrm>
            <a:off x="2012772" y="4114480"/>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38" name="Rectangle 37">
            <a:extLst>
              <a:ext uri="{FF2B5EF4-FFF2-40B4-BE49-F238E27FC236}">
                <a16:creationId xmlns:a16="http://schemas.microsoft.com/office/drawing/2014/main" id="{301F1F5A-9830-4842-960E-06601D6F8DF4}"/>
              </a:ext>
            </a:extLst>
          </p:cNvPr>
          <p:cNvSpPr/>
          <p:nvPr/>
        </p:nvSpPr>
        <p:spPr>
          <a:xfrm>
            <a:off x="604837" y="4942182"/>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39" name="Rectangle 38">
            <a:extLst>
              <a:ext uri="{FF2B5EF4-FFF2-40B4-BE49-F238E27FC236}">
                <a16:creationId xmlns:a16="http://schemas.microsoft.com/office/drawing/2014/main" id="{99497429-E6FA-47CD-BD12-B83ECF06216C}"/>
              </a:ext>
            </a:extLst>
          </p:cNvPr>
          <p:cNvSpPr/>
          <p:nvPr/>
        </p:nvSpPr>
        <p:spPr>
          <a:xfrm>
            <a:off x="2012772" y="4942182"/>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41" name="Rectangle 40">
            <a:extLst>
              <a:ext uri="{FF2B5EF4-FFF2-40B4-BE49-F238E27FC236}">
                <a16:creationId xmlns:a16="http://schemas.microsoft.com/office/drawing/2014/main" id="{B7A2C86C-109C-4E85-AE86-1DF665DE8A8B}"/>
              </a:ext>
            </a:extLst>
          </p:cNvPr>
          <p:cNvSpPr/>
          <p:nvPr/>
        </p:nvSpPr>
        <p:spPr>
          <a:xfrm>
            <a:off x="604837" y="5752256"/>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6</a:t>
            </a:r>
          </a:p>
        </p:txBody>
      </p:sp>
      <p:sp>
        <p:nvSpPr>
          <p:cNvPr id="42" name="Rectangle 41">
            <a:extLst>
              <a:ext uri="{FF2B5EF4-FFF2-40B4-BE49-F238E27FC236}">
                <a16:creationId xmlns:a16="http://schemas.microsoft.com/office/drawing/2014/main" id="{8AB09FC8-C5F5-4297-AD26-D8245375169B}"/>
              </a:ext>
            </a:extLst>
          </p:cNvPr>
          <p:cNvSpPr/>
          <p:nvPr/>
        </p:nvSpPr>
        <p:spPr>
          <a:xfrm>
            <a:off x="2012772" y="5752256"/>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18" name="Speech Bubble: Rectangle with Corners Rounded 17">
            <a:extLst>
              <a:ext uri="{FF2B5EF4-FFF2-40B4-BE49-F238E27FC236}">
                <a16:creationId xmlns:a16="http://schemas.microsoft.com/office/drawing/2014/main" id="{3DB7879C-C97F-4969-8DBA-98CDA8801B88}"/>
              </a:ext>
            </a:extLst>
          </p:cNvPr>
          <p:cNvSpPr/>
          <p:nvPr/>
        </p:nvSpPr>
        <p:spPr bwMode="auto">
          <a:xfrm>
            <a:off x="7127695" y="365125"/>
            <a:ext cx="3032262" cy="1074696"/>
          </a:xfrm>
          <a:prstGeom prst="wedgeRoundRectCallout">
            <a:avLst>
              <a:gd name="adj1" fmla="val -84779"/>
              <a:gd name="adj2" fmla="val 662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200" b="1" dirty="0">
                <a:solidFill>
                  <a:srgbClr val="0C2870"/>
                </a:solidFill>
                <a:latin typeface="Arial" charset="0"/>
                <a:cs typeface="Times New Roman" pitchFamily="18" charset="0"/>
              </a:rPr>
              <a:t>Don’t reinvent the wheel here. Most of the strategic objectives should have already been written prior to the deal.</a:t>
            </a:r>
          </a:p>
        </p:txBody>
      </p:sp>
      <p:grpSp>
        <p:nvGrpSpPr>
          <p:cNvPr id="19" name="Group 18">
            <a:extLst>
              <a:ext uri="{FF2B5EF4-FFF2-40B4-BE49-F238E27FC236}">
                <a16:creationId xmlns:a16="http://schemas.microsoft.com/office/drawing/2014/main" id="{2C3F34CC-0E09-4B44-A7F2-59A775DDC0ED}"/>
              </a:ext>
            </a:extLst>
          </p:cNvPr>
          <p:cNvGrpSpPr/>
          <p:nvPr/>
        </p:nvGrpSpPr>
        <p:grpSpPr>
          <a:xfrm>
            <a:off x="-1122" y="6570"/>
            <a:ext cx="1116299" cy="1090613"/>
            <a:chOff x="-9097" y="-23336"/>
            <a:chExt cx="974935" cy="952500"/>
          </a:xfrm>
        </p:grpSpPr>
        <p:sp>
          <p:nvSpPr>
            <p:cNvPr id="20" name="Diagonal Stripe 19">
              <a:extLst>
                <a:ext uri="{FF2B5EF4-FFF2-40B4-BE49-F238E27FC236}">
                  <a16:creationId xmlns:a16="http://schemas.microsoft.com/office/drawing/2014/main" id="{FD550525-4C89-4917-8332-BED7F3C316AA}"/>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 name="TextBox 24">
              <a:extLst>
                <a:ext uri="{FF2B5EF4-FFF2-40B4-BE49-F238E27FC236}">
                  <a16:creationId xmlns:a16="http://schemas.microsoft.com/office/drawing/2014/main" id="{E2DEF60F-19D9-4000-B374-CFC0796D1125}"/>
                </a:ext>
              </a:extLst>
            </p:cNvPr>
            <p:cNvSpPr txBox="1"/>
            <p:nvPr/>
          </p:nvSpPr>
          <p:spPr>
            <a:xfrm rot="18948199">
              <a:off x="-3721" y="235937"/>
              <a:ext cx="750683"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Template</a:t>
              </a:r>
            </a:p>
          </p:txBody>
        </p:sp>
        <p:cxnSp>
          <p:nvCxnSpPr>
            <p:cNvPr id="26" name="Straight Connector 25">
              <a:extLst>
                <a:ext uri="{FF2B5EF4-FFF2-40B4-BE49-F238E27FC236}">
                  <a16:creationId xmlns:a16="http://schemas.microsoft.com/office/drawing/2014/main" id="{33B71947-6E5D-4B22-AD49-9BB541EFF75C}"/>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27" name="Straight Connector 26">
              <a:extLst>
                <a:ext uri="{FF2B5EF4-FFF2-40B4-BE49-F238E27FC236}">
                  <a16:creationId xmlns:a16="http://schemas.microsoft.com/office/drawing/2014/main" id="{163CCB36-0CFB-4608-97A0-F4E337CC8705}"/>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Tree>
    <p:extLst>
      <p:ext uri="{BB962C8B-B14F-4D97-AF65-F5344CB8AC3E}">
        <p14:creationId xmlns:p14="http://schemas.microsoft.com/office/powerpoint/2010/main" val="14471017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e most common merger strategic objectives are:</a:t>
            </a:r>
            <a:endParaRPr lang="en-GB" sz="240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algn="l"/>
            <a:fld id="{37F5C94B-8C55-478B-B509-BAE6A06B2E2A}" type="slidenum">
              <a:rPr lang="en-US" sz="1000" smtClean="0">
                <a:solidFill>
                  <a:srgbClr val="ADAFBB"/>
                </a:solidFill>
              </a:rPr>
              <a:pPr algn="l"/>
              <a:t>13</a:t>
            </a:fld>
            <a:endParaRPr lang="en-US" sz="1000" dirty="0">
              <a:solidFill>
                <a:srgbClr val="ADAFBB"/>
              </a:solidFill>
            </a:endParaRPr>
          </a:p>
        </p:txBody>
      </p:sp>
      <p:pic>
        <p:nvPicPr>
          <p:cNvPr id="40" name="Graphic 39" descr="Bullseye">
            <a:extLst>
              <a:ext uri="{FF2B5EF4-FFF2-40B4-BE49-F238E27FC236}">
                <a16:creationId xmlns:a16="http://schemas.microsoft.com/office/drawing/2014/main" id="{87655F76-1738-42D2-B5AA-76B2A1EA36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90667" y="562183"/>
            <a:ext cx="696496" cy="696496"/>
          </a:xfrm>
          <a:prstGeom prst="rect">
            <a:avLst/>
          </a:prstGeom>
        </p:spPr>
      </p:pic>
      <p:sp>
        <p:nvSpPr>
          <p:cNvPr id="21" name="Rectangle 20">
            <a:extLst>
              <a:ext uri="{FF2B5EF4-FFF2-40B4-BE49-F238E27FC236}">
                <a16:creationId xmlns:a16="http://schemas.microsoft.com/office/drawing/2014/main" id="{C56EC5CA-9E5F-43AD-8CE8-18269E004DB1}"/>
              </a:ext>
            </a:extLst>
          </p:cNvPr>
          <p:cNvSpPr/>
          <p:nvPr/>
        </p:nvSpPr>
        <p:spPr>
          <a:xfrm>
            <a:off x="604837" y="1631373"/>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22" name="Rectangle 21">
            <a:extLst>
              <a:ext uri="{FF2B5EF4-FFF2-40B4-BE49-F238E27FC236}">
                <a16:creationId xmlns:a16="http://schemas.microsoft.com/office/drawing/2014/main" id="{4C65153E-2DC5-4549-9BEA-3CBB7CE57BAC}"/>
              </a:ext>
            </a:extLst>
          </p:cNvPr>
          <p:cNvSpPr/>
          <p:nvPr/>
        </p:nvSpPr>
        <p:spPr>
          <a:xfrm>
            <a:off x="2012772" y="1631373"/>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Gaining economies of scale</a:t>
            </a:r>
            <a:endParaRPr lang="en-AU" sz="1600" b="1" dirty="0">
              <a:solidFill>
                <a:schemeClr val="tx1"/>
              </a:solidFill>
            </a:endParaRPr>
          </a:p>
        </p:txBody>
      </p:sp>
      <p:sp>
        <p:nvSpPr>
          <p:cNvPr id="23" name="Rectangle 22">
            <a:extLst>
              <a:ext uri="{FF2B5EF4-FFF2-40B4-BE49-F238E27FC236}">
                <a16:creationId xmlns:a16="http://schemas.microsoft.com/office/drawing/2014/main" id="{D4E11AFB-7818-44C8-AB58-0886DEEBF2CB}"/>
              </a:ext>
            </a:extLst>
          </p:cNvPr>
          <p:cNvSpPr/>
          <p:nvPr/>
        </p:nvSpPr>
        <p:spPr>
          <a:xfrm>
            <a:off x="604837" y="2459075"/>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4" name="Rectangle 23">
            <a:extLst>
              <a:ext uri="{FF2B5EF4-FFF2-40B4-BE49-F238E27FC236}">
                <a16:creationId xmlns:a16="http://schemas.microsoft.com/office/drawing/2014/main" id="{57B39C43-1692-4644-9018-578041BDAC00}"/>
              </a:ext>
            </a:extLst>
          </p:cNvPr>
          <p:cNvSpPr/>
          <p:nvPr/>
        </p:nvSpPr>
        <p:spPr>
          <a:xfrm>
            <a:off x="2012772" y="2459075"/>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Entering a new country</a:t>
            </a:r>
          </a:p>
        </p:txBody>
      </p:sp>
      <p:sp>
        <p:nvSpPr>
          <p:cNvPr id="34" name="Rectangle 33">
            <a:extLst>
              <a:ext uri="{FF2B5EF4-FFF2-40B4-BE49-F238E27FC236}">
                <a16:creationId xmlns:a16="http://schemas.microsoft.com/office/drawing/2014/main" id="{CC1B151A-DB1D-4111-A0AD-34FCFAE45A34}"/>
              </a:ext>
            </a:extLst>
          </p:cNvPr>
          <p:cNvSpPr/>
          <p:nvPr/>
        </p:nvSpPr>
        <p:spPr>
          <a:xfrm>
            <a:off x="604837" y="3286777"/>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35" name="Rectangle 34">
            <a:extLst>
              <a:ext uri="{FF2B5EF4-FFF2-40B4-BE49-F238E27FC236}">
                <a16:creationId xmlns:a16="http://schemas.microsoft.com/office/drawing/2014/main" id="{68CAC4AC-FC9D-495D-A867-A1F7DFAB5EE5}"/>
              </a:ext>
            </a:extLst>
          </p:cNvPr>
          <p:cNvSpPr/>
          <p:nvPr/>
        </p:nvSpPr>
        <p:spPr>
          <a:xfrm>
            <a:off x="2012772" y="3286777"/>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Entering a new market</a:t>
            </a:r>
          </a:p>
        </p:txBody>
      </p:sp>
      <p:sp>
        <p:nvSpPr>
          <p:cNvPr id="36" name="Rectangle 35">
            <a:extLst>
              <a:ext uri="{FF2B5EF4-FFF2-40B4-BE49-F238E27FC236}">
                <a16:creationId xmlns:a16="http://schemas.microsoft.com/office/drawing/2014/main" id="{394A612E-200C-457B-B317-32DFEC49D7B7}"/>
              </a:ext>
            </a:extLst>
          </p:cNvPr>
          <p:cNvSpPr/>
          <p:nvPr/>
        </p:nvSpPr>
        <p:spPr>
          <a:xfrm>
            <a:off x="604837" y="4114480"/>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7" name="Rectangle 36">
            <a:extLst>
              <a:ext uri="{FF2B5EF4-FFF2-40B4-BE49-F238E27FC236}">
                <a16:creationId xmlns:a16="http://schemas.microsoft.com/office/drawing/2014/main" id="{8DD3C8A5-5216-47D7-8F63-A1BED34F8035}"/>
              </a:ext>
            </a:extLst>
          </p:cNvPr>
          <p:cNvSpPr/>
          <p:nvPr/>
        </p:nvSpPr>
        <p:spPr>
          <a:xfrm>
            <a:off x="2012772" y="4114480"/>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Increasing the company product or service portfolio</a:t>
            </a:r>
          </a:p>
        </p:txBody>
      </p:sp>
      <p:sp>
        <p:nvSpPr>
          <p:cNvPr id="38" name="Rectangle 37">
            <a:extLst>
              <a:ext uri="{FF2B5EF4-FFF2-40B4-BE49-F238E27FC236}">
                <a16:creationId xmlns:a16="http://schemas.microsoft.com/office/drawing/2014/main" id="{301F1F5A-9830-4842-960E-06601D6F8DF4}"/>
              </a:ext>
            </a:extLst>
          </p:cNvPr>
          <p:cNvSpPr/>
          <p:nvPr/>
        </p:nvSpPr>
        <p:spPr>
          <a:xfrm>
            <a:off x="604837" y="4942182"/>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39" name="Rectangle 38">
            <a:extLst>
              <a:ext uri="{FF2B5EF4-FFF2-40B4-BE49-F238E27FC236}">
                <a16:creationId xmlns:a16="http://schemas.microsoft.com/office/drawing/2014/main" id="{99497429-E6FA-47CD-BD12-B83ECF06216C}"/>
              </a:ext>
            </a:extLst>
          </p:cNvPr>
          <p:cNvSpPr/>
          <p:nvPr/>
        </p:nvSpPr>
        <p:spPr>
          <a:xfrm>
            <a:off x="2012772" y="4942182"/>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creasing market share by acquiring one of your competitors (horizontal integration)</a:t>
            </a:r>
            <a:endParaRPr lang="en-AU" sz="1600" b="1" dirty="0">
              <a:solidFill>
                <a:schemeClr val="tx1"/>
              </a:solidFill>
            </a:endParaRPr>
          </a:p>
        </p:txBody>
      </p:sp>
      <p:sp>
        <p:nvSpPr>
          <p:cNvPr id="41" name="Rectangle 40">
            <a:extLst>
              <a:ext uri="{FF2B5EF4-FFF2-40B4-BE49-F238E27FC236}">
                <a16:creationId xmlns:a16="http://schemas.microsoft.com/office/drawing/2014/main" id="{B7A2C86C-109C-4E85-AE86-1DF665DE8A8B}"/>
              </a:ext>
            </a:extLst>
          </p:cNvPr>
          <p:cNvSpPr/>
          <p:nvPr/>
        </p:nvSpPr>
        <p:spPr>
          <a:xfrm>
            <a:off x="604837" y="5752256"/>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6</a:t>
            </a:r>
          </a:p>
        </p:txBody>
      </p:sp>
      <p:sp>
        <p:nvSpPr>
          <p:cNvPr id="42" name="Rectangle 41">
            <a:extLst>
              <a:ext uri="{FF2B5EF4-FFF2-40B4-BE49-F238E27FC236}">
                <a16:creationId xmlns:a16="http://schemas.microsoft.com/office/drawing/2014/main" id="{8AB09FC8-C5F5-4297-AD26-D8245375169B}"/>
              </a:ext>
            </a:extLst>
          </p:cNvPr>
          <p:cNvSpPr/>
          <p:nvPr/>
        </p:nvSpPr>
        <p:spPr>
          <a:xfrm>
            <a:off x="2012772" y="5752256"/>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Becoming a key player in an industry by acquiring one of your suppliers or clients (vertical integration)</a:t>
            </a:r>
            <a:endParaRPr lang="en-AU" sz="1600" b="1" dirty="0">
              <a:solidFill>
                <a:schemeClr val="tx1"/>
              </a:solidFill>
            </a:endParaRPr>
          </a:p>
        </p:txBody>
      </p:sp>
      <p:sp>
        <p:nvSpPr>
          <p:cNvPr id="25" name="Speech Bubble: Rectangle with Corners Rounded 24">
            <a:extLst>
              <a:ext uri="{FF2B5EF4-FFF2-40B4-BE49-F238E27FC236}">
                <a16:creationId xmlns:a16="http://schemas.microsoft.com/office/drawing/2014/main" id="{DEB9A1A2-1DFB-4DA0-ACCD-FF66758F904E}"/>
              </a:ext>
            </a:extLst>
          </p:cNvPr>
          <p:cNvSpPr/>
          <p:nvPr/>
        </p:nvSpPr>
        <p:spPr bwMode="auto">
          <a:xfrm>
            <a:off x="7565571" y="1215319"/>
            <a:ext cx="3207917" cy="961824"/>
          </a:xfrm>
          <a:prstGeom prst="wedgeRoundRectCallout">
            <a:avLst>
              <a:gd name="adj1" fmla="val -85874"/>
              <a:gd name="adj2" fmla="val 11978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Example we used during a PMI consulting project we did for a Global Fortune 1000 firm.</a:t>
            </a:r>
            <a:endParaRPr lang="en-US" sz="1200" b="1" dirty="0">
              <a:solidFill>
                <a:srgbClr val="0C2870"/>
              </a:solidFill>
              <a:latin typeface="Arial" charset="0"/>
              <a:cs typeface="Times New Roman" pitchFamily="18" charset="0"/>
            </a:endParaRPr>
          </a:p>
        </p:txBody>
      </p:sp>
      <p:grpSp>
        <p:nvGrpSpPr>
          <p:cNvPr id="19" name="Group 18">
            <a:extLst>
              <a:ext uri="{FF2B5EF4-FFF2-40B4-BE49-F238E27FC236}">
                <a16:creationId xmlns:a16="http://schemas.microsoft.com/office/drawing/2014/main" id="{BA831923-BE4F-4217-A80C-31D2D69AB7F0}"/>
              </a:ext>
            </a:extLst>
          </p:cNvPr>
          <p:cNvGrpSpPr/>
          <p:nvPr/>
        </p:nvGrpSpPr>
        <p:grpSpPr>
          <a:xfrm>
            <a:off x="-1121" y="6570"/>
            <a:ext cx="1116298" cy="1090613"/>
            <a:chOff x="-9097" y="-23336"/>
            <a:chExt cx="974935" cy="952500"/>
          </a:xfrm>
        </p:grpSpPr>
        <p:sp>
          <p:nvSpPr>
            <p:cNvPr id="20" name="Diagonal Stripe 19">
              <a:extLst>
                <a:ext uri="{FF2B5EF4-FFF2-40B4-BE49-F238E27FC236}">
                  <a16:creationId xmlns:a16="http://schemas.microsoft.com/office/drawing/2014/main" id="{129A6C6B-1CA1-481D-8F37-9F7A6CCB059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 name="TextBox 25">
              <a:extLst>
                <a:ext uri="{FF2B5EF4-FFF2-40B4-BE49-F238E27FC236}">
                  <a16:creationId xmlns:a16="http://schemas.microsoft.com/office/drawing/2014/main" id="{B13EDE20-3971-4D68-9505-73A02D6B7F84}"/>
                </a:ext>
              </a:extLst>
            </p:cNvPr>
            <p:cNvSpPr txBox="1"/>
            <p:nvPr/>
          </p:nvSpPr>
          <p:spPr>
            <a:xfrm rot="18948199">
              <a:off x="15177" y="235937"/>
              <a:ext cx="712883"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Example</a:t>
              </a:r>
            </a:p>
          </p:txBody>
        </p:sp>
        <p:cxnSp>
          <p:nvCxnSpPr>
            <p:cNvPr id="27" name="Straight Connector 26">
              <a:extLst>
                <a:ext uri="{FF2B5EF4-FFF2-40B4-BE49-F238E27FC236}">
                  <a16:creationId xmlns:a16="http://schemas.microsoft.com/office/drawing/2014/main" id="{3FAB2AAB-5F17-4327-8825-B2D46440E12D}"/>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28" name="Straight Connector 27">
              <a:extLst>
                <a:ext uri="{FF2B5EF4-FFF2-40B4-BE49-F238E27FC236}">
                  <a16:creationId xmlns:a16="http://schemas.microsoft.com/office/drawing/2014/main" id="{BB4A1489-6E98-4552-ADB7-D7F0AAC216C1}"/>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Tree>
    <p:extLst>
      <p:ext uri="{BB962C8B-B14F-4D97-AF65-F5344CB8AC3E}">
        <p14:creationId xmlns:p14="http://schemas.microsoft.com/office/powerpoint/2010/main" val="2350186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decided to create an Integration Management Office that will </a:t>
            </a:r>
            <a:r>
              <a:rPr lang="en-GB" sz="2400" dirty="0"/>
              <a:t>be responsible for the success of the integratio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4</a:t>
            </a:fld>
            <a:endParaRPr lang="en-US" sz="1000" dirty="0">
              <a:solidFill>
                <a:srgbClr val="ADAFBB"/>
              </a:solidFill>
            </a:endParaRPr>
          </a:p>
        </p:txBody>
      </p:sp>
      <p:sp>
        <p:nvSpPr>
          <p:cNvPr id="21" name="TextBox 20">
            <a:extLst>
              <a:ext uri="{FF2B5EF4-FFF2-40B4-BE49-F238E27FC236}">
                <a16:creationId xmlns:a16="http://schemas.microsoft.com/office/drawing/2014/main" id="{E3C10B17-E763-486B-8ECE-57D226F75197}"/>
              </a:ext>
            </a:extLst>
          </p:cNvPr>
          <p:cNvSpPr txBox="1"/>
          <p:nvPr/>
        </p:nvSpPr>
        <p:spPr>
          <a:xfrm>
            <a:off x="514350" y="1555850"/>
            <a:ext cx="11072813" cy="830997"/>
          </a:xfrm>
          <a:prstGeom prst="rect">
            <a:avLst/>
          </a:prstGeom>
          <a:noFill/>
        </p:spPr>
        <p:txBody>
          <a:bodyPr wrap="square" rtlCol="0">
            <a:spAutoFit/>
          </a:bodyPr>
          <a:lstStyle/>
          <a:p>
            <a:pPr>
              <a:spcBef>
                <a:spcPts val="500"/>
              </a:spcBef>
              <a:spcAft>
                <a:spcPts val="500"/>
              </a:spcAft>
            </a:pPr>
            <a:r>
              <a:rPr lang="en-GB" sz="1600" dirty="0"/>
              <a:t>The Integration Management Office will oversee the post Merger Integration and be responsible for the success of the integration. It includes 7 [replace this number by your own number] executives representing both [insert name of the acquiring company] and [insert name of the acquired company]:</a:t>
            </a:r>
            <a:endParaRPr lang="en-US" sz="1600" dirty="0"/>
          </a:p>
        </p:txBody>
      </p:sp>
      <p:sp>
        <p:nvSpPr>
          <p:cNvPr id="23" name="Rectangle 22">
            <a:extLst>
              <a:ext uri="{FF2B5EF4-FFF2-40B4-BE49-F238E27FC236}">
                <a16:creationId xmlns:a16="http://schemas.microsoft.com/office/drawing/2014/main" id="{9A6F003C-372D-42F0-8691-A202E78E8FC6}"/>
              </a:ext>
            </a:extLst>
          </p:cNvPr>
          <p:cNvSpPr>
            <a:spLocks noChangeArrowheads="1"/>
          </p:cNvSpPr>
          <p:nvPr/>
        </p:nvSpPr>
        <p:spPr bwMode="auto">
          <a:xfrm>
            <a:off x="5007430" y="2861779"/>
            <a:ext cx="2188028"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Integration Management Officer</a:t>
            </a:r>
          </a:p>
          <a:p>
            <a:pPr algn="ctr"/>
            <a:r>
              <a:rPr lang="en-GB" altLang="ja-JP" sz="1200" dirty="0">
                <a:solidFill>
                  <a:schemeClr val="bg1"/>
                </a:solidFill>
                <a:ea typeface="ＭＳ Ｐゴシック" pitchFamily="50" charset="-128"/>
              </a:rPr>
              <a:t>[Insert name]</a:t>
            </a:r>
          </a:p>
        </p:txBody>
      </p:sp>
      <p:sp>
        <p:nvSpPr>
          <p:cNvPr id="26" name="Rectangle 25">
            <a:extLst>
              <a:ext uri="{FF2B5EF4-FFF2-40B4-BE49-F238E27FC236}">
                <a16:creationId xmlns:a16="http://schemas.microsoft.com/office/drawing/2014/main" id="{1108EFEA-0C39-465C-A5A8-CA5A6F245750}"/>
              </a:ext>
            </a:extLst>
          </p:cNvPr>
          <p:cNvSpPr>
            <a:spLocks noChangeArrowheads="1"/>
          </p:cNvSpPr>
          <p:nvPr/>
        </p:nvSpPr>
        <p:spPr bwMode="auto">
          <a:xfrm>
            <a:off x="490574"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tegration and Synergy Initiatives</a:t>
            </a:r>
          </a:p>
          <a:p>
            <a:pPr algn="ctr"/>
            <a:r>
              <a:rPr lang="en-US" altLang="ja-JP" sz="1200" dirty="0">
                <a:ea typeface="ＭＳ Ｐゴシック" pitchFamily="50" charset="-128"/>
              </a:rPr>
              <a:t>[Insert name]</a:t>
            </a:r>
          </a:p>
        </p:txBody>
      </p:sp>
      <p:sp>
        <p:nvSpPr>
          <p:cNvPr id="27" name="Rectangle 26">
            <a:extLst>
              <a:ext uri="{FF2B5EF4-FFF2-40B4-BE49-F238E27FC236}">
                <a16:creationId xmlns:a16="http://schemas.microsoft.com/office/drawing/2014/main" id="{00FF93FF-8D92-4879-BF25-C6310C1253AF}"/>
              </a:ext>
            </a:extLst>
          </p:cNvPr>
          <p:cNvSpPr>
            <a:spLocks noChangeArrowheads="1"/>
          </p:cNvSpPr>
          <p:nvPr/>
        </p:nvSpPr>
        <p:spPr bwMode="auto">
          <a:xfrm>
            <a:off x="2422985"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hange Management </a:t>
            </a:r>
          </a:p>
          <a:p>
            <a:pPr algn="ctr"/>
            <a:r>
              <a:rPr lang="en-US" altLang="ja-JP" sz="1200" dirty="0">
                <a:ea typeface="ＭＳ Ｐゴシック" pitchFamily="50" charset="-128"/>
              </a:rPr>
              <a:t>[Insert name]</a:t>
            </a:r>
          </a:p>
        </p:txBody>
      </p:sp>
      <p:sp>
        <p:nvSpPr>
          <p:cNvPr id="28" name="Rectangle 27">
            <a:extLst>
              <a:ext uri="{FF2B5EF4-FFF2-40B4-BE49-F238E27FC236}">
                <a16:creationId xmlns:a16="http://schemas.microsoft.com/office/drawing/2014/main" id="{9F1ABC19-F166-4ECA-AB34-778F69B87D62}"/>
              </a:ext>
            </a:extLst>
          </p:cNvPr>
          <p:cNvSpPr>
            <a:spLocks noChangeArrowheads="1"/>
          </p:cNvSpPr>
          <p:nvPr/>
        </p:nvSpPr>
        <p:spPr bwMode="auto">
          <a:xfrm>
            <a:off x="6287807"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ulture</a:t>
            </a:r>
          </a:p>
          <a:p>
            <a:pPr algn="ctr"/>
            <a:r>
              <a:rPr lang="en-US" altLang="ja-JP" sz="1200" dirty="0">
                <a:ea typeface="ＭＳ Ｐゴシック" pitchFamily="50" charset="-128"/>
              </a:rPr>
              <a:t>[Insert name]</a:t>
            </a:r>
          </a:p>
        </p:txBody>
      </p:sp>
      <p:sp>
        <p:nvSpPr>
          <p:cNvPr id="29" name="Rectangle 28">
            <a:extLst>
              <a:ext uri="{FF2B5EF4-FFF2-40B4-BE49-F238E27FC236}">
                <a16:creationId xmlns:a16="http://schemas.microsoft.com/office/drawing/2014/main" id="{C8BC36DF-699A-4EDE-BEEC-610CA8BE9089}"/>
              </a:ext>
            </a:extLst>
          </p:cNvPr>
          <p:cNvSpPr>
            <a:spLocks noChangeArrowheads="1"/>
          </p:cNvSpPr>
          <p:nvPr/>
        </p:nvSpPr>
        <p:spPr bwMode="auto">
          <a:xfrm>
            <a:off x="8220218"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Risk Management</a:t>
            </a:r>
          </a:p>
          <a:p>
            <a:pPr algn="ctr"/>
            <a:r>
              <a:rPr lang="en-US" altLang="ja-JP" sz="1200" dirty="0">
                <a:ea typeface="ＭＳ Ｐゴシック" pitchFamily="50" charset="-128"/>
              </a:rPr>
              <a:t>[Insert name]</a:t>
            </a:r>
          </a:p>
        </p:txBody>
      </p:sp>
      <p:sp>
        <p:nvSpPr>
          <p:cNvPr id="38" name="Rectangle 37">
            <a:extLst>
              <a:ext uri="{FF2B5EF4-FFF2-40B4-BE49-F238E27FC236}">
                <a16:creationId xmlns:a16="http://schemas.microsoft.com/office/drawing/2014/main" id="{336E0884-36F9-464D-90D1-1869C0E40A8C}"/>
              </a:ext>
            </a:extLst>
          </p:cNvPr>
          <p:cNvSpPr>
            <a:spLocks noChangeArrowheads="1"/>
          </p:cNvSpPr>
          <p:nvPr/>
        </p:nvSpPr>
        <p:spPr bwMode="auto">
          <a:xfrm>
            <a:off x="4355396"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ommunication</a:t>
            </a:r>
          </a:p>
          <a:p>
            <a:pPr algn="ctr"/>
            <a:r>
              <a:rPr lang="en-US" altLang="ja-JP" sz="1200" dirty="0">
                <a:ea typeface="ＭＳ Ｐゴシック" pitchFamily="50" charset="-128"/>
              </a:rPr>
              <a:t>[Insert name]</a:t>
            </a:r>
          </a:p>
        </p:txBody>
      </p:sp>
      <p:cxnSp>
        <p:nvCxnSpPr>
          <p:cNvPr id="44" name="Connector: Elbow 43">
            <a:extLst>
              <a:ext uri="{FF2B5EF4-FFF2-40B4-BE49-F238E27FC236}">
                <a16:creationId xmlns:a16="http://schemas.microsoft.com/office/drawing/2014/main" id="{D4D017F2-9A9E-484E-8C4A-00AE36EFEADB}"/>
              </a:ext>
            </a:extLst>
          </p:cNvPr>
          <p:cNvCxnSpPr>
            <a:stCxn id="23" idx="2"/>
            <a:endCxn id="38" idx="0"/>
          </p:cNvCxnSpPr>
          <p:nvPr/>
        </p:nvCxnSpPr>
        <p:spPr>
          <a:xfrm rot="5400000">
            <a:off x="5281537" y="3655281"/>
            <a:ext cx="656769" cy="98304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8FC06228-A6FF-46AB-A4D5-7AECEAA7C1D0}"/>
              </a:ext>
            </a:extLst>
          </p:cNvPr>
          <p:cNvCxnSpPr>
            <a:stCxn id="23" idx="2"/>
            <a:endCxn id="28" idx="0"/>
          </p:cNvCxnSpPr>
          <p:nvPr/>
        </p:nvCxnSpPr>
        <p:spPr>
          <a:xfrm rot="16200000" flipH="1">
            <a:off x="6247742" y="3672121"/>
            <a:ext cx="656769" cy="949365"/>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7EA2A1A6-16C8-4114-882A-94F20964BF75}"/>
              </a:ext>
            </a:extLst>
          </p:cNvPr>
          <p:cNvCxnSpPr>
            <a:stCxn id="23" idx="2"/>
            <a:endCxn id="29" idx="0"/>
          </p:cNvCxnSpPr>
          <p:nvPr/>
        </p:nvCxnSpPr>
        <p:spPr>
          <a:xfrm rot="16200000" flipH="1">
            <a:off x="7213948" y="2705916"/>
            <a:ext cx="656769" cy="288177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58CEA8CB-563F-4DE9-ADE7-54C0263A1F9E}"/>
              </a:ext>
            </a:extLst>
          </p:cNvPr>
          <p:cNvCxnSpPr>
            <a:stCxn id="23" idx="2"/>
            <a:endCxn id="27" idx="0"/>
          </p:cNvCxnSpPr>
          <p:nvPr/>
        </p:nvCxnSpPr>
        <p:spPr>
          <a:xfrm rot="5400000">
            <a:off x="4315332" y="2689076"/>
            <a:ext cx="656769" cy="291545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0082E8FC-EE92-4921-81B6-AA83CBAA7F9E}"/>
              </a:ext>
            </a:extLst>
          </p:cNvPr>
          <p:cNvCxnSpPr>
            <a:stCxn id="23" idx="2"/>
            <a:endCxn id="26" idx="0"/>
          </p:cNvCxnSpPr>
          <p:nvPr/>
        </p:nvCxnSpPr>
        <p:spPr>
          <a:xfrm rot="5400000">
            <a:off x="3349126" y="1722870"/>
            <a:ext cx="656769" cy="4847868"/>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9E009A95-E0BB-47E8-8F22-601BFA2EFA78}"/>
              </a:ext>
            </a:extLst>
          </p:cNvPr>
          <p:cNvSpPr>
            <a:spLocks noChangeArrowheads="1"/>
          </p:cNvSpPr>
          <p:nvPr/>
        </p:nvSpPr>
        <p:spPr bwMode="auto">
          <a:xfrm>
            <a:off x="10152631"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Training</a:t>
            </a:r>
          </a:p>
          <a:p>
            <a:pPr algn="ctr"/>
            <a:r>
              <a:rPr lang="en-US" altLang="ja-JP" sz="1200" dirty="0">
                <a:ea typeface="ＭＳ Ｐゴシック" pitchFamily="50" charset="-128"/>
              </a:rPr>
              <a:t>[Insert name]</a:t>
            </a:r>
          </a:p>
        </p:txBody>
      </p:sp>
      <p:cxnSp>
        <p:nvCxnSpPr>
          <p:cNvPr id="60" name="Connector: Elbow 59">
            <a:extLst>
              <a:ext uri="{FF2B5EF4-FFF2-40B4-BE49-F238E27FC236}">
                <a16:creationId xmlns:a16="http://schemas.microsoft.com/office/drawing/2014/main" id="{D2C5429E-A211-4903-8423-A698CDDDD924}"/>
              </a:ext>
            </a:extLst>
          </p:cNvPr>
          <p:cNvCxnSpPr>
            <a:stCxn id="23" idx="2"/>
            <a:endCxn id="56" idx="0"/>
          </p:cNvCxnSpPr>
          <p:nvPr/>
        </p:nvCxnSpPr>
        <p:spPr>
          <a:xfrm rot="16200000" flipH="1">
            <a:off x="8180154" y="1739709"/>
            <a:ext cx="656769" cy="4814189"/>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9" name="Speech Bubble: Rectangle with Corners Rounded 18">
            <a:extLst>
              <a:ext uri="{FF2B5EF4-FFF2-40B4-BE49-F238E27FC236}">
                <a16:creationId xmlns:a16="http://schemas.microsoft.com/office/drawing/2014/main" id="{8ABAF087-A7F1-40A0-BC06-BA53B5EEAD69}"/>
              </a:ext>
            </a:extLst>
          </p:cNvPr>
          <p:cNvSpPr/>
          <p:nvPr/>
        </p:nvSpPr>
        <p:spPr bwMode="auto">
          <a:xfrm>
            <a:off x="8216176" y="2366200"/>
            <a:ext cx="3207917" cy="1596261"/>
          </a:xfrm>
          <a:prstGeom prst="wedgeRoundRectCallout">
            <a:avLst>
              <a:gd name="adj1" fmla="val -81124"/>
              <a:gd name="adj2" fmla="val 12196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is is only an example. You may decide to emphasize different areas and adjust the size of the integration Management Office</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8027437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identified 8 [insert your own number] post merger integration guiding principle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5</a:t>
            </a:fld>
            <a:endParaRPr lang="en-US" sz="1000" dirty="0">
              <a:solidFill>
                <a:srgbClr val="ADAFBB"/>
              </a:solidFill>
            </a:endParaRPr>
          </a:p>
        </p:txBody>
      </p:sp>
      <p:sp>
        <p:nvSpPr>
          <p:cNvPr id="25" name="Rectangle 24">
            <a:extLst>
              <a:ext uri="{FF2B5EF4-FFF2-40B4-BE49-F238E27FC236}">
                <a16:creationId xmlns:a16="http://schemas.microsoft.com/office/drawing/2014/main" id="{47A33DA5-E225-445F-8B92-4CEF16BDF82E}"/>
              </a:ext>
            </a:extLst>
          </p:cNvPr>
          <p:cNvSpPr/>
          <p:nvPr/>
        </p:nvSpPr>
        <p:spPr>
          <a:xfrm>
            <a:off x="604837" y="163468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26" name="Rectangle 25">
            <a:extLst>
              <a:ext uri="{FF2B5EF4-FFF2-40B4-BE49-F238E27FC236}">
                <a16:creationId xmlns:a16="http://schemas.microsoft.com/office/drawing/2014/main" id="{E493EDFA-4EC0-4909-8E2B-352BDA9A9BE3}"/>
              </a:ext>
            </a:extLst>
          </p:cNvPr>
          <p:cNvSpPr/>
          <p:nvPr/>
        </p:nvSpPr>
        <p:spPr>
          <a:xfrm>
            <a:off x="2012772" y="163468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27" name="Rectangle 26">
            <a:extLst>
              <a:ext uri="{FF2B5EF4-FFF2-40B4-BE49-F238E27FC236}">
                <a16:creationId xmlns:a16="http://schemas.microsoft.com/office/drawing/2014/main" id="{192A34D4-4E0F-468D-9792-49EEC3F9DA82}"/>
              </a:ext>
            </a:extLst>
          </p:cNvPr>
          <p:cNvSpPr/>
          <p:nvPr/>
        </p:nvSpPr>
        <p:spPr>
          <a:xfrm>
            <a:off x="604837" y="225409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8" name="Rectangle 27">
            <a:extLst>
              <a:ext uri="{FF2B5EF4-FFF2-40B4-BE49-F238E27FC236}">
                <a16:creationId xmlns:a16="http://schemas.microsoft.com/office/drawing/2014/main" id="{0361A1C7-48C2-40AC-BEF6-DD4C7490A14B}"/>
              </a:ext>
            </a:extLst>
          </p:cNvPr>
          <p:cNvSpPr/>
          <p:nvPr/>
        </p:nvSpPr>
        <p:spPr>
          <a:xfrm>
            <a:off x="2012772" y="225409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29" name="Rectangle 28">
            <a:extLst>
              <a:ext uri="{FF2B5EF4-FFF2-40B4-BE49-F238E27FC236}">
                <a16:creationId xmlns:a16="http://schemas.microsoft.com/office/drawing/2014/main" id="{815616C3-EBC8-409E-9013-B93DD6CEB593}"/>
              </a:ext>
            </a:extLst>
          </p:cNvPr>
          <p:cNvSpPr/>
          <p:nvPr/>
        </p:nvSpPr>
        <p:spPr>
          <a:xfrm>
            <a:off x="604837" y="287350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30" name="Rectangle 29">
            <a:extLst>
              <a:ext uri="{FF2B5EF4-FFF2-40B4-BE49-F238E27FC236}">
                <a16:creationId xmlns:a16="http://schemas.microsoft.com/office/drawing/2014/main" id="{993217FA-82DD-4375-AA6A-638B6FA0554E}"/>
              </a:ext>
            </a:extLst>
          </p:cNvPr>
          <p:cNvSpPr/>
          <p:nvPr/>
        </p:nvSpPr>
        <p:spPr>
          <a:xfrm>
            <a:off x="2012772" y="287350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31" name="Rectangle 30">
            <a:extLst>
              <a:ext uri="{FF2B5EF4-FFF2-40B4-BE49-F238E27FC236}">
                <a16:creationId xmlns:a16="http://schemas.microsoft.com/office/drawing/2014/main" id="{5F6C67A7-66A8-47BB-9C76-F6B715A7C682}"/>
              </a:ext>
            </a:extLst>
          </p:cNvPr>
          <p:cNvSpPr/>
          <p:nvPr/>
        </p:nvSpPr>
        <p:spPr>
          <a:xfrm>
            <a:off x="604837" y="349291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2" name="Rectangle 31">
            <a:extLst>
              <a:ext uri="{FF2B5EF4-FFF2-40B4-BE49-F238E27FC236}">
                <a16:creationId xmlns:a16="http://schemas.microsoft.com/office/drawing/2014/main" id="{432847C6-3C29-4677-B83D-26F7FCA7DF41}"/>
              </a:ext>
            </a:extLst>
          </p:cNvPr>
          <p:cNvSpPr/>
          <p:nvPr/>
        </p:nvSpPr>
        <p:spPr>
          <a:xfrm>
            <a:off x="2012772" y="349291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33" name="Rectangle 32">
            <a:extLst>
              <a:ext uri="{FF2B5EF4-FFF2-40B4-BE49-F238E27FC236}">
                <a16:creationId xmlns:a16="http://schemas.microsoft.com/office/drawing/2014/main" id="{3561888B-4629-4D0E-870A-C656537CD347}"/>
              </a:ext>
            </a:extLst>
          </p:cNvPr>
          <p:cNvSpPr/>
          <p:nvPr/>
        </p:nvSpPr>
        <p:spPr>
          <a:xfrm>
            <a:off x="604837" y="535114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7</a:t>
            </a:r>
          </a:p>
        </p:txBody>
      </p:sp>
      <p:sp>
        <p:nvSpPr>
          <p:cNvPr id="46" name="Rectangle 45">
            <a:extLst>
              <a:ext uri="{FF2B5EF4-FFF2-40B4-BE49-F238E27FC236}">
                <a16:creationId xmlns:a16="http://schemas.microsoft.com/office/drawing/2014/main" id="{F924C3ED-E40B-49A1-AA27-DECFD23C3A65}"/>
              </a:ext>
            </a:extLst>
          </p:cNvPr>
          <p:cNvSpPr/>
          <p:nvPr/>
        </p:nvSpPr>
        <p:spPr>
          <a:xfrm>
            <a:off x="2012772" y="535114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47" name="Rectangle 46">
            <a:extLst>
              <a:ext uri="{FF2B5EF4-FFF2-40B4-BE49-F238E27FC236}">
                <a16:creationId xmlns:a16="http://schemas.microsoft.com/office/drawing/2014/main" id="{74398228-C69F-4F8C-BF02-5DCD28568D84}"/>
              </a:ext>
            </a:extLst>
          </p:cNvPr>
          <p:cNvSpPr/>
          <p:nvPr/>
        </p:nvSpPr>
        <p:spPr>
          <a:xfrm>
            <a:off x="604837" y="411232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48" name="Rectangle 47">
            <a:extLst>
              <a:ext uri="{FF2B5EF4-FFF2-40B4-BE49-F238E27FC236}">
                <a16:creationId xmlns:a16="http://schemas.microsoft.com/office/drawing/2014/main" id="{0AAFE2C0-3BA0-4E12-9729-C5AB831A0598}"/>
              </a:ext>
            </a:extLst>
          </p:cNvPr>
          <p:cNvSpPr/>
          <p:nvPr/>
        </p:nvSpPr>
        <p:spPr>
          <a:xfrm>
            <a:off x="2012772" y="411232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49" name="Rectangle 48">
            <a:extLst>
              <a:ext uri="{FF2B5EF4-FFF2-40B4-BE49-F238E27FC236}">
                <a16:creationId xmlns:a16="http://schemas.microsoft.com/office/drawing/2014/main" id="{C34C7CF1-495B-4352-BB43-C7B1EA7B0400}"/>
              </a:ext>
            </a:extLst>
          </p:cNvPr>
          <p:cNvSpPr/>
          <p:nvPr/>
        </p:nvSpPr>
        <p:spPr>
          <a:xfrm>
            <a:off x="604837" y="5970559"/>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8</a:t>
            </a:r>
          </a:p>
        </p:txBody>
      </p:sp>
      <p:sp>
        <p:nvSpPr>
          <p:cNvPr id="50" name="Rectangle 49">
            <a:extLst>
              <a:ext uri="{FF2B5EF4-FFF2-40B4-BE49-F238E27FC236}">
                <a16:creationId xmlns:a16="http://schemas.microsoft.com/office/drawing/2014/main" id="{9675C3A2-EC07-4EEA-A82C-5ADF89403CA0}"/>
              </a:ext>
            </a:extLst>
          </p:cNvPr>
          <p:cNvSpPr/>
          <p:nvPr/>
        </p:nvSpPr>
        <p:spPr>
          <a:xfrm>
            <a:off x="2012772" y="5970559"/>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51" name="Rectangle 50">
            <a:extLst>
              <a:ext uri="{FF2B5EF4-FFF2-40B4-BE49-F238E27FC236}">
                <a16:creationId xmlns:a16="http://schemas.microsoft.com/office/drawing/2014/main" id="{2B68982C-0E54-4DF9-91E4-C34A401B63F8}"/>
              </a:ext>
            </a:extLst>
          </p:cNvPr>
          <p:cNvSpPr/>
          <p:nvPr/>
        </p:nvSpPr>
        <p:spPr>
          <a:xfrm>
            <a:off x="604837" y="473173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6</a:t>
            </a:r>
          </a:p>
        </p:txBody>
      </p:sp>
      <p:sp>
        <p:nvSpPr>
          <p:cNvPr id="52" name="Rectangle 51">
            <a:extLst>
              <a:ext uri="{FF2B5EF4-FFF2-40B4-BE49-F238E27FC236}">
                <a16:creationId xmlns:a16="http://schemas.microsoft.com/office/drawing/2014/main" id="{2590EDF0-530E-409C-A240-867CF4F6DFBE}"/>
              </a:ext>
            </a:extLst>
          </p:cNvPr>
          <p:cNvSpPr/>
          <p:nvPr/>
        </p:nvSpPr>
        <p:spPr>
          <a:xfrm>
            <a:off x="2012772" y="473173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grpSp>
        <p:nvGrpSpPr>
          <p:cNvPr id="21" name="Group 20">
            <a:extLst>
              <a:ext uri="{FF2B5EF4-FFF2-40B4-BE49-F238E27FC236}">
                <a16:creationId xmlns:a16="http://schemas.microsoft.com/office/drawing/2014/main" id="{EAA4DB44-144B-41C7-BE22-640E72AB89B6}"/>
              </a:ext>
            </a:extLst>
          </p:cNvPr>
          <p:cNvGrpSpPr/>
          <p:nvPr/>
        </p:nvGrpSpPr>
        <p:grpSpPr>
          <a:xfrm>
            <a:off x="-1122" y="6570"/>
            <a:ext cx="1116299" cy="1090613"/>
            <a:chOff x="-9097" y="-23336"/>
            <a:chExt cx="974935" cy="952500"/>
          </a:xfrm>
        </p:grpSpPr>
        <p:sp>
          <p:nvSpPr>
            <p:cNvPr id="22" name="Diagonal Stripe 21">
              <a:extLst>
                <a:ext uri="{FF2B5EF4-FFF2-40B4-BE49-F238E27FC236}">
                  <a16:creationId xmlns:a16="http://schemas.microsoft.com/office/drawing/2014/main" id="{F3E0B619-41FC-425E-A4B8-645F419D970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3" name="TextBox 22">
              <a:extLst>
                <a:ext uri="{FF2B5EF4-FFF2-40B4-BE49-F238E27FC236}">
                  <a16:creationId xmlns:a16="http://schemas.microsoft.com/office/drawing/2014/main" id="{39E95F25-7BDB-49C5-9EAA-F6EBE923D32F}"/>
                </a:ext>
              </a:extLst>
            </p:cNvPr>
            <p:cNvSpPr txBox="1"/>
            <p:nvPr/>
          </p:nvSpPr>
          <p:spPr>
            <a:xfrm rot="18948199">
              <a:off x="-3721" y="235937"/>
              <a:ext cx="750683"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Template</a:t>
              </a:r>
            </a:p>
          </p:txBody>
        </p:sp>
        <p:cxnSp>
          <p:nvCxnSpPr>
            <p:cNvPr id="24" name="Straight Connector 23">
              <a:extLst>
                <a:ext uri="{FF2B5EF4-FFF2-40B4-BE49-F238E27FC236}">
                  <a16:creationId xmlns:a16="http://schemas.microsoft.com/office/drawing/2014/main" id="{A85FC5BE-367C-42B9-A134-860A2253599E}"/>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34" name="Straight Connector 33">
              <a:extLst>
                <a:ext uri="{FF2B5EF4-FFF2-40B4-BE49-F238E27FC236}">
                  <a16:creationId xmlns:a16="http://schemas.microsoft.com/office/drawing/2014/main" id="{A7CF562C-DA2E-406E-AE09-C8D054B250E8}"/>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Tree>
    <p:extLst>
      <p:ext uri="{BB962C8B-B14F-4D97-AF65-F5344CB8AC3E}">
        <p14:creationId xmlns:p14="http://schemas.microsoft.com/office/powerpoint/2010/main" val="7842110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op 8 post merger integration guiding principles commonly used</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21" name="Rectangle 20">
            <a:extLst>
              <a:ext uri="{FF2B5EF4-FFF2-40B4-BE49-F238E27FC236}">
                <a16:creationId xmlns:a16="http://schemas.microsoft.com/office/drawing/2014/main" id="{11C22A44-2FD5-46A7-A30E-F5F79C9EAFAE}"/>
              </a:ext>
            </a:extLst>
          </p:cNvPr>
          <p:cNvSpPr/>
          <p:nvPr/>
        </p:nvSpPr>
        <p:spPr>
          <a:xfrm>
            <a:off x="604837" y="163468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22" name="Rectangle 21">
            <a:extLst>
              <a:ext uri="{FF2B5EF4-FFF2-40B4-BE49-F238E27FC236}">
                <a16:creationId xmlns:a16="http://schemas.microsoft.com/office/drawing/2014/main" id="{EE78CAB5-920F-4474-9507-223D946A1013}"/>
              </a:ext>
            </a:extLst>
          </p:cNvPr>
          <p:cNvSpPr/>
          <p:nvPr/>
        </p:nvSpPr>
        <p:spPr>
          <a:xfrm>
            <a:off x="2012772" y="163468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Be clear on the strategic objectives of the deal</a:t>
            </a:r>
          </a:p>
        </p:txBody>
      </p:sp>
      <p:sp>
        <p:nvSpPr>
          <p:cNvPr id="23" name="Rectangle 22">
            <a:extLst>
              <a:ext uri="{FF2B5EF4-FFF2-40B4-BE49-F238E27FC236}">
                <a16:creationId xmlns:a16="http://schemas.microsoft.com/office/drawing/2014/main" id="{74E50F0A-59F3-4101-A004-5664A1AAF7E8}"/>
              </a:ext>
            </a:extLst>
          </p:cNvPr>
          <p:cNvSpPr/>
          <p:nvPr/>
        </p:nvSpPr>
        <p:spPr>
          <a:xfrm>
            <a:off x="604837" y="225409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4" name="Rectangle 23">
            <a:extLst>
              <a:ext uri="{FF2B5EF4-FFF2-40B4-BE49-F238E27FC236}">
                <a16:creationId xmlns:a16="http://schemas.microsoft.com/office/drawing/2014/main" id="{E8E79278-3E47-491E-80C4-2745363AB20D}"/>
              </a:ext>
            </a:extLst>
          </p:cNvPr>
          <p:cNvSpPr/>
          <p:nvPr/>
        </p:nvSpPr>
        <p:spPr>
          <a:xfrm>
            <a:off x="2012772" y="225409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Ground the integration in the objectives of the deal</a:t>
            </a:r>
          </a:p>
        </p:txBody>
      </p:sp>
      <p:sp>
        <p:nvSpPr>
          <p:cNvPr id="34" name="Rectangle 33">
            <a:extLst>
              <a:ext uri="{FF2B5EF4-FFF2-40B4-BE49-F238E27FC236}">
                <a16:creationId xmlns:a16="http://schemas.microsoft.com/office/drawing/2014/main" id="{8E5C4676-310D-4A07-8359-C78BAE8BAEE2}"/>
              </a:ext>
            </a:extLst>
          </p:cNvPr>
          <p:cNvSpPr/>
          <p:nvPr/>
        </p:nvSpPr>
        <p:spPr>
          <a:xfrm>
            <a:off x="604837" y="287350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35" name="Rectangle 34">
            <a:extLst>
              <a:ext uri="{FF2B5EF4-FFF2-40B4-BE49-F238E27FC236}">
                <a16:creationId xmlns:a16="http://schemas.microsoft.com/office/drawing/2014/main" id="{AE266B61-A26F-4864-A119-B73D8D3EEFE3}"/>
              </a:ext>
            </a:extLst>
          </p:cNvPr>
          <p:cNvSpPr/>
          <p:nvPr/>
        </p:nvSpPr>
        <p:spPr>
          <a:xfrm>
            <a:off x="2012772" y="287350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Be clear on your synergy baseline and synergy targets</a:t>
            </a:r>
          </a:p>
        </p:txBody>
      </p:sp>
      <p:sp>
        <p:nvSpPr>
          <p:cNvPr id="36" name="Rectangle 35">
            <a:extLst>
              <a:ext uri="{FF2B5EF4-FFF2-40B4-BE49-F238E27FC236}">
                <a16:creationId xmlns:a16="http://schemas.microsoft.com/office/drawing/2014/main" id="{347DF893-08CF-4A42-82A7-151682669AE2}"/>
              </a:ext>
            </a:extLst>
          </p:cNvPr>
          <p:cNvSpPr/>
          <p:nvPr/>
        </p:nvSpPr>
        <p:spPr>
          <a:xfrm>
            <a:off x="604837" y="349291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7" name="Rectangle 36">
            <a:extLst>
              <a:ext uri="{FF2B5EF4-FFF2-40B4-BE49-F238E27FC236}">
                <a16:creationId xmlns:a16="http://schemas.microsoft.com/office/drawing/2014/main" id="{473EDCDD-9075-40AB-A47F-8FF455A2E444}"/>
              </a:ext>
            </a:extLst>
          </p:cNvPr>
          <p:cNvSpPr/>
          <p:nvPr/>
        </p:nvSpPr>
        <p:spPr>
          <a:xfrm>
            <a:off x="2012772" y="349291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Create a robust integration plan to reach the strategic objectives of the deal and the synergy targets</a:t>
            </a:r>
          </a:p>
        </p:txBody>
      </p:sp>
      <p:sp>
        <p:nvSpPr>
          <p:cNvPr id="38" name="Rectangle 37">
            <a:extLst>
              <a:ext uri="{FF2B5EF4-FFF2-40B4-BE49-F238E27FC236}">
                <a16:creationId xmlns:a16="http://schemas.microsoft.com/office/drawing/2014/main" id="{E4C80A43-3460-447B-A4B7-C97F19954BE7}"/>
              </a:ext>
            </a:extLst>
          </p:cNvPr>
          <p:cNvSpPr/>
          <p:nvPr/>
        </p:nvSpPr>
        <p:spPr>
          <a:xfrm>
            <a:off x="604837" y="535114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7</a:t>
            </a:r>
          </a:p>
        </p:txBody>
      </p:sp>
      <p:sp>
        <p:nvSpPr>
          <p:cNvPr id="39" name="Rectangle 38">
            <a:extLst>
              <a:ext uri="{FF2B5EF4-FFF2-40B4-BE49-F238E27FC236}">
                <a16:creationId xmlns:a16="http://schemas.microsoft.com/office/drawing/2014/main" id="{25B98639-8371-4BB9-9FA0-6591943AEA62}"/>
              </a:ext>
            </a:extLst>
          </p:cNvPr>
          <p:cNvSpPr/>
          <p:nvPr/>
        </p:nvSpPr>
        <p:spPr>
          <a:xfrm>
            <a:off x="2012772" y="535114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Ensure cultural fit</a:t>
            </a:r>
          </a:p>
        </p:txBody>
      </p:sp>
      <p:sp>
        <p:nvSpPr>
          <p:cNvPr id="40" name="Rectangle 39">
            <a:extLst>
              <a:ext uri="{FF2B5EF4-FFF2-40B4-BE49-F238E27FC236}">
                <a16:creationId xmlns:a16="http://schemas.microsoft.com/office/drawing/2014/main" id="{D16ABD8B-61B2-4AE4-A271-20712EAC6EE5}"/>
              </a:ext>
            </a:extLst>
          </p:cNvPr>
          <p:cNvSpPr/>
          <p:nvPr/>
        </p:nvSpPr>
        <p:spPr>
          <a:xfrm>
            <a:off x="604837" y="411232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41" name="Rectangle 40">
            <a:extLst>
              <a:ext uri="{FF2B5EF4-FFF2-40B4-BE49-F238E27FC236}">
                <a16:creationId xmlns:a16="http://schemas.microsoft.com/office/drawing/2014/main" id="{60047BC4-494E-465F-BB2C-37A58D27A895}"/>
              </a:ext>
            </a:extLst>
          </p:cNvPr>
          <p:cNvSpPr/>
          <p:nvPr/>
        </p:nvSpPr>
        <p:spPr>
          <a:xfrm>
            <a:off x="2012772" y="411232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Search for synergies in every function of the newly created organization</a:t>
            </a:r>
          </a:p>
        </p:txBody>
      </p:sp>
      <p:sp>
        <p:nvSpPr>
          <p:cNvPr id="42" name="Rectangle 41">
            <a:extLst>
              <a:ext uri="{FF2B5EF4-FFF2-40B4-BE49-F238E27FC236}">
                <a16:creationId xmlns:a16="http://schemas.microsoft.com/office/drawing/2014/main" id="{EEFEF7C6-2458-41A3-A611-F735F23959C8}"/>
              </a:ext>
            </a:extLst>
          </p:cNvPr>
          <p:cNvSpPr/>
          <p:nvPr/>
        </p:nvSpPr>
        <p:spPr>
          <a:xfrm>
            <a:off x="604837" y="5970559"/>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8</a:t>
            </a:r>
          </a:p>
        </p:txBody>
      </p:sp>
      <p:sp>
        <p:nvSpPr>
          <p:cNvPr id="43" name="Rectangle 42">
            <a:extLst>
              <a:ext uri="{FF2B5EF4-FFF2-40B4-BE49-F238E27FC236}">
                <a16:creationId xmlns:a16="http://schemas.microsoft.com/office/drawing/2014/main" id="{067232F5-DCB9-418C-AF5E-20A9ADF37A95}"/>
              </a:ext>
            </a:extLst>
          </p:cNvPr>
          <p:cNvSpPr/>
          <p:nvPr/>
        </p:nvSpPr>
        <p:spPr>
          <a:xfrm>
            <a:off x="2012772" y="5970559"/>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Maintain business momentum</a:t>
            </a:r>
          </a:p>
        </p:txBody>
      </p:sp>
      <p:sp>
        <p:nvSpPr>
          <p:cNvPr id="44" name="Rectangle 43">
            <a:extLst>
              <a:ext uri="{FF2B5EF4-FFF2-40B4-BE49-F238E27FC236}">
                <a16:creationId xmlns:a16="http://schemas.microsoft.com/office/drawing/2014/main" id="{249D5A4D-C375-446B-876D-B421B4AA27A2}"/>
              </a:ext>
            </a:extLst>
          </p:cNvPr>
          <p:cNvSpPr/>
          <p:nvPr/>
        </p:nvSpPr>
        <p:spPr>
          <a:xfrm>
            <a:off x="604837" y="473173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6</a:t>
            </a:r>
          </a:p>
        </p:txBody>
      </p:sp>
      <p:sp>
        <p:nvSpPr>
          <p:cNvPr id="45" name="Rectangle 44">
            <a:extLst>
              <a:ext uri="{FF2B5EF4-FFF2-40B4-BE49-F238E27FC236}">
                <a16:creationId xmlns:a16="http://schemas.microsoft.com/office/drawing/2014/main" id="{3C667C76-9848-4E10-980B-6994068638EA}"/>
              </a:ext>
            </a:extLst>
          </p:cNvPr>
          <p:cNvSpPr/>
          <p:nvPr/>
        </p:nvSpPr>
        <p:spPr>
          <a:xfrm>
            <a:off x="2012772" y="473173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Communicate on a regular basis to all stakeholders</a:t>
            </a:r>
          </a:p>
        </p:txBody>
      </p:sp>
      <p:sp>
        <p:nvSpPr>
          <p:cNvPr id="25" name="Speech Bubble: Rectangle with Corners Rounded 24">
            <a:extLst>
              <a:ext uri="{FF2B5EF4-FFF2-40B4-BE49-F238E27FC236}">
                <a16:creationId xmlns:a16="http://schemas.microsoft.com/office/drawing/2014/main" id="{7DF75091-C965-44C8-BEAE-B1516D4C34C4}"/>
              </a:ext>
            </a:extLst>
          </p:cNvPr>
          <p:cNvSpPr/>
          <p:nvPr/>
        </p:nvSpPr>
        <p:spPr bwMode="auto">
          <a:xfrm>
            <a:off x="8379246" y="1276974"/>
            <a:ext cx="3207917" cy="1090614"/>
          </a:xfrm>
          <a:prstGeom prst="wedgeRoundRectCallout">
            <a:avLst>
              <a:gd name="adj1" fmla="val -59745"/>
              <a:gd name="adj2" fmla="val 11118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Example we used during a PMI consulting project we did for a Global Fortune 1000 firm.</a:t>
            </a:r>
            <a:endParaRPr lang="en-US" sz="1200" b="1" dirty="0">
              <a:solidFill>
                <a:srgbClr val="0C2870"/>
              </a:solidFill>
              <a:latin typeface="Arial" charset="0"/>
              <a:cs typeface="Times New Roman" pitchFamily="18" charset="0"/>
            </a:endParaRPr>
          </a:p>
        </p:txBody>
      </p:sp>
      <p:grpSp>
        <p:nvGrpSpPr>
          <p:cNvPr id="26" name="Group 25">
            <a:extLst>
              <a:ext uri="{FF2B5EF4-FFF2-40B4-BE49-F238E27FC236}">
                <a16:creationId xmlns:a16="http://schemas.microsoft.com/office/drawing/2014/main" id="{CB1789E9-8C25-4D6E-A1C0-F542C611402A}"/>
              </a:ext>
            </a:extLst>
          </p:cNvPr>
          <p:cNvGrpSpPr/>
          <p:nvPr/>
        </p:nvGrpSpPr>
        <p:grpSpPr>
          <a:xfrm>
            <a:off x="-1121" y="6570"/>
            <a:ext cx="1116298" cy="1090613"/>
            <a:chOff x="-9097" y="-23336"/>
            <a:chExt cx="974935" cy="952500"/>
          </a:xfrm>
        </p:grpSpPr>
        <p:sp>
          <p:nvSpPr>
            <p:cNvPr id="27" name="Diagonal Stripe 26">
              <a:extLst>
                <a:ext uri="{FF2B5EF4-FFF2-40B4-BE49-F238E27FC236}">
                  <a16:creationId xmlns:a16="http://schemas.microsoft.com/office/drawing/2014/main" id="{CBA8037E-4714-48A2-A249-7B093EBC660E}"/>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 name="TextBox 27">
              <a:extLst>
                <a:ext uri="{FF2B5EF4-FFF2-40B4-BE49-F238E27FC236}">
                  <a16:creationId xmlns:a16="http://schemas.microsoft.com/office/drawing/2014/main" id="{0413E736-56D8-4E6E-AA20-48F6F96679BE}"/>
                </a:ext>
              </a:extLst>
            </p:cNvPr>
            <p:cNvSpPr txBox="1"/>
            <p:nvPr/>
          </p:nvSpPr>
          <p:spPr>
            <a:xfrm rot="18948199">
              <a:off x="15177" y="235937"/>
              <a:ext cx="712883"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Example</a:t>
              </a:r>
            </a:p>
          </p:txBody>
        </p:sp>
        <p:cxnSp>
          <p:nvCxnSpPr>
            <p:cNvPr id="29" name="Straight Connector 28">
              <a:extLst>
                <a:ext uri="{FF2B5EF4-FFF2-40B4-BE49-F238E27FC236}">
                  <a16:creationId xmlns:a16="http://schemas.microsoft.com/office/drawing/2014/main" id="{58F4D1B5-3824-4AB8-A1CF-487B0FD1480A}"/>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30" name="Straight Connector 29">
              <a:extLst>
                <a:ext uri="{FF2B5EF4-FFF2-40B4-BE49-F238E27FC236}">
                  <a16:creationId xmlns:a16="http://schemas.microsoft.com/office/drawing/2014/main" id="{0901AF6E-7AD7-4CCA-9379-E9A0006828D1}"/>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Tree>
    <p:extLst>
      <p:ext uri="{BB962C8B-B14F-4D97-AF65-F5344CB8AC3E}">
        <p14:creationId xmlns:p14="http://schemas.microsoft.com/office/powerpoint/2010/main" val="1505562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A picture containing chart&#10;&#10;Description automatically generated">
            <a:extLst>
              <a:ext uri="{FF2B5EF4-FFF2-40B4-BE49-F238E27FC236}">
                <a16:creationId xmlns:a16="http://schemas.microsoft.com/office/drawing/2014/main" id="{1B9CE67E-A6E1-4208-B6E4-E6F84641CB49}"/>
              </a:ext>
            </a:extLst>
          </p:cNvPr>
          <p:cNvPicPr>
            <a:picLocks noChangeAspect="1"/>
          </p:cNvPicPr>
          <p:nvPr/>
        </p:nvPicPr>
        <p:blipFill>
          <a:blip r:embed="rId4"/>
          <a:stretch>
            <a:fillRect/>
          </a:stretch>
        </p:blipFill>
        <p:spPr>
          <a:xfrm>
            <a:off x="6661779" y="1891951"/>
            <a:ext cx="3648000" cy="2052000"/>
          </a:xfrm>
          <a:prstGeom prst="rect">
            <a:avLst/>
          </a:prstGeom>
          <a:ln>
            <a:noFill/>
          </a:ln>
          <a:effectLst>
            <a:outerShdw blurRad="292100" dist="139700" dir="2700000" algn="tl" rotWithShape="0">
              <a:srgbClr val="333333">
                <a:alpha val="65000"/>
              </a:srgbClr>
            </a:outerShdw>
          </a:effectLst>
        </p:spPr>
      </p:pic>
      <p:pic>
        <p:nvPicPr>
          <p:cNvPr id="18" name="Picture 17" descr="Table&#10;&#10;Description automatically generated">
            <a:extLst>
              <a:ext uri="{FF2B5EF4-FFF2-40B4-BE49-F238E27FC236}">
                <a16:creationId xmlns:a16="http://schemas.microsoft.com/office/drawing/2014/main" id="{59AB60AD-34C2-48C3-B1C3-270DF47CA885}"/>
              </a:ext>
            </a:extLst>
          </p:cNvPr>
          <p:cNvPicPr>
            <a:picLocks noChangeAspect="1"/>
          </p:cNvPicPr>
          <p:nvPr/>
        </p:nvPicPr>
        <p:blipFill>
          <a:blip r:embed="rId5"/>
          <a:stretch>
            <a:fillRect/>
          </a:stretch>
        </p:blipFill>
        <p:spPr>
          <a:xfrm>
            <a:off x="1423770" y="1901166"/>
            <a:ext cx="3648000" cy="2052000"/>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3194D5C0-2C7F-4EEF-86D7-9A7CA85D725F}"/>
              </a:ext>
            </a:extLst>
          </p:cNvPr>
          <p:cNvPicPr>
            <a:picLocks noChangeAspect="1"/>
          </p:cNvPicPr>
          <p:nvPr/>
        </p:nvPicPr>
        <p:blipFill>
          <a:blip r:embed="rId6"/>
          <a:stretch>
            <a:fillRect/>
          </a:stretch>
        </p:blipFill>
        <p:spPr>
          <a:xfrm>
            <a:off x="1423770" y="4459346"/>
            <a:ext cx="3648002" cy="2052001"/>
          </a:xfrm>
          <a:prstGeom prst="rect">
            <a:avLst/>
          </a:prstGeom>
          <a:ln>
            <a:noFill/>
          </a:ln>
          <a:effectLst>
            <a:outerShdw blurRad="292100" dist="139700" dir="2700000" algn="tl" rotWithShape="0">
              <a:srgbClr val="333333">
                <a:alpha val="65000"/>
              </a:srgbClr>
            </a:outerShdw>
          </a:effectLst>
        </p:spPr>
      </p:pic>
      <p:pic>
        <p:nvPicPr>
          <p:cNvPr id="22" name="Picture 21">
            <a:extLst>
              <a:ext uri="{FF2B5EF4-FFF2-40B4-BE49-F238E27FC236}">
                <a16:creationId xmlns:a16="http://schemas.microsoft.com/office/drawing/2014/main" id="{3E2EBA1D-E7AB-4BF9-B88D-2803148DD833}"/>
              </a:ext>
            </a:extLst>
          </p:cNvPr>
          <p:cNvPicPr>
            <a:picLocks noChangeAspect="1"/>
          </p:cNvPicPr>
          <p:nvPr/>
        </p:nvPicPr>
        <p:blipFill>
          <a:blip r:embed="rId7"/>
          <a:stretch>
            <a:fillRect/>
          </a:stretch>
        </p:blipFill>
        <p:spPr>
          <a:xfrm>
            <a:off x="6661778" y="4459347"/>
            <a:ext cx="3648000" cy="2052000"/>
          </a:xfrm>
          <a:prstGeom prst="rect">
            <a:avLst/>
          </a:prstGeom>
          <a:ln>
            <a:noFill/>
          </a:ln>
          <a:effectLst>
            <a:outerShdw blurRad="292100" dist="139700" dir="2700000" algn="tl" rotWithShape="0">
              <a:srgbClr val="333333">
                <a:alpha val="65000"/>
              </a:srgbClr>
            </a:outerShdw>
          </a:effectLst>
        </p:spPr>
      </p:pic>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See below 4 screenshots from the Phase 1. </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7</a:t>
            </a:fld>
            <a:endParaRPr lang="en-US" sz="1000" dirty="0">
              <a:solidFill>
                <a:srgbClr val="ADAFBB"/>
              </a:solidFill>
            </a:endParaRPr>
          </a:p>
        </p:txBody>
      </p:sp>
      <p:grpSp>
        <p:nvGrpSpPr>
          <p:cNvPr id="6" name="Group 5">
            <a:extLst>
              <a:ext uri="{FF2B5EF4-FFF2-40B4-BE49-F238E27FC236}">
                <a16:creationId xmlns:a16="http://schemas.microsoft.com/office/drawing/2014/main" id="{33747CCF-50E7-4EB5-9B4D-8E887AE145E7}"/>
              </a:ext>
            </a:extLst>
          </p:cNvPr>
          <p:cNvGrpSpPr/>
          <p:nvPr/>
        </p:nvGrpSpPr>
        <p:grpSpPr>
          <a:xfrm>
            <a:off x="-140038" y="6570"/>
            <a:ext cx="1255215" cy="1090613"/>
            <a:chOff x="-130422" y="-23336"/>
            <a:chExt cx="1096260" cy="952500"/>
          </a:xfrm>
        </p:grpSpPr>
        <p:sp>
          <p:nvSpPr>
            <p:cNvPr id="7" name="Diagonal Stripe 6">
              <a:extLst>
                <a:ext uri="{FF2B5EF4-FFF2-40B4-BE49-F238E27FC236}">
                  <a16:creationId xmlns:a16="http://schemas.microsoft.com/office/drawing/2014/main" id="{586EBA78-DFE9-49C7-BB2A-CBE2EE9B7FA1}"/>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349A5370-D44D-4891-B58A-A16D74C07572}"/>
                </a:ext>
              </a:extLst>
            </p:cNvPr>
            <p:cNvSpPr txBox="1"/>
            <p:nvPr/>
          </p:nvSpPr>
          <p:spPr>
            <a:xfrm rot="18948199">
              <a:off x="-130422" y="235937"/>
              <a:ext cx="1004084"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Screenshots</a:t>
              </a:r>
            </a:p>
          </p:txBody>
        </p:sp>
        <p:cxnSp>
          <p:nvCxnSpPr>
            <p:cNvPr id="9" name="Straight Connector 8">
              <a:extLst>
                <a:ext uri="{FF2B5EF4-FFF2-40B4-BE49-F238E27FC236}">
                  <a16:creationId xmlns:a16="http://schemas.microsoft.com/office/drawing/2014/main" id="{14BBF9DD-58F2-49E1-9965-CAD08C2777D2}"/>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88BB188B-1F6D-450B-8387-5364B3DC1A89}"/>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2" name="TextBox 11">
            <a:extLst>
              <a:ext uri="{FF2B5EF4-FFF2-40B4-BE49-F238E27FC236}">
                <a16:creationId xmlns:a16="http://schemas.microsoft.com/office/drawing/2014/main" id="{E7675798-47BC-4250-BA24-0E2AC4A10A86}"/>
              </a:ext>
            </a:extLst>
          </p:cNvPr>
          <p:cNvSpPr txBox="1"/>
          <p:nvPr/>
        </p:nvSpPr>
        <p:spPr>
          <a:xfrm>
            <a:off x="1423770" y="1549164"/>
            <a:ext cx="3648001" cy="307777"/>
          </a:xfrm>
          <a:prstGeom prst="rect">
            <a:avLst/>
          </a:prstGeom>
          <a:noFill/>
        </p:spPr>
        <p:txBody>
          <a:bodyPr wrap="square" rtlCol="0">
            <a:spAutoFit/>
          </a:bodyPr>
          <a:lstStyle/>
          <a:p>
            <a:pPr algn="ctr"/>
            <a:r>
              <a:rPr lang="en-US" sz="1400" b="1" dirty="0"/>
              <a:t>High-Level Plan - Phase 1</a:t>
            </a:r>
          </a:p>
        </p:txBody>
      </p:sp>
      <p:sp>
        <p:nvSpPr>
          <p:cNvPr id="15" name="TextBox 14">
            <a:extLst>
              <a:ext uri="{FF2B5EF4-FFF2-40B4-BE49-F238E27FC236}">
                <a16:creationId xmlns:a16="http://schemas.microsoft.com/office/drawing/2014/main" id="{9D051C05-62A5-4FB5-846C-31987D33AA9E}"/>
              </a:ext>
            </a:extLst>
          </p:cNvPr>
          <p:cNvSpPr txBox="1"/>
          <p:nvPr/>
        </p:nvSpPr>
        <p:spPr>
          <a:xfrm>
            <a:off x="1423770" y="4133098"/>
            <a:ext cx="3648000" cy="307777"/>
          </a:xfrm>
          <a:prstGeom prst="rect">
            <a:avLst/>
          </a:prstGeom>
          <a:noFill/>
        </p:spPr>
        <p:txBody>
          <a:bodyPr wrap="square" rtlCol="0">
            <a:spAutoFit/>
          </a:bodyPr>
          <a:lstStyle/>
          <a:p>
            <a:pPr algn="ctr"/>
            <a:r>
              <a:rPr lang="en-US" sz="1400" b="1" dirty="0"/>
              <a:t>Prioritization Matrix</a:t>
            </a:r>
          </a:p>
        </p:txBody>
      </p:sp>
      <p:sp>
        <p:nvSpPr>
          <p:cNvPr id="17" name="TextBox 16">
            <a:extLst>
              <a:ext uri="{FF2B5EF4-FFF2-40B4-BE49-F238E27FC236}">
                <a16:creationId xmlns:a16="http://schemas.microsoft.com/office/drawing/2014/main" id="{142BE8BF-9256-475D-900B-55FCC0CE6DB5}"/>
              </a:ext>
            </a:extLst>
          </p:cNvPr>
          <p:cNvSpPr txBox="1"/>
          <p:nvPr/>
        </p:nvSpPr>
        <p:spPr>
          <a:xfrm>
            <a:off x="6661779" y="1549164"/>
            <a:ext cx="3648000" cy="307777"/>
          </a:xfrm>
          <a:prstGeom prst="rect">
            <a:avLst/>
          </a:prstGeom>
          <a:noFill/>
        </p:spPr>
        <p:txBody>
          <a:bodyPr wrap="square" rtlCol="0">
            <a:spAutoFit/>
          </a:bodyPr>
          <a:lstStyle/>
          <a:p>
            <a:pPr algn="ctr"/>
            <a:r>
              <a:rPr lang="en-US" sz="1400" b="1" dirty="0"/>
              <a:t>Lean Business Case</a:t>
            </a:r>
          </a:p>
        </p:txBody>
      </p:sp>
      <p:sp>
        <p:nvSpPr>
          <p:cNvPr id="19" name="TextBox 18">
            <a:extLst>
              <a:ext uri="{FF2B5EF4-FFF2-40B4-BE49-F238E27FC236}">
                <a16:creationId xmlns:a16="http://schemas.microsoft.com/office/drawing/2014/main" id="{B9017FA6-F0E0-4269-9C6B-53FA5BEF3E64}"/>
              </a:ext>
            </a:extLst>
          </p:cNvPr>
          <p:cNvSpPr txBox="1"/>
          <p:nvPr/>
        </p:nvSpPr>
        <p:spPr>
          <a:xfrm>
            <a:off x="6567056" y="4133098"/>
            <a:ext cx="3842326" cy="307777"/>
          </a:xfrm>
          <a:prstGeom prst="rect">
            <a:avLst/>
          </a:prstGeom>
          <a:noFill/>
        </p:spPr>
        <p:txBody>
          <a:bodyPr wrap="square" rtlCol="0">
            <a:spAutoFit/>
          </a:bodyPr>
          <a:lstStyle/>
          <a:p>
            <a:pPr algn="ctr"/>
            <a:r>
              <a:rPr lang="en-US" sz="1400" b="1" dirty="0"/>
              <a:t>Synergy Target Breakdown</a:t>
            </a:r>
          </a:p>
        </p:txBody>
      </p:sp>
    </p:spTree>
    <p:extLst>
      <p:ext uri="{BB962C8B-B14F-4D97-AF65-F5344CB8AC3E}">
        <p14:creationId xmlns:p14="http://schemas.microsoft.com/office/powerpoint/2010/main" val="41788369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430741"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In the next slides, you’ll see a small preview of the Phase 2.</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8</a:t>
            </a:fld>
            <a:endParaRPr lang="en-US" sz="1000" dirty="0">
              <a:solidFill>
                <a:srgbClr val="ADAFBB"/>
              </a:solidFill>
            </a:endParaRPr>
          </a:p>
        </p:txBody>
      </p:sp>
      <p:sp>
        <p:nvSpPr>
          <p:cNvPr id="15" name="Chevron 17">
            <a:extLst>
              <a:ext uri="{FF2B5EF4-FFF2-40B4-BE49-F238E27FC236}">
                <a16:creationId xmlns:a16="http://schemas.microsoft.com/office/drawing/2014/main" id="{877C6533-1D2F-4E9A-B4B5-42313CF7613F}"/>
              </a:ext>
            </a:extLst>
          </p:cNvPr>
          <p:cNvSpPr/>
          <p:nvPr/>
        </p:nvSpPr>
        <p:spPr bwMode="auto">
          <a:xfrm>
            <a:off x="606385"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17" name="Chevron 17">
            <a:extLst>
              <a:ext uri="{FF2B5EF4-FFF2-40B4-BE49-F238E27FC236}">
                <a16:creationId xmlns:a16="http://schemas.microsoft.com/office/drawing/2014/main" id="{6EE3CC72-95A6-48D7-8011-475BE024D7E6}"/>
              </a:ext>
            </a:extLst>
          </p:cNvPr>
          <p:cNvSpPr/>
          <p:nvPr/>
        </p:nvSpPr>
        <p:spPr bwMode="auto">
          <a:xfrm>
            <a:off x="4223481" y="1719946"/>
            <a:ext cx="3742661" cy="859968"/>
          </a:xfrm>
          <a:prstGeom prst="chevron">
            <a:avLst>
              <a:gd name="adj" fmla="val 31818"/>
            </a:avLst>
          </a:prstGeom>
          <a:solidFill>
            <a:schemeClr val="tx1">
              <a:lumMod val="50000"/>
              <a:lumOff val="50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p>
        </p:txBody>
      </p:sp>
      <p:sp>
        <p:nvSpPr>
          <p:cNvPr id="18" name="Chevron 17">
            <a:extLst>
              <a:ext uri="{FF2B5EF4-FFF2-40B4-BE49-F238E27FC236}">
                <a16:creationId xmlns:a16="http://schemas.microsoft.com/office/drawing/2014/main" id="{31580B4C-332F-4FD8-8B94-A6A4EC2B04BF}"/>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19" name="Straight Connector 18">
            <a:extLst>
              <a:ext uri="{FF2B5EF4-FFF2-40B4-BE49-F238E27FC236}">
                <a16:creationId xmlns:a16="http://schemas.microsoft.com/office/drawing/2014/main" id="{4A15DCC6-E11C-48F8-96BE-E366DDB8D84E}"/>
              </a:ext>
            </a:extLst>
          </p:cNvPr>
          <p:cNvCxnSpPr>
            <a:cxnSpLocks/>
          </p:cNvCxnSpPr>
          <p:nvPr/>
        </p:nvCxnSpPr>
        <p:spPr>
          <a:xfrm>
            <a:off x="4208622" y="275346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01E0FED-146B-42C9-A94A-5C606EBC465D}"/>
              </a:ext>
            </a:extLst>
          </p:cNvPr>
          <p:cNvCxnSpPr>
            <a:cxnSpLocks/>
          </p:cNvCxnSpPr>
          <p:nvPr/>
        </p:nvCxnSpPr>
        <p:spPr>
          <a:xfrm>
            <a:off x="7792864" y="275346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9CB0ED75-1FFB-4788-A271-FAFA31D27BEB}"/>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22" name="Rectangle 21">
            <a:extLst>
              <a:ext uri="{FF2B5EF4-FFF2-40B4-BE49-F238E27FC236}">
                <a16:creationId xmlns:a16="http://schemas.microsoft.com/office/drawing/2014/main" id="{29753273-0B70-4BAE-AC7B-0FA69A95CB61}"/>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Institutionalization of the updated PMI Toolkit</a:t>
            </a:r>
          </a:p>
        </p:txBody>
      </p:sp>
      <p:sp>
        <p:nvSpPr>
          <p:cNvPr id="23" name="Rectangle 22">
            <a:extLst>
              <a:ext uri="{FF2B5EF4-FFF2-40B4-BE49-F238E27FC236}">
                <a16:creationId xmlns:a16="http://schemas.microsoft.com/office/drawing/2014/main" id="{849022C9-D090-4045-B455-50CD4A352FE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Tree>
    <p:extLst>
      <p:ext uri="{BB962C8B-B14F-4D97-AF65-F5344CB8AC3E}">
        <p14:creationId xmlns:p14="http://schemas.microsoft.com/office/powerpoint/2010/main" val="13901138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42888"/>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Day 1 Readiness Checklist</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9</a:t>
            </a:fld>
            <a:endParaRPr lang="en-US" sz="1000" dirty="0">
              <a:solidFill>
                <a:srgbClr val="ADAFBB"/>
              </a:solidFill>
            </a:endParaRPr>
          </a:p>
        </p:txBody>
      </p:sp>
      <p:grpSp>
        <p:nvGrpSpPr>
          <p:cNvPr id="11" name="Group 10">
            <a:extLst>
              <a:ext uri="{FF2B5EF4-FFF2-40B4-BE49-F238E27FC236}">
                <a16:creationId xmlns:a16="http://schemas.microsoft.com/office/drawing/2014/main" id="{EC2A2180-6431-4D4D-94CC-2B48EA186363}"/>
              </a:ext>
            </a:extLst>
          </p:cNvPr>
          <p:cNvGrpSpPr/>
          <p:nvPr/>
        </p:nvGrpSpPr>
        <p:grpSpPr>
          <a:xfrm>
            <a:off x="-1122" y="6570"/>
            <a:ext cx="1216373" cy="1188385"/>
            <a:chOff x="-9097" y="-23336"/>
            <a:chExt cx="974935" cy="952500"/>
          </a:xfrm>
        </p:grpSpPr>
        <p:sp>
          <p:nvSpPr>
            <p:cNvPr id="12" name="Diagonal Stripe 11">
              <a:extLst>
                <a:ext uri="{FF2B5EF4-FFF2-40B4-BE49-F238E27FC236}">
                  <a16:creationId xmlns:a16="http://schemas.microsoft.com/office/drawing/2014/main" id="{AA8767EA-7BE6-45A2-A9E9-0F11473EE884}"/>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4" name="TextBox 13">
              <a:extLst>
                <a:ext uri="{FF2B5EF4-FFF2-40B4-BE49-F238E27FC236}">
                  <a16:creationId xmlns:a16="http://schemas.microsoft.com/office/drawing/2014/main" id="{5AEFBB82-ED51-4A6E-A2F1-A1C861CA1371}"/>
                </a:ext>
              </a:extLst>
            </p:cNvPr>
            <p:cNvSpPr txBox="1"/>
            <p:nvPr/>
          </p:nvSpPr>
          <p:spPr>
            <a:xfrm rot="18948199">
              <a:off x="53902" y="266480"/>
              <a:ext cx="635439"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illustration</a:t>
              </a:r>
            </a:p>
          </p:txBody>
        </p:sp>
        <p:cxnSp>
          <p:nvCxnSpPr>
            <p:cNvPr id="15" name="Straight Connector 14">
              <a:extLst>
                <a:ext uri="{FF2B5EF4-FFF2-40B4-BE49-F238E27FC236}">
                  <a16:creationId xmlns:a16="http://schemas.microsoft.com/office/drawing/2014/main" id="{32E3B5B2-A076-4CFB-9BED-35524A2BB502}"/>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7" name="Straight Connector 16">
              <a:extLst>
                <a:ext uri="{FF2B5EF4-FFF2-40B4-BE49-F238E27FC236}">
                  <a16:creationId xmlns:a16="http://schemas.microsoft.com/office/drawing/2014/main" id="{0B7F03A6-5937-40F5-87F0-42F5D86E5A2C}"/>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graphicFrame>
        <p:nvGraphicFramePr>
          <p:cNvPr id="18" name="Group 3">
            <a:extLst>
              <a:ext uri="{FF2B5EF4-FFF2-40B4-BE49-F238E27FC236}">
                <a16:creationId xmlns:a16="http://schemas.microsoft.com/office/drawing/2014/main" id="{1F158F34-2128-4653-A8C6-9678A73B1B0A}"/>
              </a:ext>
            </a:extLst>
          </p:cNvPr>
          <p:cNvGraphicFramePr>
            <a:graphicFrameLocks noGrp="1"/>
          </p:cNvGraphicFramePr>
          <p:nvPr>
            <p:extLst>
              <p:ext uri="{D42A27DB-BD31-4B8C-83A1-F6EECF244321}">
                <p14:modId xmlns:p14="http://schemas.microsoft.com/office/powerpoint/2010/main" val="545999023"/>
              </p:ext>
            </p:extLst>
          </p:nvPr>
        </p:nvGraphicFramePr>
        <p:xfrm>
          <a:off x="604837" y="1850571"/>
          <a:ext cx="10982322" cy="4664542"/>
        </p:xfrm>
        <a:graphic>
          <a:graphicData uri="http://schemas.openxmlformats.org/drawingml/2006/table">
            <a:tbl>
              <a:tblPr>
                <a:tableStyleId>{8799B23B-EC83-4686-B30A-512413B5E67A}</a:tableStyleId>
              </a:tblPr>
              <a:tblGrid>
                <a:gridCol w="3476441">
                  <a:extLst>
                    <a:ext uri="{9D8B030D-6E8A-4147-A177-3AD203B41FA5}">
                      <a16:colId xmlns:a16="http://schemas.microsoft.com/office/drawing/2014/main" val="20000"/>
                    </a:ext>
                  </a:extLst>
                </a:gridCol>
                <a:gridCol w="964533">
                  <a:extLst>
                    <a:ext uri="{9D8B030D-6E8A-4147-A177-3AD203B41FA5}">
                      <a16:colId xmlns:a16="http://schemas.microsoft.com/office/drawing/2014/main" val="1858057564"/>
                    </a:ext>
                  </a:extLst>
                </a:gridCol>
                <a:gridCol w="964533">
                  <a:extLst>
                    <a:ext uri="{9D8B030D-6E8A-4147-A177-3AD203B41FA5}">
                      <a16:colId xmlns:a16="http://schemas.microsoft.com/office/drawing/2014/main" val="2419383784"/>
                    </a:ext>
                  </a:extLst>
                </a:gridCol>
                <a:gridCol w="738985">
                  <a:extLst>
                    <a:ext uri="{9D8B030D-6E8A-4147-A177-3AD203B41FA5}">
                      <a16:colId xmlns:a16="http://schemas.microsoft.com/office/drawing/2014/main" val="20001"/>
                    </a:ext>
                  </a:extLst>
                </a:gridCol>
                <a:gridCol w="483783">
                  <a:extLst>
                    <a:ext uri="{9D8B030D-6E8A-4147-A177-3AD203B41FA5}">
                      <a16:colId xmlns:a16="http://schemas.microsoft.com/office/drawing/2014/main" val="20005"/>
                    </a:ext>
                  </a:extLst>
                </a:gridCol>
                <a:gridCol w="483783">
                  <a:extLst>
                    <a:ext uri="{9D8B030D-6E8A-4147-A177-3AD203B41FA5}">
                      <a16:colId xmlns:a16="http://schemas.microsoft.com/office/drawing/2014/main" val="20006"/>
                    </a:ext>
                  </a:extLst>
                </a:gridCol>
                <a:gridCol w="483783">
                  <a:extLst>
                    <a:ext uri="{9D8B030D-6E8A-4147-A177-3AD203B41FA5}">
                      <a16:colId xmlns:a16="http://schemas.microsoft.com/office/drawing/2014/main" val="20007"/>
                    </a:ext>
                  </a:extLst>
                </a:gridCol>
                <a:gridCol w="483783">
                  <a:extLst>
                    <a:ext uri="{9D8B030D-6E8A-4147-A177-3AD203B41FA5}">
                      <a16:colId xmlns:a16="http://schemas.microsoft.com/office/drawing/2014/main" val="20008"/>
                    </a:ext>
                  </a:extLst>
                </a:gridCol>
                <a:gridCol w="483783">
                  <a:extLst>
                    <a:ext uri="{9D8B030D-6E8A-4147-A177-3AD203B41FA5}">
                      <a16:colId xmlns:a16="http://schemas.microsoft.com/office/drawing/2014/main" val="20009"/>
                    </a:ext>
                  </a:extLst>
                </a:gridCol>
                <a:gridCol w="483783">
                  <a:extLst>
                    <a:ext uri="{9D8B030D-6E8A-4147-A177-3AD203B41FA5}">
                      <a16:colId xmlns:a16="http://schemas.microsoft.com/office/drawing/2014/main" val="20010"/>
                    </a:ext>
                  </a:extLst>
                </a:gridCol>
                <a:gridCol w="483783">
                  <a:extLst>
                    <a:ext uri="{9D8B030D-6E8A-4147-A177-3AD203B41FA5}">
                      <a16:colId xmlns:a16="http://schemas.microsoft.com/office/drawing/2014/main" val="20011"/>
                    </a:ext>
                  </a:extLst>
                </a:gridCol>
                <a:gridCol w="483783">
                  <a:extLst>
                    <a:ext uri="{9D8B030D-6E8A-4147-A177-3AD203B41FA5}">
                      <a16:colId xmlns:a16="http://schemas.microsoft.com/office/drawing/2014/main" val="2293856819"/>
                    </a:ext>
                  </a:extLst>
                </a:gridCol>
                <a:gridCol w="483783">
                  <a:extLst>
                    <a:ext uri="{9D8B030D-6E8A-4147-A177-3AD203B41FA5}">
                      <a16:colId xmlns:a16="http://schemas.microsoft.com/office/drawing/2014/main" val="1872980911"/>
                    </a:ext>
                  </a:extLst>
                </a:gridCol>
                <a:gridCol w="483783">
                  <a:extLst>
                    <a:ext uri="{9D8B030D-6E8A-4147-A177-3AD203B41FA5}">
                      <a16:colId xmlns:a16="http://schemas.microsoft.com/office/drawing/2014/main" val="1887288436"/>
                    </a:ext>
                  </a:extLst>
                </a:gridCol>
              </a:tblGrid>
              <a:tr h="346764">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altLang="ja-JP" sz="120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Owner</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Due date</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u="none" strike="noStrike" cap="none" normalizeH="0" baseline="0" dirty="0">
                          <a:ln>
                            <a:noFill/>
                          </a:ln>
                          <a:solidFill>
                            <a:schemeClr val="bg1"/>
                          </a:solidFill>
                          <a:effectLst/>
                          <a:latin typeface="+mn-lt"/>
                        </a:rPr>
                        <a:t>Status</a:t>
                      </a:r>
                      <a:endParaRPr kumimoji="0" lang="en-GB" sz="90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9</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8</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7</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6</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5</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4</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3</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2</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1</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0</a:t>
                      </a:r>
                    </a:p>
                  </a:txBody>
                  <a:tcPr marL="6350" marR="6350" marT="6350"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329471">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rgbClr val="002776"/>
                          </a:solidFill>
                          <a:effectLst/>
                          <a:uLnTx/>
                          <a:uFillTx/>
                          <a:latin typeface="+mn-lt"/>
                          <a:ea typeface="+mn-ea"/>
                          <a:cs typeface="+mn-cs"/>
                        </a:rPr>
                        <a:t>Prepare internal communications</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0" i="0" u="none" strike="noStrike" cap="none" normalizeH="0" baseline="0" dirty="0">
                          <a:ln>
                            <a:noFill/>
                          </a:ln>
                          <a:solidFill>
                            <a:schemeClr val="tx2"/>
                          </a:solidFill>
                          <a:effectLst/>
                          <a:latin typeface="+mj-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0" i="0" u="none" strike="noStrike" kern="1200" cap="none" spc="0" normalizeH="0" baseline="0" dirty="0">
                          <a:ln>
                            <a:noFill/>
                          </a:ln>
                          <a:solidFill>
                            <a:srgbClr val="002776"/>
                          </a:solidFill>
                          <a:effectLst/>
                          <a:uLnTx/>
                          <a:uFillTx/>
                          <a:latin typeface="+mj-lt"/>
                          <a:ea typeface="+mn-ea"/>
                          <a:cs typeface="+mn-cs"/>
                        </a:rPr>
                        <a:t>March 12</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30625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rgbClr val="002776"/>
                          </a:solidFill>
                          <a:effectLst/>
                          <a:uLnTx/>
                          <a:uFillTx/>
                          <a:latin typeface="+mn-lt"/>
                          <a:ea typeface="+mn-ea"/>
                          <a:cs typeface="+mn-cs"/>
                        </a:rPr>
                        <a:t>Prepare external communications</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Aurelien F.</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Jan 20</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30463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rgbClr val="002776"/>
                          </a:solidFill>
                          <a:effectLst/>
                          <a:uLnTx/>
                          <a:uFillTx/>
                          <a:latin typeface="+mn-lt"/>
                          <a:ea typeface="+mn-ea"/>
                          <a:cs typeface="+mn-cs"/>
                        </a:rPr>
                        <a:t>Define pricing policy</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Christian G.</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0625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rgbClr val="002776"/>
                          </a:solidFill>
                          <a:effectLst/>
                          <a:uLnTx/>
                          <a:uFillTx/>
                          <a:latin typeface="+mn-lt"/>
                          <a:ea typeface="+mn-ea"/>
                          <a:cs typeface="+mn-cs"/>
                        </a:rPr>
                        <a:t>Integrate General ledger</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ch 31</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329471">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rgbClr val="002776"/>
                          </a:solidFill>
                          <a:effectLst/>
                          <a:uLnTx/>
                          <a:uFillTx/>
                          <a:latin typeface="+mn-lt"/>
                          <a:ea typeface="+mn-ea"/>
                          <a:cs typeface="+mn-cs"/>
                        </a:rPr>
                        <a:t>Prepare welcome drink for new employees</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ch 31</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0463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rgbClr val="002776"/>
                          </a:solidFill>
                          <a:effectLst/>
                          <a:uLnTx/>
                          <a:uFillTx/>
                          <a:latin typeface="+mn-lt"/>
                          <a:ea typeface="+mn-ea"/>
                          <a:cs typeface="+mn-cs"/>
                        </a:rPr>
                        <a:t>Adjust sales pitch</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Christian G.</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ch 31</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Late</a:t>
                      </a:r>
                      <a:endParaRPr lang="en-AU" sz="900" b="0" i="0" u="none" strike="noStrike" dirty="0">
                        <a:solidFill>
                          <a:srgbClr val="FFFFFF"/>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30463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rgbClr val="002776"/>
                          </a:solidFill>
                          <a:effectLst/>
                          <a:uLnTx/>
                          <a:uFillTx/>
                          <a:latin typeface="+mn-lt"/>
                          <a:ea typeface="+mn-ea"/>
                          <a:cs typeface="+mn-cs"/>
                        </a:rPr>
                        <a:t>Align marketing messages</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ch 31</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30463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rgbClr val="002776"/>
                          </a:solidFill>
                          <a:effectLst/>
                          <a:uLnTx/>
                          <a:uFillTx/>
                          <a:latin typeface="+mn-lt"/>
                          <a:ea typeface="+mn-ea"/>
                          <a:cs typeface="+mn-cs"/>
                        </a:rPr>
                        <a:t>Define the synergy targets</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ch 31</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Late</a:t>
                      </a:r>
                      <a:endParaRPr lang="en-AU" sz="900" b="0" i="0" u="none" strike="noStrike" dirty="0">
                        <a:solidFill>
                          <a:srgbClr val="FFFFFF"/>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94412207"/>
                  </a:ext>
                </a:extLst>
              </a:tr>
              <a:tr h="30463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rgbClr val="002776"/>
                          </a:solidFill>
                          <a:effectLst/>
                          <a:uLnTx/>
                          <a:uFillTx/>
                          <a:latin typeface="+mn-lt"/>
                          <a:ea typeface="+mn-ea"/>
                          <a:cs typeface="+mn-cs"/>
                        </a:rPr>
                        <a:t>Integrate brands</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endParaRPr lang="en-AU" sz="900" b="0" i="0" u="none" strike="noStrike" dirty="0">
                        <a:solidFill>
                          <a:srgbClr val="002060"/>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endParaRPr lang="en-AU" sz="900" b="0" i="0" u="none" strike="noStrike" dirty="0">
                        <a:solidFill>
                          <a:srgbClr val="002060"/>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11301387"/>
                  </a:ext>
                </a:extLst>
              </a:tr>
              <a:tr h="30463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rgbClr val="002776"/>
                          </a:solidFill>
                          <a:effectLst/>
                          <a:uLnTx/>
                          <a:uFillTx/>
                          <a:latin typeface="+mn-lt"/>
                          <a:ea typeface="+mn-ea"/>
                          <a:cs typeface="+mn-cs"/>
                        </a:rPr>
                        <a:t>Integrate products &amp; services</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endParaRPr lang="en-AU" sz="900" b="0" i="0" u="none" strike="noStrike" dirty="0">
                        <a:solidFill>
                          <a:srgbClr val="002060"/>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endParaRPr lang="en-AU" sz="900" b="0" i="0" u="none" strike="noStrike" dirty="0">
                        <a:solidFill>
                          <a:srgbClr val="002060"/>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82752714"/>
                  </a:ext>
                </a:extLst>
              </a:tr>
              <a:tr h="30463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rgbClr val="002776"/>
                          </a:solidFill>
                          <a:effectLst/>
                          <a:uLnTx/>
                          <a:uFillTx/>
                          <a:latin typeface="+mn-lt"/>
                          <a:ea typeface="+mn-ea"/>
                          <a:cs typeface="+mn-cs"/>
                        </a:rPr>
                        <a:t>Integrate reporting</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endParaRPr lang="en-AU" sz="900" b="0" i="0" u="none" strike="noStrike" dirty="0">
                        <a:solidFill>
                          <a:srgbClr val="002060"/>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endParaRPr lang="en-AU" sz="900" b="0" i="0" u="none" strike="noStrike" dirty="0">
                        <a:solidFill>
                          <a:srgbClr val="002060"/>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06478922"/>
                  </a:ext>
                </a:extLst>
              </a:tr>
              <a:tr h="30463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rgbClr val="002776"/>
                          </a:solidFill>
                          <a:effectLst/>
                          <a:uLnTx/>
                          <a:uFillTx/>
                          <a:latin typeface="+mn-lt"/>
                          <a:ea typeface="+mn-ea"/>
                          <a:cs typeface="+mn-cs"/>
                        </a:rPr>
                        <a:t>Define employee retention strategy</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endParaRPr lang="en-AU" sz="900" b="0" i="0" u="none" strike="noStrike" dirty="0">
                        <a:solidFill>
                          <a:srgbClr val="002060"/>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endParaRPr lang="en-AU" sz="900" b="0" i="0" u="none" strike="noStrike" dirty="0">
                        <a:solidFill>
                          <a:srgbClr val="002060"/>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Late</a:t>
                      </a:r>
                      <a:endParaRPr lang="en-AU" sz="900" b="0" i="0" u="none" strike="noStrike" dirty="0">
                        <a:solidFill>
                          <a:srgbClr val="FFFFFF"/>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61771013"/>
                  </a:ext>
                </a:extLst>
              </a:tr>
              <a:tr h="30463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rgbClr val="002776"/>
                          </a:solidFill>
                          <a:effectLst/>
                          <a:uLnTx/>
                          <a:uFillTx/>
                          <a:latin typeface="+mn-lt"/>
                          <a:ea typeface="+mn-ea"/>
                          <a:cs typeface="+mn-cs"/>
                        </a:rPr>
                        <a:t>Rationalize employee compensations</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endParaRPr lang="en-AU" sz="900" b="0" i="0" u="none" strike="noStrike" dirty="0">
                        <a:solidFill>
                          <a:srgbClr val="002060"/>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endParaRPr lang="en-AU" sz="900" b="0" i="0" u="none" strike="noStrike" dirty="0">
                        <a:solidFill>
                          <a:srgbClr val="002060"/>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Lat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2">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78524208"/>
                  </a:ext>
                </a:extLst>
              </a:tr>
              <a:tr h="304633">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rgbClr val="002776"/>
                          </a:solidFill>
                          <a:effectLst/>
                          <a:uLnTx/>
                          <a:uFillTx/>
                          <a:latin typeface="+mn-lt"/>
                          <a:ea typeface="+mn-ea"/>
                          <a:cs typeface="+mn-cs"/>
                        </a:rPr>
                        <a:t>Insert name of activity</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endParaRPr lang="en-AU" sz="900" b="0" i="0" u="none" strike="noStrike" dirty="0">
                        <a:solidFill>
                          <a:srgbClr val="002060"/>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endParaRPr lang="en-AU" sz="900" b="0" i="0" u="none" strike="noStrike" dirty="0">
                        <a:solidFill>
                          <a:srgbClr val="002060"/>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Lat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84672666"/>
                  </a:ext>
                </a:extLst>
              </a:tr>
            </a:tbl>
          </a:graphicData>
        </a:graphic>
      </p:graphicFrame>
      <p:cxnSp>
        <p:nvCxnSpPr>
          <p:cNvPr id="20" name="Straight Connector 19">
            <a:extLst>
              <a:ext uri="{FF2B5EF4-FFF2-40B4-BE49-F238E27FC236}">
                <a16:creationId xmlns:a16="http://schemas.microsoft.com/office/drawing/2014/main" id="{1071D897-3A1A-49EF-A9AC-139B6DD1FE58}"/>
              </a:ext>
            </a:extLst>
          </p:cNvPr>
          <p:cNvCxnSpPr>
            <a:cxnSpLocks/>
          </p:cNvCxnSpPr>
          <p:nvPr/>
        </p:nvCxnSpPr>
        <p:spPr>
          <a:xfrm>
            <a:off x="6770914" y="1668330"/>
            <a:ext cx="4816249" cy="0"/>
          </a:xfrm>
          <a:prstGeom prst="line">
            <a:avLst/>
          </a:prstGeom>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8801B3B-9143-4476-BE00-38568BD5BC00}"/>
              </a:ext>
            </a:extLst>
          </p:cNvPr>
          <p:cNvSpPr txBox="1"/>
          <p:nvPr/>
        </p:nvSpPr>
        <p:spPr>
          <a:xfrm>
            <a:off x="8746697" y="1529831"/>
            <a:ext cx="864683" cy="276999"/>
          </a:xfrm>
          <a:prstGeom prst="rect">
            <a:avLst/>
          </a:prstGeom>
          <a:solidFill>
            <a:srgbClr val="F7F7F7"/>
          </a:solidFill>
        </p:spPr>
        <p:txBody>
          <a:bodyPr wrap="square" rtlCol="0" anchor="ctr">
            <a:spAutoFit/>
          </a:bodyPr>
          <a:lstStyle/>
          <a:p>
            <a:pPr algn="ctr">
              <a:spcBef>
                <a:spcPts val="400"/>
              </a:spcBef>
              <a:spcAft>
                <a:spcPts val="400"/>
              </a:spcAft>
            </a:pPr>
            <a:r>
              <a:rPr lang="en-US" sz="1200" b="1" dirty="0">
                <a:solidFill>
                  <a:schemeClr val="accent1"/>
                </a:solidFill>
              </a:rPr>
              <a:t>Weeks</a:t>
            </a:r>
          </a:p>
        </p:txBody>
      </p:sp>
    </p:spTree>
    <p:extLst>
      <p:ext uri="{BB962C8B-B14F-4D97-AF65-F5344CB8AC3E}">
        <p14:creationId xmlns:p14="http://schemas.microsoft.com/office/powerpoint/2010/main" val="29740497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Context</a:t>
            </a:r>
            <a:br>
              <a:rPr lang="en-US" sz="2400" dirty="0"/>
            </a:br>
            <a:r>
              <a:rPr lang="en-GB" b="0" dirty="0"/>
              <a:t>The advantages &amp; disadvantages of an organic growth strategy.</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31" name="Rectangle 30">
            <a:extLst>
              <a:ext uri="{FF2B5EF4-FFF2-40B4-BE49-F238E27FC236}">
                <a16:creationId xmlns:a16="http://schemas.microsoft.com/office/drawing/2014/main" id="{047F8D27-7EB8-4F11-818A-22805413905B}"/>
              </a:ext>
            </a:extLst>
          </p:cNvPr>
          <p:cNvSpPr/>
          <p:nvPr/>
        </p:nvSpPr>
        <p:spPr>
          <a:xfrm>
            <a:off x="1660071" y="2325090"/>
            <a:ext cx="1805948" cy="37654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Organic Growth Strategy</a:t>
            </a:r>
          </a:p>
        </p:txBody>
      </p:sp>
      <p:sp>
        <p:nvSpPr>
          <p:cNvPr id="33" name="Rectangle 32">
            <a:extLst>
              <a:ext uri="{FF2B5EF4-FFF2-40B4-BE49-F238E27FC236}">
                <a16:creationId xmlns:a16="http://schemas.microsoft.com/office/drawing/2014/main" id="{AF984234-4413-463B-B984-33E801C8F1CC}"/>
              </a:ext>
            </a:extLst>
          </p:cNvPr>
          <p:cNvSpPr/>
          <p:nvPr/>
        </p:nvSpPr>
        <p:spPr>
          <a:xfrm>
            <a:off x="3565071" y="1983408"/>
            <a:ext cx="2133600" cy="3060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Description</a:t>
            </a:r>
          </a:p>
        </p:txBody>
      </p:sp>
      <p:sp>
        <p:nvSpPr>
          <p:cNvPr id="34" name="Rectangle 33">
            <a:extLst>
              <a:ext uri="{FF2B5EF4-FFF2-40B4-BE49-F238E27FC236}">
                <a16:creationId xmlns:a16="http://schemas.microsoft.com/office/drawing/2014/main" id="{53AF2D87-E787-4026-9A04-CC08C3619B2A}"/>
              </a:ext>
            </a:extLst>
          </p:cNvPr>
          <p:cNvSpPr/>
          <p:nvPr/>
        </p:nvSpPr>
        <p:spPr>
          <a:xfrm>
            <a:off x="5774871" y="1983408"/>
            <a:ext cx="2133600" cy="3060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Advantages</a:t>
            </a:r>
          </a:p>
        </p:txBody>
      </p:sp>
      <p:sp>
        <p:nvSpPr>
          <p:cNvPr id="35" name="Rectangle 34">
            <a:extLst>
              <a:ext uri="{FF2B5EF4-FFF2-40B4-BE49-F238E27FC236}">
                <a16:creationId xmlns:a16="http://schemas.microsoft.com/office/drawing/2014/main" id="{559EEED1-0DA6-4AC3-B749-C55D459F24E5}"/>
              </a:ext>
            </a:extLst>
          </p:cNvPr>
          <p:cNvSpPr/>
          <p:nvPr/>
        </p:nvSpPr>
        <p:spPr>
          <a:xfrm>
            <a:off x="7984671" y="1983408"/>
            <a:ext cx="2133600" cy="3060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Disadvantages</a:t>
            </a:r>
          </a:p>
        </p:txBody>
      </p:sp>
      <p:sp>
        <p:nvSpPr>
          <p:cNvPr id="36" name="Rectangle 35">
            <a:extLst>
              <a:ext uri="{FF2B5EF4-FFF2-40B4-BE49-F238E27FC236}">
                <a16:creationId xmlns:a16="http://schemas.microsoft.com/office/drawing/2014/main" id="{C6DB5B95-30C9-42D9-BAC0-4DBAE6CDBB3E}"/>
              </a:ext>
            </a:extLst>
          </p:cNvPr>
          <p:cNvSpPr/>
          <p:nvPr/>
        </p:nvSpPr>
        <p:spPr>
          <a:xfrm>
            <a:off x="3565071" y="2325090"/>
            <a:ext cx="2133600" cy="3765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AU" sz="1400" b="1" dirty="0">
                <a:solidFill>
                  <a:schemeClr val="tx2"/>
                </a:solidFill>
              </a:rPr>
              <a:t>Often perceived as the default growth option for companies, an organic growth strategy relies on developing a company’s internal resources and capabilities</a:t>
            </a:r>
          </a:p>
        </p:txBody>
      </p:sp>
      <p:sp>
        <p:nvSpPr>
          <p:cNvPr id="37" name="Rectangle 36">
            <a:extLst>
              <a:ext uri="{FF2B5EF4-FFF2-40B4-BE49-F238E27FC236}">
                <a16:creationId xmlns:a16="http://schemas.microsoft.com/office/drawing/2014/main" id="{EC90D5F1-1294-46A2-9972-D03475C8DD90}"/>
              </a:ext>
            </a:extLst>
          </p:cNvPr>
          <p:cNvSpPr/>
          <p:nvPr/>
        </p:nvSpPr>
        <p:spPr>
          <a:xfrm>
            <a:off x="5774871" y="2325090"/>
            <a:ext cx="2133600" cy="3765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5725" indent="-85725">
              <a:spcBef>
                <a:spcPts val="300"/>
              </a:spcBef>
              <a:spcAft>
                <a:spcPts val="300"/>
              </a:spcAft>
              <a:buFont typeface="Arial" pitchFamily="34" charset="0"/>
              <a:buChar char="•"/>
            </a:pPr>
            <a:r>
              <a:rPr lang="en-AU" sz="1200" dirty="0">
                <a:solidFill>
                  <a:schemeClr val="tx2"/>
                </a:solidFill>
              </a:rPr>
              <a:t>Provides deeper first-hand knowledge that is likely to be internalized in the company</a:t>
            </a:r>
          </a:p>
          <a:p>
            <a:pPr marL="85725" indent="-85725">
              <a:spcBef>
                <a:spcPts val="300"/>
              </a:spcBef>
              <a:spcAft>
                <a:spcPts val="300"/>
              </a:spcAft>
              <a:buFont typeface="Arial" pitchFamily="34" charset="0"/>
              <a:buChar char="•"/>
            </a:pPr>
            <a:r>
              <a:rPr lang="en-AU" sz="1200" dirty="0">
                <a:solidFill>
                  <a:schemeClr val="tx2"/>
                </a:solidFill>
              </a:rPr>
              <a:t>Helps spread investment over time and reduce upfront commitment</a:t>
            </a:r>
          </a:p>
          <a:p>
            <a:pPr marL="85725" indent="-85725">
              <a:spcBef>
                <a:spcPts val="300"/>
              </a:spcBef>
              <a:spcAft>
                <a:spcPts val="300"/>
              </a:spcAft>
              <a:buFont typeface="Arial" pitchFamily="34" charset="0"/>
              <a:buChar char="•"/>
            </a:pPr>
            <a:r>
              <a:rPr lang="en-US" sz="1200" dirty="0">
                <a:solidFill>
                  <a:schemeClr val="tx2"/>
                </a:solidFill>
              </a:rPr>
              <a:t>There are no availability constraints, that is to say that the company is not dependent on the availability of suitable acquisition targets or potential alliance partners</a:t>
            </a:r>
          </a:p>
          <a:p>
            <a:pPr marL="85725" indent="-85725">
              <a:spcBef>
                <a:spcPts val="300"/>
              </a:spcBef>
              <a:spcAft>
                <a:spcPts val="300"/>
              </a:spcAft>
              <a:buFont typeface="Arial" pitchFamily="34" charset="0"/>
              <a:buChar char="•"/>
            </a:pPr>
            <a:r>
              <a:rPr lang="en-US" sz="1200" dirty="0">
                <a:solidFill>
                  <a:schemeClr val="tx2"/>
                </a:solidFill>
              </a:rPr>
              <a:t>Strategic independence</a:t>
            </a:r>
          </a:p>
          <a:p>
            <a:pPr marL="85725" indent="-85725">
              <a:spcBef>
                <a:spcPts val="300"/>
              </a:spcBef>
              <a:spcAft>
                <a:spcPts val="300"/>
              </a:spcAft>
              <a:buFont typeface="Arial" pitchFamily="34" charset="0"/>
              <a:buChar char="•"/>
            </a:pPr>
            <a:r>
              <a:rPr lang="en-US" sz="1200" dirty="0">
                <a:solidFill>
                  <a:schemeClr val="tx2"/>
                </a:solidFill>
              </a:rPr>
              <a:t>Creation of new activities within the existing culture environment</a:t>
            </a:r>
            <a:endParaRPr lang="en-AU" sz="1200" dirty="0">
              <a:solidFill>
                <a:schemeClr val="tx2"/>
              </a:solidFill>
            </a:endParaRPr>
          </a:p>
        </p:txBody>
      </p:sp>
      <p:sp>
        <p:nvSpPr>
          <p:cNvPr id="38" name="Rectangle 37">
            <a:extLst>
              <a:ext uri="{FF2B5EF4-FFF2-40B4-BE49-F238E27FC236}">
                <a16:creationId xmlns:a16="http://schemas.microsoft.com/office/drawing/2014/main" id="{7D2BD487-1738-447A-9C8E-E7E226A621A5}"/>
              </a:ext>
            </a:extLst>
          </p:cNvPr>
          <p:cNvSpPr/>
          <p:nvPr/>
        </p:nvSpPr>
        <p:spPr>
          <a:xfrm>
            <a:off x="7984671" y="2325090"/>
            <a:ext cx="2133600" cy="3765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5725" indent="-85725">
              <a:spcBef>
                <a:spcPts val="300"/>
              </a:spcBef>
              <a:spcAft>
                <a:spcPts val="300"/>
              </a:spcAft>
              <a:buFont typeface="Arial" pitchFamily="34" charset="0"/>
              <a:buChar char="•"/>
            </a:pPr>
            <a:r>
              <a:rPr lang="en-US" sz="1200" dirty="0">
                <a:solidFill>
                  <a:schemeClr val="tx2"/>
                </a:solidFill>
              </a:rPr>
              <a:t>Can be slow, expensive, and risky</a:t>
            </a:r>
          </a:p>
          <a:p>
            <a:pPr marL="85725" indent="-85725">
              <a:spcBef>
                <a:spcPts val="300"/>
              </a:spcBef>
              <a:spcAft>
                <a:spcPts val="300"/>
              </a:spcAft>
              <a:buFont typeface="Arial" pitchFamily="34" charset="0"/>
              <a:buChar char="•"/>
            </a:pPr>
            <a:r>
              <a:rPr lang="en-US" sz="1200" dirty="0">
                <a:solidFill>
                  <a:schemeClr val="tx2"/>
                </a:solidFill>
              </a:rPr>
              <a:t>Difficult to use existing capabilities as the platform for major leaps in terms of innovation, diversification, or internationalization</a:t>
            </a:r>
            <a:endParaRPr lang="en-AU" sz="1200" dirty="0">
              <a:solidFill>
                <a:schemeClr val="tx2"/>
              </a:solidFill>
            </a:endParaRPr>
          </a:p>
        </p:txBody>
      </p:sp>
    </p:spTree>
    <p:extLst>
      <p:ext uri="{BB962C8B-B14F-4D97-AF65-F5344CB8AC3E}">
        <p14:creationId xmlns:p14="http://schemas.microsoft.com/office/powerpoint/2010/main" val="32180249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42888"/>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 Day-1 Readiness Checklist often includes many activities that will better fit in an Excel document</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0</a:t>
            </a:fld>
            <a:endParaRPr lang="en-US" sz="1000" dirty="0">
              <a:solidFill>
                <a:srgbClr val="ADAFBB"/>
              </a:solidFill>
            </a:endParaRPr>
          </a:p>
        </p:txBody>
      </p:sp>
      <p:pic>
        <p:nvPicPr>
          <p:cNvPr id="4" name="Picture 3">
            <a:extLst>
              <a:ext uri="{FF2B5EF4-FFF2-40B4-BE49-F238E27FC236}">
                <a16:creationId xmlns:a16="http://schemas.microsoft.com/office/drawing/2014/main" id="{EC17A3A3-F952-40E3-98C9-5FF72B7E4A96}"/>
              </a:ext>
            </a:extLst>
          </p:cNvPr>
          <p:cNvPicPr>
            <a:picLocks noChangeAspect="1"/>
          </p:cNvPicPr>
          <p:nvPr/>
        </p:nvPicPr>
        <p:blipFill>
          <a:blip r:embed="rId6"/>
          <a:stretch>
            <a:fillRect/>
          </a:stretch>
        </p:blipFill>
        <p:spPr>
          <a:xfrm>
            <a:off x="1249448" y="2812257"/>
            <a:ext cx="9602616" cy="3345195"/>
          </a:xfrm>
          <a:prstGeom prst="rect">
            <a:avLst/>
          </a:prstGeom>
          <a:ln>
            <a:noFill/>
          </a:ln>
          <a:effectLst>
            <a:outerShdw blurRad="292100" dist="139700" dir="2700000" algn="tl" rotWithShape="0">
              <a:srgbClr val="333333">
                <a:alpha val="65000"/>
              </a:srgbClr>
            </a:outerShdw>
          </a:effectLst>
        </p:spPr>
      </p:pic>
      <p:sp>
        <p:nvSpPr>
          <p:cNvPr id="6" name="Speech Bubble: Rectangle with Corners Rounded 5">
            <a:extLst>
              <a:ext uri="{FF2B5EF4-FFF2-40B4-BE49-F238E27FC236}">
                <a16:creationId xmlns:a16="http://schemas.microsoft.com/office/drawing/2014/main" id="{B85E3BFE-516C-4B89-8FC9-6D692816F816}"/>
              </a:ext>
            </a:extLst>
          </p:cNvPr>
          <p:cNvSpPr/>
          <p:nvPr/>
        </p:nvSpPr>
        <p:spPr>
          <a:xfrm>
            <a:off x="6433458" y="1551115"/>
            <a:ext cx="4735286" cy="1143528"/>
          </a:xfrm>
          <a:prstGeom prst="wedgeRoundRectCallout">
            <a:avLst>
              <a:gd name="adj1" fmla="val -35371"/>
              <a:gd name="adj2" fmla="val 132400"/>
              <a:gd name="adj3" fmla="val 16667"/>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dirty="0"/>
              <a:t>Open the Excel document “1b. Day-1 Readiness Checklist” for more details </a:t>
            </a:r>
            <a:endParaRPr lang="en-AU" dirty="0"/>
          </a:p>
        </p:txBody>
      </p:sp>
    </p:spTree>
    <p:extLst>
      <p:ext uri="{BB962C8B-B14F-4D97-AF65-F5344CB8AC3E}">
        <p14:creationId xmlns:p14="http://schemas.microsoft.com/office/powerpoint/2010/main" val="39986260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A3C88A6-896C-4CE6-A82B-7B779BF6136D}"/>
              </a:ext>
            </a:extLst>
          </p:cNvPr>
          <p:cNvPicPr>
            <a:picLocks noChangeAspect="1"/>
          </p:cNvPicPr>
          <p:nvPr/>
        </p:nvPicPr>
        <p:blipFill>
          <a:blip r:embed="rId4"/>
          <a:stretch>
            <a:fillRect/>
          </a:stretch>
        </p:blipFill>
        <p:spPr>
          <a:xfrm>
            <a:off x="1423769" y="1901166"/>
            <a:ext cx="3648000" cy="2052000"/>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7B4040D5-CCF7-4CD7-A91C-F367BE0521AB}"/>
              </a:ext>
            </a:extLst>
          </p:cNvPr>
          <p:cNvPicPr>
            <a:picLocks noChangeAspect="1"/>
          </p:cNvPicPr>
          <p:nvPr/>
        </p:nvPicPr>
        <p:blipFill>
          <a:blip r:embed="rId5"/>
          <a:stretch>
            <a:fillRect/>
          </a:stretch>
        </p:blipFill>
        <p:spPr>
          <a:xfrm>
            <a:off x="6661779" y="1891951"/>
            <a:ext cx="3648000" cy="2052000"/>
          </a:xfrm>
          <a:prstGeom prst="rect">
            <a:avLst/>
          </a:prstGeom>
          <a:ln>
            <a:noFill/>
          </a:ln>
          <a:effectLst>
            <a:outerShdw blurRad="292100" dist="139700" dir="2700000" algn="tl" rotWithShape="0">
              <a:srgbClr val="333333">
                <a:alpha val="65000"/>
              </a:srgbClr>
            </a:outerShdw>
          </a:effectLst>
        </p:spPr>
      </p:pic>
      <p:pic>
        <p:nvPicPr>
          <p:cNvPr id="4" name="Picture 3">
            <a:extLst>
              <a:ext uri="{FF2B5EF4-FFF2-40B4-BE49-F238E27FC236}">
                <a16:creationId xmlns:a16="http://schemas.microsoft.com/office/drawing/2014/main" id="{E21EACEF-DF8D-455F-98E2-B4F596E8268D}"/>
              </a:ext>
            </a:extLst>
          </p:cNvPr>
          <p:cNvPicPr>
            <a:picLocks noChangeAspect="1"/>
          </p:cNvPicPr>
          <p:nvPr/>
        </p:nvPicPr>
        <p:blipFill>
          <a:blip r:embed="rId6"/>
          <a:stretch>
            <a:fillRect/>
          </a:stretch>
        </p:blipFill>
        <p:spPr>
          <a:xfrm>
            <a:off x="1423769" y="4459347"/>
            <a:ext cx="3648000" cy="2052000"/>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6E845E77-4661-478C-91BE-4F5F582C8AD5}"/>
              </a:ext>
            </a:extLst>
          </p:cNvPr>
          <p:cNvPicPr>
            <a:picLocks noChangeAspect="1"/>
          </p:cNvPicPr>
          <p:nvPr/>
        </p:nvPicPr>
        <p:blipFill>
          <a:blip r:embed="rId7"/>
          <a:stretch>
            <a:fillRect/>
          </a:stretch>
        </p:blipFill>
        <p:spPr>
          <a:xfrm>
            <a:off x="6661777" y="4459347"/>
            <a:ext cx="3648000" cy="2052000"/>
          </a:xfrm>
          <a:prstGeom prst="rect">
            <a:avLst/>
          </a:prstGeom>
          <a:ln>
            <a:noFill/>
          </a:ln>
          <a:effectLst>
            <a:outerShdw blurRad="292100" dist="139700" dir="2700000" algn="tl" rotWithShape="0">
              <a:srgbClr val="333333">
                <a:alpha val="65000"/>
              </a:srgbClr>
            </a:outerShdw>
          </a:effectLst>
        </p:spPr>
      </p:pic>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See below 4 additional screenshots from the Phase 2. </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21</a:t>
            </a:fld>
            <a:endParaRPr lang="en-US" sz="1000" dirty="0">
              <a:solidFill>
                <a:srgbClr val="ADAFBB"/>
              </a:solidFill>
            </a:endParaRPr>
          </a:p>
        </p:txBody>
      </p:sp>
      <p:grpSp>
        <p:nvGrpSpPr>
          <p:cNvPr id="6" name="Group 5">
            <a:extLst>
              <a:ext uri="{FF2B5EF4-FFF2-40B4-BE49-F238E27FC236}">
                <a16:creationId xmlns:a16="http://schemas.microsoft.com/office/drawing/2014/main" id="{33747CCF-50E7-4EB5-9B4D-8E887AE145E7}"/>
              </a:ext>
            </a:extLst>
          </p:cNvPr>
          <p:cNvGrpSpPr/>
          <p:nvPr/>
        </p:nvGrpSpPr>
        <p:grpSpPr>
          <a:xfrm>
            <a:off x="-140038" y="6570"/>
            <a:ext cx="1255215" cy="1090613"/>
            <a:chOff x="-130422" y="-23336"/>
            <a:chExt cx="1096260" cy="952500"/>
          </a:xfrm>
        </p:grpSpPr>
        <p:sp>
          <p:nvSpPr>
            <p:cNvPr id="7" name="Diagonal Stripe 6">
              <a:extLst>
                <a:ext uri="{FF2B5EF4-FFF2-40B4-BE49-F238E27FC236}">
                  <a16:creationId xmlns:a16="http://schemas.microsoft.com/office/drawing/2014/main" id="{586EBA78-DFE9-49C7-BB2A-CBE2EE9B7FA1}"/>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349A5370-D44D-4891-B58A-A16D74C07572}"/>
                </a:ext>
              </a:extLst>
            </p:cNvPr>
            <p:cNvSpPr txBox="1"/>
            <p:nvPr/>
          </p:nvSpPr>
          <p:spPr>
            <a:xfrm rot="18948199">
              <a:off x="-130422" y="235937"/>
              <a:ext cx="1004084"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Screenshots</a:t>
              </a:r>
            </a:p>
          </p:txBody>
        </p:sp>
        <p:cxnSp>
          <p:nvCxnSpPr>
            <p:cNvPr id="9" name="Straight Connector 8">
              <a:extLst>
                <a:ext uri="{FF2B5EF4-FFF2-40B4-BE49-F238E27FC236}">
                  <a16:creationId xmlns:a16="http://schemas.microsoft.com/office/drawing/2014/main" id="{14BBF9DD-58F2-49E1-9965-CAD08C2777D2}"/>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88BB188B-1F6D-450B-8387-5364B3DC1A89}"/>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26" name="TextBox 25">
            <a:extLst>
              <a:ext uri="{FF2B5EF4-FFF2-40B4-BE49-F238E27FC236}">
                <a16:creationId xmlns:a16="http://schemas.microsoft.com/office/drawing/2014/main" id="{737A40FB-4E2D-4A2C-ABF9-F238A234BE37}"/>
              </a:ext>
            </a:extLst>
          </p:cNvPr>
          <p:cNvSpPr txBox="1"/>
          <p:nvPr/>
        </p:nvSpPr>
        <p:spPr>
          <a:xfrm>
            <a:off x="1423770" y="1549164"/>
            <a:ext cx="3648001" cy="307777"/>
          </a:xfrm>
          <a:prstGeom prst="rect">
            <a:avLst/>
          </a:prstGeom>
          <a:noFill/>
        </p:spPr>
        <p:txBody>
          <a:bodyPr wrap="square" rtlCol="0">
            <a:spAutoFit/>
          </a:bodyPr>
          <a:lstStyle/>
          <a:p>
            <a:pPr algn="ctr"/>
            <a:r>
              <a:rPr lang="en-US" sz="1400" b="1" dirty="0"/>
              <a:t>Change Impact Assessment Matrix</a:t>
            </a:r>
          </a:p>
        </p:txBody>
      </p:sp>
      <p:sp>
        <p:nvSpPr>
          <p:cNvPr id="27" name="TextBox 26">
            <a:extLst>
              <a:ext uri="{FF2B5EF4-FFF2-40B4-BE49-F238E27FC236}">
                <a16:creationId xmlns:a16="http://schemas.microsoft.com/office/drawing/2014/main" id="{BDC076F6-22C6-4F66-8368-855A9F230B71}"/>
              </a:ext>
            </a:extLst>
          </p:cNvPr>
          <p:cNvSpPr txBox="1"/>
          <p:nvPr/>
        </p:nvSpPr>
        <p:spPr>
          <a:xfrm>
            <a:off x="1423770" y="4133098"/>
            <a:ext cx="3648000" cy="307777"/>
          </a:xfrm>
          <a:prstGeom prst="rect">
            <a:avLst/>
          </a:prstGeom>
          <a:noFill/>
        </p:spPr>
        <p:txBody>
          <a:bodyPr wrap="square" rtlCol="0">
            <a:spAutoFit/>
          </a:bodyPr>
          <a:lstStyle/>
          <a:p>
            <a:pPr algn="ctr"/>
            <a:r>
              <a:rPr lang="en-US" sz="1400" b="1" dirty="0"/>
              <a:t>Stakeholder Analysis Matrix</a:t>
            </a:r>
          </a:p>
        </p:txBody>
      </p:sp>
      <p:sp>
        <p:nvSpPr>
          <p:cNvPr id="28" name="TextBox 27">
            <a:extLst>
              <a:ext uri="{FF2B5EF4-FFF2-40B4-BE49-F238E27FC236}">
                <a16:creationId xmlns:a16="http://schemas.microsoft.com/office/drawing/2014/main" id="{81AD7EC1-CA1E-4E7A-9780-CF93B6334C25}"/>
              </a:ext>
            </a:extLst>
          </p:cNvPr>
          <p:cNvSpPr txBox="1"/>
          <p:nvPr/>
        </p:nvSpPr>
        <p:spPr>
          <a:xfrm>
            <a:off x="6661779" y="1549164"/>
            <a:ext cx="3648000" cy="307777"/>
          </a:xfrm>
          <a:prstGeom prst="rect">
            <a:avLst/>
          </a:prstGeom>
          <a:noFill/>
        </p:spPr>
        <p:txBody>
          <a:bodyPr wrap="square" rtlCol="0">
            <a:spAutoFit/>
          </a:bodyPr>
          <a:lstStyle/>
          <a:p>
            <a:pPr algn="ctr"/>
            <a:r>
              <a:rPr lang="en-US" sz="1400" b="1" dirty="0"/>
              <a:t>Communication Strategy &amp; Plan</a:t>
            </a:r>
          </a:p>
        </p:txBody>
      </p:sp>
      <p:sp>
        <p:nvSpPr>
          <p:cNvPr id="29" name="TextBox 28">
            <a:extLst>
              <a:ext uri="{FF2B5EF4-FFF2-40B4-BE49-F238E27FC236}">
                <a16:creationId xmlns:a16="http://schemas.microsoft.com/office/drawing/2014/main" id="{507C27F9-FD70-4D53-B2F3-5066825C0008}"/>
              </a:ext>
            </a:extLst>
          </p:cNvPr>
          <p:cNvSpPr txBox="1"/>
          <p:nvPr/>
        </p:nvSpPr>
        <p:spPr>
          <a:xfrm>
            <a:off x="6567056" y="4133098"/>
            <a:ext cx="3842326" cy="307777"/>
          </a:xfrm>
          <a:prstGeom prst="rect">
            <a:avLst/>
          </a:prstGeom>
          <a:noFill/>
        </p:spPr>
        <p:txBody>
          <a:bodyPr wrap="square" rtlCol="0">
            <a:spAutoFit/>
          </a:bodyPr>
          <a:lstStyle/>
          <a:p>
            <a:pPr algn="ctr"/>
            <a:r>
              <a:rPr lang="en-US" sz="1400" b="1" dirty="0"/>
              <a:t>Culture Integration Strategy </a:t>
            </a:r>
          </a:p>
        </p:txBody>
      </p:sp>
    </p:spTree>
    <p:extLst>
      <p:ext uri="{BB962C8B-B14F-4D97-AF65-F5344CB8AC3E}">
        <p14:creationId xmlns:p14="http://schemas.microsoft.com/office/powerpoint/2010/main" val="23499799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430741"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In the next slides, you’ll see a small preview of the Phase 3.</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22</a:t>
            </a:fld>
            <a:endParaRPr lang="en-US" sz="1000" dirty="0">
              <a:solidFill>
                <a:srgbClr val="ADAFBB"/>
              </a:solidFill>
            </a:endParaRPr>
          </a:p>
        </p:txBody>
      </p:sp>
      <p:sp>
        <p:nvSpPr>
          <p:cNvPr id="15" name="Chevron 17">
            <a:extLst>
              <a:ext uri="{FF2B5EF4-FFF2-40B4-BE49-F238E27FC236}">
                <a16:creationId xmlns:a16="http://schemas.microsoft.com/office/drawing/2014/main" id="{7A46184B-3628-4632-ACCB-19BCA96A8AC8}"/>
              </a:ext>
            </a:extLst>
          </p:cNvPr>
          <p:cNvSpPr/>
          <p:nvPr/>
        </p:nvSpPr>
        <p:spPr bwMode="auto">
          <a:xfrm>
            <a:off x="606385"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17" name="Chevron 17">
            <a:extLst>
              <a:ext uri="{FF2B5EF4-FFF2-40B4-BE49-F238E27FC236}">
                <a16:creationId xmlns:a16="http://schemas.microsoft.com/office/drawing/2014/main" id="{66AC2ACA-1592-4210-B804-A2FB73E55DCB}"/>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p>
        </p:txBody>
      </p:sp>
      <p:sp>
        <p:nvSpPr>
          <p:cNvPr id="18" name="Chevron 17">
            <a:extLst>
              <a:ext uri="{FF2B5EF4-FFF2-40B4-BE49-F238E27FC236}">
                <a16:creationId xmlns:a16="http://schemas.microsoft.com/office/drawing/2014/main" id="{4BE3F345-D5FA-46F9-B3D9-E9A2299A0EE8}"/>
              </a:ext>
            </a:extLst>
          </p:cNvPr>
          <p:cNvSpPr/>
          <p:nvPr/>
        </p:nvSpPr>
        <p:spPr bwMode="auto">
          <a:xfrm>
            <a:off x="7844502" y="1719946"/>
            <a:ext cx="3742661" cy="859968"/>
          </a:xfrm>
          <a:prstGeom prst="chevron">
            <a:avLst>
              <a:gd name="adj" fmla="val 31818"/>
            </a:avLst>
          </a:prstGeom>
          <a:solidFill>
            <a:schemeClr val="tx1">
              <a:lumMod val="50000"/>
              <a:lumOff val="50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p>
        </p:txBody>
      </p:sp>
      <p:cxnSp>
        <p:nvCxnSpPr>
          <p:cNvPr id="19" name="Straight Connector 18">
            <a:extLst>
              <a:ext uri="{FF2B5EF4-FFF2-40B4-BE49-F238E27FC236}">
                <a16:creationId xmlns:a16="http://schemas.microsoft.com/office/drawing/2014/main" id="{66B3172C-437D-4E3A-A409-BD3F8E5F11DA}"/>
              </a:ext>
            </a:extLst>
          </p:cNvPr>
          <p:cNvCxnSpPr>
            <a:cxnSpLocks/>
          </p:cNvCxnSpPr>
          <p:nvPr/>
        </p:nvCxnSpPr>
        <p:spPr>
          <a:xfrm>
            <a:off x="4208622" y="275346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13C48DE-0E6F-4FD7-8A42-817BAD8E7791}"/>
              </a:ext>
            </a:extLst>
          </p:cNvPr>
          <p:cNvCxnSpPr>
            <a:cxnSpLocks/>
          </p:cNvCxnSpPr>
          <p:nvPr/>
        </p:nvCxnSpPr>
        <p:spPr>
          <a:xfrm>
            <a:off x="7792864" y="275346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A4E9365C-EC6D-4C73-9668-3952B41AE223}"/>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22" name="Rectangle 21">
            <a:extLst>
              <a:ext uri="{FF2B5EF4-FFF2-40B4-BE49-F238E27FC236}">
                <a16:creationId xmlns:a16="http://schemas.microsoft.com/office/drawing/2014/main" id="{70FE8D2B-187B-4FEB-B998-C2E36F1DB63B}"/>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Institutionalization of the updated PMI Toolkit</a:t>
            </a:r>
          </a:p>
        </p:txBody>
      </p:sp>
      <p:sp>
        <p:nvSpPr>
          <p:cNvPr id="23" name="Rectangle 22">
            <a:extLst>
              <a:ext uri="{FF2B5EF4-FFF2-40B4-BE49-F238E27FC236}">
                <a16:creationId xmlns:a16="http://schemas.microsoft.com/office/drawing/2014/main" id="{E85146C0-60A9-4211-A1A9-BFBDC7E94DCB}"/>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Tree>
    <p:extLst>
      <p:ext uri="{BB962C8B-B14F-4D97-AF65-F5344CB8AC3E}">
        <p14:creationId xmlns:p14="http://schemas.microsoft.com/office/powerpoint/2010/main" val="10027478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o ensure a proper execution of the integration &amp; synergy initiatives, it is very important to appoint high-caliber initiative owner or project manager</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3</a:t>
            </a:fld>
            <a:endParaRPr lang="en-US" sz="1000" dirty="0">
              <a:solidFill>
                <a:srgbClr val="ADAFBB"/>
              </a:solidFill>
            </a:endParaRPr>
          </a:p>
        </p:txBody>
      </p:sp>
      <p:sp>
        <p:nvSpPr>
          <p:cNvPr id="21" name="Isosceles Triangle 20">
            <a:extLst>
              <a:ext uri="{FF2B5EF4-FFF2-40B4-BE49-F238E27FC236}">
                <a16:creationId xmlns:a16="http://schemas.microsoft.com/office/drawing/2014/main" id="{66F40DAB-EC3D-45A7-8178-8FD010BD1FB4}"/>
              </a:ext>
            </a:extLst>
          </p:cNvPr>
          <p:cNvSpPr/>
          <p:nvPr/>
        </p:nvSpPr>
        <p:spPr bwMode="auto">
          <a:xfrm>
            <a:off x="4420677" y="3220211"/>
            <a:ext cx="3350646" cy="2315739"/>
          </a:xfrm>
          <a:prstGeom prst="triangle">
            <a:avLst/>
          </a:prstGeom>
          <a:solidFill>
            <a:schemeClr val="tx1"/>
          </a:solidFill>
          <a:ln>
            <a:solidFill>
              <a:schemeClr val="tx1"/>
            </a:solidFill>
          </a:ln>
          <a:effectLst/>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ea typeface="+mn-ea"/>
              <a:cs typeface="Times New Roman" pitchFamily="18" charset="0"/>
            </a:endParaRPr>
          </a:p>
        </p:txBody>
      </p:sp>
      <p:sp>
        <p:nvSpPr>
          <p:cNvPr id="22" name="Oval 56">
            <a:extLst>
              <a:ext uri="{FF2B5EF4-FFF2-40B4-BE49-F238E27FC236}">
                <a16:creationId xmlns:a16="http://schemas.microsoft.com/office/drawing/2014/main" id="{763F27A6-95BE-48D1-BABC-2304E94F2419}"/>
              </a:ext>
            </a:extLst>
          </p:cNvPr>
          <p:cNvSpPr>
            <a:spLocks noChangeAspect="1"/>
          </p:cNvSpPr>
          <p:nvPr/>
        </p:nvSpPr>
        <p:spPr>
          <a:xfrm>
            <a:off x="5864056" y="3839385"/>
            <a:ext cx="463888" cy="1089907"/>
          </a:xfrm>
          <a:custGeom>
            <a:avLst/>
            <a:gdLst/>
            <a:ahLst/>
            <a:cxnLst/>
            <a:rect l="l" t="t" r="r" b="b"/>
            <a:pathLst>
              <a:path w="267652" h="628851">
                <a:moveTo>
                  <a:pt x="55468" y="125784"/>
                </a:moveTo>
                <a:lnTo>
                  <a:pt x="212184" y="125784"/>
                </a:lnTo>
                <a:cubicBezTo>
                  <a:pt x="242818" y="125784"/>
                  <a:pt x="267652" y="150618"/>
                  <a:pt x="267652" y="181252"/>
                </a:cubicBezTo>
                <a:lnTo>
                  <a:pt x="265538" y="191723"/>
                </a:lnTo>
                <a:cubicBezTo>
                  <a:pt x="265538" y="245905"/>
                  <a:pt x="265537" y="300087"/>
                  <a:pt x="265537" y="354269"/>
                </a:cubicBezTo>
                <a:cubicBezTo>
                  <a:pt x="265537" y="367525"/>
                  <a:pt x="254790" y="378272"/>
                  <a:pt x="241534" y="378272"/>
                </a:cubicBezTo>
                <a:lnTo>
                  <a:pt x="241535" y="378271"/>
                </a:lnTo>
                <a:cubicBezTo>
                  <a:pt x="228279" y="378271"/>
                  <a:pt x="217532" y="367524"/>
                  <a:pt x="217532" y="354268"/>
                </a:cubicBezTo>
                <a:lnTo>
                  <a:pt x="217532" y="235640"/>
                </a:lnTo>
                <a:cubicBezTo>
                  <a:pt x="215826" y="236631"/>
                  <a:pt x="214015" y="236720"/>
                  <a:pt x="212184" y="236720"/>
                </a:cubicBezTo>
                <a:lnTo>
                  <a:pt x="204597" y="236720"/>
                </a:lnTo>
                <a:lnTo>
                  <a:pt x="204597" y="407666"/>
                </a:lnTo>
                <a:cubicBezTo>
                  <a:pt x="204892" y="407900"/>
                  <a:pt x="204895" y="408142"/>
                  <a:pt x="204895" y="408385"/>
                </a:cubicBezTo>
                <a:cubicBezTo>
                  <a:pt x="204895" y="472633"/>
                  <a:pt x="204894" y="536880"/>
                  <a:pt x="204894" y="601128"/>
                </a:cubicBezTo>
                <a:cubicBezTo>
                  <a:pt x="204894" y="616439"/>
                  <a:pt x="192482" y="628851"/>
                  <a:pt x="177171" y="628851"/>
                </a:cubicBezTo>
                <a:lnTo>
                  <a:pt x="177172" y="628850"/>
                </a:lnTo>
                <a:cubicBezTo>
                  <a:pt x="161861" y="628850"/>
                  <a:pt x="149449" y="616438"/>
                  <a:pt x="149449" y="601127"/>
                </a:cubicBezTo>
                <a:lnTo>
                  <a:pt x="149449" y="410345"/>
                </a:lnTo>
                <a:lnTo>
                  <a:pt x="116233" y="410345"/>
                </a:lnTo>
                <a:cubicBezTo>
                  <a:pt x="116233" y="473143"/>
                  <a:pt x="116232" y="535939"/>
                  <a:pt x="116232" y="598737"/>
                </a:cubicBezTo>
                <a:cubicBezTo>
                  <a:pt x="116232" y="614048"/>
                  <a:pt x="103820" y="626460"/>
                  <a:pt x="88509" y="626460"/>
                </a:cubicBezTo>
                <a:lnTo>
                  <a:pt x="88510" y="626459"/>
                </a:lnTo>
                <a:cubicBezTo>
                  <a:pt x="73199" y="626459"/>
                  <a:pt x="60787" y="614047"/>
                  <a:pt x="60787" y="598736"/>
                </a:cubicBezTo>
                <a:lnTo>
                  <a:pt x="60787" y="410345"/>
                </a:lnTo>
                <a:lnTo>
                  <a:pt x="60787" y="405994"/>
                </a:lnTo>
                <a:lnTo>
                  <a:pt x="60787" y="236720"/>
                </a:lnTo>
                <a:lnTo>
                  <a:pt x="55468" y="236720"/>
                </a:lnTo>
                <a:lnTo>
                  <a:pt x="48883" y="235391"/>
                </a:lnTo>
                <a:cubicBezTo>
                  <a:pt x="48882" y="275816"/>
                  <a:pt x="48882" y="316241"/>
                  <a:pt x="48882" y="356666"/>
                </a:cubicBezTo>
                <a:cubicBezTo>
                  <a:pt x="48882" y="369922"/>
                  <a:pt x="38135" y="380669"/>
                  <a:pt x="24879" y="380669"/>
                </a:cubicBezTo>
                <a:lnTo>
                  <a:pt x="24880" y="380668"/>
                </a:lnTo>
                <a:cubicBezTo>
                  <a:pt x="11624" y="380668"/>
                  <a:pt x="877" y="369921"/>
                  <a:pt x="877" y="356665"/>
                </a:cubicBezTo>
                <a:lnTo>
                  <a:pt x="877" y="192545"/>
                </a:lnTo>
                <a:lnTo>
                  <a:pt x="1820" y="190268"/>
                </a:lnTo>
                <a:cubicBezTo>
                  <a:pt x="259" y="187455"/>
                  <a:pt x="0" y="184384"/>
                  <a:pt x="0" y="181252"/>
                </a:cubicBezTo>
                <a:cubicBezTo>
                  <a:pt x="0" y="150618"/>
                  <a:pt x="24834" y="125784"/>
                  <a:pt x="55468" y="125784"/>
                </a:cubicBezTo>
                <a:close/>
                <a:moveTo>
                  <a:pt x="133372" y="0"/>
                </a:moveTo>
                <a:cubicBezTo>
                  <a:pt x="164819" y="0"/>
                  <a:pt x="190312" y="25493"/>
                  <a:pt x="190312" y="56940"/>
                </a:cubicBezTo>
                <a:cubicBezTo>
                  <a:pt x="190312" y="88387"/>
                  <a:pt x="164819" y="113880"/>
                  <a:pt x="133372" y="113880"/>
                </a:cubicBezTo>
                <a:cubicBezTo>
                  <a:pt x="101925" y="113880"/>
                  <a:pt x="76432" y="88387"/>
                  <a:pt x="76432" y="56940"/>
                </a:cubicBezTo>
                <a:cubicBezTo>
                  <a:pt x="76432" y="25493"/>
                  <a:pt x="101925" y="0"/>
                  <a:pt x="13337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TextBox 22">
            <a:extLst>
              <a:ext uri="{FF2B5EF4-FFF2-40B4-BE49-F238E27FC236}">
                <a16:creationId xmlns:a16="http://schemas.microsoft.com/office/drawing/2014/main" id="{F462800D-E8B6-454C-B2A7-22257497EFCC}"/>
              </a:ext>
            </a:extLst>
          </p:cNvPr>
          <p:cNvSpPr txBox="1"/>
          <p:nvPr/>
        </p:nvSpPr>
        <p:spPr>
          <a:xfrm>
            <a:off x="4969119" y="5081692"/>
            <a:ext cx="2253762" cy="338554"/>
          </a:xfrm>
          <a:prstGeom prst="rect">
            <a:avLst/>
          </a:prstGeom>
          <a:noFill/>
        </p:spPr>
        <p:txBody>
          <a:bodyPr wrap="square" rtlCol="0">
            <a:spAutoFit/>
          </a:bodyPr>
          <a:lstStyle/>
          <a:p>
            <a:pPr algn="ctr"/>
            <a:r>
              <a:rPr lang="en-US" sz="1600" b="1" dirty="0">
                <a:solidFill>
                  <a:schemeClr val="bg1"/>
                </a:solidFill>
              </a:rPr>
              <a:t>Project Manager</a:t>
            </a:r>
          </a:p>
        </p:txBody>
      </p:sp>
      <p:sp>
        <p:nvSpPr>
          <p:cNvPr id="24" name="TextBox 23">
            <a:extLst>
              <a:ext uri="{FF2B5EF4-FFF2-40B4-BE49-F238E27FC236}">
                <a16:creationId xmlns:a16="http://schemas.microsoft.com/office/drawing/2014/main" id="{6B9A3C94-0C02-4CD0-B9CB-30F1268604A0}"/>
              </a:ext>
            </a:extLst>
          </p:cNvPr>
          <p:cNvSpPr txBox="1"/>
          <p:nvPr/>
        </p:nvSpPr>
        <p:spPr>
          <a:xfrm>
            <a:off x="4969119" y="2861232"/>
            <a:ext cx="2253762" cy="338554"/>
          </a:xfrm>
          <a:prstGeom prst="rect">
            <a:avLst/>
          </a:prstGeom>
          <a:noFill/>
        </p:spPr>
        <p:txBody>
          <a:bodyPr wrap="square" rtlCol="0">
            <a:spAutoFit/>
          </a:bodyPr>
          <a:lstStyle/>
          <a:p>
            <a:pPr algn="ctr"/>
            <a:r>
              <a:rPr lang="en-US" sz="1600" b="1" dirty="0"/>
              <a:t>Quality</a:t>
            </a:r>
          </a:p>
        </p:txBody>
      </p:sp>
      <p:sp>
        <p:nvSpPr>
          <p:cNvPr id="34" name="TextBox 33">
            <a:extLst>
              <a:ext uri="{FF2B5EF4-FFF2-40B4-BE49-F238E27FC236}">
                <a16:creationId xmlns:a16="http://schemas.microsoft.com/office/drawing/2014/main" id="{CDDBD592-8245-4921-AB51-9281E54B73B8}"/>
              </a:ext>
            </a:extLst>
          </p:cNvPr>
          <p:cNvSpPr txBox="1"/>
          <p:nvPr/>
        </p:nvSpPr>
        <p:spPr>
          <a:xfrm>
            <a:off x="6627348" y="5662159"/>
            <a:ext cx="2253762" cy="338554"/>
          </a:xfrm>
          <a:prstGeom prst="rect">
            <a:avLst/>
          </a:prstGeom>
          <a:noFill/>
        </p:spPr>
        <p:txBody>
          <a:bodyPr wrap="square" rtlCol="0">
            <a:spAutoFit/>
          </a:bodyPr>
          <a:lstStyle/>
          <a:p>
            <a:pPr algn="ctr"/>
            <a:r>
              <a:rPr lang="en-US" sz="1600" b="1" dirty="0"/>
              <a:t>Cost</a:t>
            </a:r>
          </a:p>
        </p:txBody>
      </p:sp>
      <p:sp>
        <p:nvSpPr>
          <p:cNvPr id="35" name="TextBox 34">
            <a:extLst>
              <a:ext uri="{FF2B5EF4-FFF2-40B4-BE49-F238E27FC236}">
                <a16:creationId xmlns:a16="http://schemas.microsoft.com/office/drawing/2014/main" id="{695E363B-E09E-4E14-A315-3177A77FD849}"/>
              </a:ext>
            </a:extLst>
          </p:cNvPr>
          <p:cNvSpPr txBox="1"/>
          <p:nvPr/>
        </p:nvSpPr>
        <p:spPr>
          <a:xfrm>
            <a:off x="3292588" y="5662159"/>
            <a:ext cx="2253762" cy="338554"/>
          </a:xfrm>
          <a:prstGeom prst="rect">
            <a:avLst/>
          </a:prstGeom>
          <a:noFill/>
        </p:spPr>
        <p:txBody>
          <a:bodyPr wrap="square" rtlCol="0">
            <a:spAutoFit/>
          </a:bodyPr>
          <a:lstStyle/>
          <a:p>
            <a:pPr algn="ctr"/>
            <a:r>
              <a:rPr lang="en-US" sz="1600" b="1" dirty="0"/>
              <a:t>Time</a:t>
            </a:r>
          </a:p>
        </p:txBody>
      </p:sp>
      <p:sp>
        <p:nvSpPr>
          <p:cNvPr id="36" name="Rounded Rectangular Callout 8">
            <a:extLst>
              <a:ext uri="{FF2B5EF4-FFF2-40B4-BE49-F238E27FC236}">
                <a16:creationId xmlns:a16="http://schemas.microsoft.com/office/drawing/2014/main" id="{42329662-6CAC-4332-8341-F6E575DEF0D8}"/>
              </a:ext>
            </a:extLst>
          </p:cNvPr>
          <p:cNvSpPr/>
          <p:nvPr/>
        </p:nvSpPr>
        <p:spPr bwMode="auto">
          <a:xfrm>
            <a:off x="7222881" y="2861232"/>
            <a:ext cx="1693596" cy="968579"/>
          </a:xfrm>
          <a:prstGeom prst="wedgeRoundRectCallout">
            <a:avLst>
              <a:gd name="adj1" fmla="val -86495"/>
              <a:gd name="adj2" fmla="val -31043"/>
              <a:gd name="adj3" fmla="val 16667"/>
            </a:avLst>
          </a:prstGeom>
          <a:solidFill>
            <a:schemeClr val="bg1"/>
          </a:solidFill>
          <a:ln>
            <a:solidFill>
              <a:schemeClr val="bg1">
                <a:lumMod val="75000"/>
              </a:schemeClr>
            </a:solidFill>
          </a:ln>
        </p:spPr>
        <p:txBody>
          <a:bodyPr wrap="square" lIns="91428" tIns="45715" rIns="91428" bIns="45715" rtlCol="0" anchor="ctr">
            <a:noAutofit/>
          </a:bodyPr>
          <a:lstStyle/>
          <a:p>
            <a:pPr algn="ctr" defTabSz="623853" rtl="0" fontAlgn="base">
              <a:spcBef>
                <a:spcPts val="600"/>
              </a:spcBef>
              <a:spcAft>
                <a:spcPts val="600"/>
              </a:spcAft>
              <a:buClr>
                <a:srgbClr val="000000"/>
              </a:buClr>
            </a:pPr>
            <a:r>
              <a:rPr lang="en-US" sz="1200" b="1" kern="1200" dirty="0">
                <a:ea typeface="+mn-ea"/>
                <a:cs typeface="Times New Roman" pitchFamily="18" charset="0"/>
              </a:rPr>
              <a:t>Meeting the expectations</a:t>
            </a:r>
          </a:p>
        </p:txBody>
      </p:sp>
      <p:sp>
        <p:nvSpPr>
          <p:cNvPr id="37" name="Rounded Rectangular Callout 16">
            <a:extLst>
              <a:ext uri="{FF2B5EF4-FFF2-40B4-BE49-F238E27FC236}">
                <a16:creationId xmlns:a16="http://schemas.microsoft.com/office/drawing/2014/main" id="{AE2F566A-675F-466D-BB3A-618242E844BE}"/>
              </a:ext>
            </a:extLst>
          </p:cNvPr>
          <p:cNvSpPr/>
          <p:nvPr/>
        </p:nvSpPr>
        <p:spPr bwMode="auto">
          <a:xfrm>
            <a:off x="8429203" y="5177869"/>
            <a:ext cx="1693596" cy="968579"/>
          </a:xfrm>
          <a:prstGeom prst="wedgeRoundRectCallout">
            <a:avLst>
              <a:gd name="adj1" fmla="val -70353"/>
              <a:gd name="adj2" fmla="val 15674"/>
              <a:gd name="adj3" fmla="val 16667"/>
            </a:avLst>
          </a:prstGeom>
          <a:solidFill>
            <a:schemeClr val="bg1"/>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200" b="1" dirty="0">
                <a:cs typeface="Times New Roman" pitchFamily="18" charset="0"/>
              </a:rPr>
              <a:t>Managing a budget and resource limitations</a:t>
            </a:r>
          </a:p>
        </p:txBody>
      </p:sp>
      <p:sp>
        <p:nvSpPr>
          <p:cNvPr id="38" name="Rounded Rectangular Callout 17">
            <a:extLst>
              <a:ext uri="{FF2B5EF4-FFF2-40B4-BE49-F238E27FC236}">
                <a16:creationId xmlns:a16="http://schemas.microsoft.com/office/drawing/2014/main" id="{12D103AD-FC19-44A9-9B62-63029F440639}"/>
              </a:ext>
            </a:extLst>
          </p:cNvPr>
          <p:cNvSpPr/>
          <p:nvPr/>
        </p:nvSpPr>
        <p:spPr bwMode="auto">
          <a:xfrm>
            <a:off x="2227117" y="5177869"/>
            <a:ext cx="1693596" cy="968579"/>
          </a:xfrm>
          <a:prstGeom prst="wedgeRoundRectCallout">
            <a:avLst>
              <a:gd name="adj1" fmla="val 64347"/>
              <a:gd name="adj2" fmla="val 20540"/>
              <a:gd name="adj3" fmla="val 16667"/>
            </a:avLst>
          </a:prstGeom>
          <a:solidFill>
            <a:schemeClr val="bg1"/>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200" b="1" dirty="0">
                <a:cs typeface="Times New Roman" pitchFamily="18" charset="0"/>
              </a:rPr>
              <a:t>Completing the project in a specific time of frame</a:t>
            </a:r>
          </a:p>
        </p:txBody>
      </p:sp>
      <p:sp>
        <p:nvSpPr>
          <p:cNvPr id="41" name="Oval 40">
            <a:extLst>
              <a:ext uri="{FF2B5EF4-FFF2-40B4-BE49-F238E27FC236}">
                <a16:creationId xmlns:a16="http://schemas.microsoft.com/office/drawing/2014/main" id="{0FF43987-E3A7-435C-82C3-6AA94DD090C8}"/>
              </a:ext>
            </a:extLst>
          </p:cNvPr>
          <p:cNvSpPr/>
          <p:nvPr/>
        </p:nvSpPr>
        <p:spPr bwMode="auto">
          <a:xfrm>
            <a:off x="7767484" y="2284645"/>
            <a:ext cx="731520" cy="640080"/>
          </a:xfrm>
          <a:prstGeom prst="ellipse">
            <a:avLst/>
          </a:prstGeom>
          <a:noFill/>
          <a:ln>
            <a:noFill/>
          </a:ln>
        </p:spPr>
        <p:txBody>
          <a:bodyPr wrap="square" lIns="91428" tIns="45715" rIns="91428" bIns="45715" rtlCol="0" anchor="ctr">
            <a:noAutofit/>
          </a:bodyPr>
          <a:lstStyle/>
          <a:p>
            <a:pPr algn="ctr" defTabSz="859512">
              <a:defRPr/>
            </a:pPr>
            <a:r>
              <a:rPr lang="en-US" altLang="ja-JP" sz="4800" dirty="0">
                <a:ea typeface="ＭＳ Ｐゴシック" charset="-128"/>
                <a:sym typeface="Wingdings" pitchFamily="2" charset="2"/>
              </a:rPr>
              <a:t></a:t>
            </a:r>
            <a:endParaRPr lang="en-US" sz="4800" dirty="0">
              <a:ea typeface="ＭＳ Ｐゴシック" charset="-128"/>
              <a:sym typeface="Wingdings" pitchFamily="2" charset="2"/>
            </a:endParaRPr>
          </a:p>
        </p:txBody>
      </p:sp>
      <p:sp>
        <p:nvSpPr>
          <p:cNvPr id="42" name="Title 1">
            <a:extLst>
              <a:ext uri="{FF2B5EF4-FFF2-40B4-BE49-F238E27FC236}">
                <a16:creationId xmlns:a16="http://schemas.microsoft.com/office/drawing/2014/main" id="{6000BDA2-2047-4F8D-AB52-473858658BE1}"/>
              </a:ext>
            </a:extLst>
          </p:cNvPr>
          <p:cNvSpPr txBox="1">
            <a:spLocks/>
          </p:cNvSpPr>
          <p:nvPr/>
        </p:nvSpPr>
        <p:spPr bwMode="auto">
          <a:xfrm>
            <a:off x="612199" y="1623970"/>
            <a:ext cx="10974963"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600" dirty="0">
                <a:solidFill>
                  <a:schemeClr val="tx1"/>
                </a:solidFill>
              </a:rPr>
              <a:t>The main challenge of the different initiative owners or project managers will be to meet the objectives while balancing the triple constraints of quality, cost and time</a:t>
            </a:r>
          </a:p>
        </p:txBody>
      </p:sp>
      <p:pic>
        <p:nvPicPr>
          <p:cNvPr id="4" name="Graphic 3" descr="Coins with solid fill">
            <a:extLst>
              <a:ext uri="{FF2B5EF4-FFF2-40B4-BE49-F238E27FC236}">
                <a16:creationId xmlns:a16="http://schemas.microsoft.com/office/drawing/2014/main" id="{BCB2FE9A-2DF3-47D3-9AF4-922577C0C67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18801" y="4234403"/>
            <a:ext cx="914400" cy="914400"/>
          </a:xfrm>
          <a:prstGeom prst="rect">
            <a:avLst/>
          </a:prstGeom>
        </p:spPr>
      </p:pic>
      <p:pic>
        <p:nvPicPr>
          <p:cNvPr id="6" name="Graphic 5" descr="Stopwatch with solid fill">
            <a:extLst>
              <a:ext uri="{FF2B5EF4-FFF2-40B4-BE49-F238E27FC236}">
                <a16:creationId xmlns:a16="http://schemas.microsoft.com/office/drawing/2014/main" id="{FB5F69A0-1D3C-4495-A759-EEFF65AC487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616715" y="4167292"/>
            <a:ext cx="914400" cy="914400"/>
          </a:xfrm>
          <a:prstGeom prst="rect">
            <a:avLst/>
          </a:prstGeom>
        </p:spPr>
      </p:pic>
    </p:spTree>
    <p:extLst>
      <p:ext uri="{BB962C8B-B14F-4D97-AF65-F5344CB8AC3E}">
        <p14:creationId xmlns:p14="http://schemas.microsoft.com/office/powerpoint/2010/main" val="10267442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E60B84-1B13-48B1-81E5-8E296DEEBBE7}"/>
              </a:ext>
            </a:extLst>
          </p:cNvPr>
          <p:cNvPicPr>
            <a:picLocks noChangeAspect="1"/>
          </p:cNvPicPr>
          <p:nvPr/>
        </p:nvPicPr>
        <p:blipFill>
          <a:blip r:embed="rId4"/>
          <a:stretch>
            <a:fillRect/>
          </a:stretch>
        </p:blipFill>
        <p:spPr>
          <a:xfrm>
            <a:off x="1423770" y="1889150"/>
            <a:ext cx="3648000" cy="2052000"/>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1386EF7C-88B2-48DB-8264-9EB7535FA945}"/>
              </a:ext>
            </a:extLst>
          </p:cNvPr>
          <p:cNvPicPr>
            <a:picLocks noChangeAspect="1"/>
          </p:cNvPicPr>
          <p:nvPr/>
        </p:nvPicPr>
        <p:blipFill>
          <a:blip r:embed="rId5"/>
          <a:stretch>
            <a:fillRect/>
          </a:stretch>
        </p:blipFill>
        <p:spPr>
          <a:xfrm>
            <a:off x="6659418" y="1889150"/>
            <a:ext cx="3648000" cy="2052000"/>
          </a:xfrm>
          <a:prstGeom prst="rect">
            <a:avLst/>
          </a:prstGeom>
          <a:ln>
            <a:noFill/>
          </a:ln>
          <a:effectLst>
            <a:outerShdw blurRad="292100" dist="139700" dir="2700000" algn="tl" rotWithShape="0">
              <a:srgbClr val="333333">
                <a:alpha val="65000"/>
              </a:srgbClr>
            </a:outerShdw>
          </a:effectLst>
        </p:spPr>
      </p:pic>
      <p:pic>
        <p:nvPicPr>
          <p:cNvPr id="4" name="Picture 3">
            <a:extLst>
              <a:ext uri="{FF2B5EF4-FFF2-40B4-BE49-F238E27FC236}">
                <a16:creationId xmlns:a16="http://schemas.microsoft.com/office/drawing/2014/main" id="{619E6FAA-89AE-43EE-B559-A7975B679097}"/>
              </a:ext>
            </a:extLst>
          </p:cNvPr>
          <p:cNvPicPr>
            <a:picLocks noChangeAspect="1"/>
          </p:cNvPicPr>
          <p:nvPr/>
        </p:nvPicPr>
        <p:blipFill>
          <a:blip r:embed="rId6"/>
          <a:stretch>
            <a:fillRect/>
          </a:stretch>
        </p:blipFill>
        <p:spPr>
          <a:xfrm>
            <a:off x="1423770" y="4459346"/>
            <a:ext cx="3648000" cy="2052000"/>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9EB20BB5-DC1E-404F-AAB3-36A1D4DF94D7}"/>
              </a:ext>
            </a:extLst>
          </p:cNvPr>
          <p:cNvPicPr>
            <a:picLocks noChangeAspect="1"/>
          </p:cNvPicPr>
          <p:nvPr/>
        </p:nvPicPr>
        <p:blipFill>
          <a:blip r:embed="rId7"/>
          <a:stretch>
            <a:fillRect/>
          </a:stretch>
        </p:blipFill>
        <p:spPr>
          <a:xfrm>
            <a:off x="6659418" y="4459346"/>
            <a:ext cx="3648000" cy="2052000"/>
          </a:xfrm>
          <a:prstGeom prst="rect">
            <a:avLst/>
          </a:prstGeom>
          <a:ln>
            <a:noFill/>
          </a:ln>
          <a:effectLst>
            <a:outerShdw blurRad="292100" dist="139700" dir="2700000" algn="tl" rotWithShape="0">
              <a:srgbClr val="333333">
                <a:alpha val="65000"/>
              </a:srgbClr>
            </a:outerShdw>
          </a:effectLst>
        </p:spPr>
      </p:pic>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See below 4 additional screenshots from the Phase 3. </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24</a:t>
            </a:fld>
            <a:endParaRPr lang="en-US" sz="1000" dirty="0">
              <a:solidFill>
                <a:srgbClr val="ADAFBB"/>
              </a:solidFill>
            </a:endParaRPr>
          </a:p>
        </p:txBody>
      </p:sp>
      <p:grpSp>
        <p:nvGrpSpPr>
          <p:cNvPr id="6" name="Group 5">
            <a:extLst>
              <a:ext uri="{FF2B5EF4-FFF2-40B4-BE49-F238E27FC236}">
                <a16:creationId xmlns:a16="http://schemas.microsoft.com/office/drawing/2014/main" id="{33747CCF-50E7-4EB5-9B4D-8E887AE145E7}"/>
              </a:ext>
            </a:extLst>
          </p:cNvPr>
          <p:cNvGrpSpPr/>
          <p:nvPr/>
        </p:nvGrpSpPr>
        <p:grpSpPr>
          <a:xfrm>
            <a:off x="-140038" y="6570"/>
            <a:ext cx="1255215" cy="1090613"/>
            <a:chOff x="-130422" y="-23336"/>
            <a:chExt cx="1096260" cy="952500"/>
          </a:xfrm>
        </p:grpSpPr>
        <p:sp>
          <p:nvSpPr>
            <p:cNvPr id="7" name="Diagonal Stripe 6">
              <a:extLst>
                <a:ext uri="{FF2B5EF4-FFF2-40B4-BE49-F238E27FC236}">
                  <a16:creationId xmlns:a16="http://schemas.microsoft.com/office/drawing/2014/main" id="{586EBA78-DFE9-49C7-BB2A-CBE2EE9B7FA1}"/>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349A5370-D44D-4891-B58A-A16D74C07572}"/>
                </a:ext>
              </a:extLst>
            </p:cNvPr>
            <p:cNvSpPr txBox="1"/>
            <p:nvPr/>
          </p:nvSpPr>
          <p:spPr>
            <a:xfrm rot="18948199">
              <a:off x="-130422" y="235937"/>
              <a:ext cx="1004084"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Screenshots</a:t>
              </a:r>
            </a:p>
          </p:txBody>
        </p:sp>
        <p:cxnSp>
          <p:nvCxnSpPr>
            <p:cNvPr id="9" name="Straight Connector 8">
              <a:extLst>
                <a:ext uri="{FF2B5EF4-FFF2-40B4-BE49-F238E27FC236}">
                  <a16:creationId xmlns:a16="http://schemas.microsoft.com/office/drawing/2014/main" id="{14BBF9DD-58F2-49E1-9965-CAD08C2777D2}"/>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88BB188B-1F6D-450B-8387-5364B3DC1A89}"/>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30" name="TextBox 29">
            <a:extLst>
              <a:ext uri="{FF2B5EF4-FFF2-40B4-BE49-F238E27FC236}">
                <a16:creationId xmlns:a16="http://schemas.microsoft.com/office/drawing/2014/main" id="{4885690A-AC95-47AE-9E4D-54E6CFB8A134}"/>
              </a:ext>
            </a:extLst>
          </p:cNvPr>
          <p:cNvSpPr txBox="1"/>
          <p:nvPr/>
        </p:nvSpPr>
        <p:spPr>
          <a:xfrm>
            <a:off x="1423770" y="1549164"/>
            <a:ext cx="3648001" cy="307777"/>
          </a:xfrm>
          <a:prstGeom prst="rect">
            <a:avLst/>
          </a:prstGeom>
          <a:noFill/>
        </p:spPr>
        <p:txBody>
          <a:bodyPr wrap="square" rtlCol="0">
            <a:spAutoFit/>
          </a:bodyPr>
          <a:lstStyle/>
          <a:p>
            <a:pPr algn="ctr"/>
            <a:r>
              <a:rPr lang="en-US" sz="1400" b="1" dirty="0"/>
              <a:t>Governance</a:t>
            </a:r>
          </a:p>
        </p:txBody>
      </p:sp>
      <p:sp>
        <p:nvSpPr>
          <p:cNvPr id="31" name="TextBox 30">
            <a:extLst>
              <a:ext uri="{FF2B5EF4-FFF2-40B4-BE49-F238E27FC236}">
                <a16:creationId xmlns:a16="http://schemas.microsoft.com/office/drawing/2014/main" id="{435C94AD-0B68-4832-A843-416A63C68A22}"/>
              </a:ext>
            </a:extLst>
          </p:cNvPr>
          <p:cNvSpPr txBox="1"/>
          <p:nvPr/>
        </p:nvSpPr>
        <p:spPr>
          <a:xfrm>
            <a:off x="1423770" y="4133098"/>
            <a:ext cx="3648000" cy="307777"/>
          </a:xfrm>
          <a:prstGeom prst="rect">
            <a:avLst/>
          </a:prstGeom>
          <a:noFill/>
        </p:spPr>
        <p:txBody>
          <a:bodyPr wrap="square" rtlCol="0">
            <a:spAutoFit/>
          </a:bodyPr>
          <a:lstStyle/>
          <a:p>
            <a:pPr algn="ctr"/>
            <a:r>
              <a:rPr lang="en-US" sz="1400" b="1" dirty="0"/>
              <a:t>Risk Management Framework </a:t>
            </a:r>
          </a:p>
        </p:txBody>
      </p:sp>
      <p:sp>
        <p:nvSpPr>
          <p:cNvPr id="32" name="TextBox 31">
            <a:extLst>
              <a:ext uri="{FF2B5EF4-FFF2-40B4-BE49-F238E27FC236}">
                <a16:creationId xmlns:a16="http://schemas.microsoft.com/office/drawing/2014/main" id="{6F942A0B-2108-4F94-A75C-D0472EB4899B}"/>
              </a:ext>
            </a:extLst>
          </p:cNvPr>
          <p:cNvSpPr txBox="1"/>
          <p:nvPr/>
        </p:nvSpPr>
        <p:spPr>
          <a:xfrm>
            <a:off x="6661779" y="1549164"/>
            <a:ext cx="3648000" cy="307777"/>
          </a:xfrm>
          <a:prstGeom prst="rect">
            <a:avLst/>
          </a:prstGeom>
          <a:noFill/>
        </p:spPr>
        <p:txBody>
          <a:bodyPr wrap="square" rtlCol="0">
            <a:spAutoFit/>
          </a:bodyPr>
          <a:lstStyle/>
          <a:p>
            <a:pPr algn="ctr"/>
            <a:r>
              <a:rPr lang="en-US" sz="1400" b="1" dirty="0"/>
              <a:t>Initiative Status Report</a:t>
            </a:r>
          </a:p>
        </p:txBody>
      </p:sp>
      <p:sp>
        <p:nvSpPr>
          <p:cNvPr id="33" name="TextBox 32">
            <a:extLst>
              <a:ext uri="{FF2B5EF4-FFF2-40B4-BE49-F238E27FC236}">
                <a16:creationId xmlns:a16="http://schemas.microsoft.com/office/drawing/2014/main" id="{71FCAAB3-5BCA-4205-AB39-3917F35BE863}"/>
              </a:ext>
            </a:extLst>
          </p:cNvPr>
          <p:cNvSpPr txBox="1"/>
          <p:nvPr/>
        </p:nvSpPr>
        <p:spPr>
          <a:xfrm>
            <a:off x="6567056" y="4133098"/>
            <a:ext cx="3842326" cy="307777"/>
          </a:xfrm>
          <a:prstGeom prst="rect">
            <a:avLst/>
          </a:prstGeom>
          <a:noFill/>
        </p:spPr>
        <p:txBody>
          <a:bodyPr wrap="square" rtlCol="0">
            <a:spAutoFit/>
          </a:bodyPr>
          <a:lstStyle/>
          <a:p>
            <a:pPr algn="ctr"/>
            <a:r>
              <a:rPr lang="en-US" sz="1400" b="1" dirty="0"/>
              <a:t>Communication Plan</a:t>
            </a:r>
          </a:p>
        </p:txBody>
      </p:sp>
    </p:spTree>
    <p:extLst>
      <p:ext uri="{BB962C8B-B14F-4D97-AF65-F5344CB8AC3E}">
        <p14:creationId xmlns:p14="http://schemas.microsoft.com/office/powerpoint/2010/main" val="36525540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Structure of the Toolkit</a:t>
            </a:r>
            <a:br>
              <a:rPr lang="en-US" sz="2400" dirty="0"/>
            </a:br>
            <a:r>
              <a:rPr lang="en-GB" sz="1800" b="0" dirty="0"/>
              <a:t>The Post Merger Integration Toolkit includes 370 </a:t>
            </a:r>
            <a:r>
              <a:rPr lang="en-US" sz="1800" b="0" dirty="0"/>
              <a:t>Powerpoint</a:t>
            </a:r>
            <a:r>
              <a:rPr lang="en-GB" sz="1800" b="0" dirty="0"/>
              <a:t> slides and 38 Excel sheets categorized in 4 folders that you can download on your device immediately after your purchase.</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25</a:t>
            </a:fld>
            <a:endParaRPr lang="en-US" sz="1000" dirty="0">
              <a:solidFill>
                <a:srgbClr val="ADAFBB"/>
              </a:solidFill>
            </a:endParaRPr>
          </a:p>
        </p:txBody>
      </p:sp>
      <p:sp>
        <p:nvSpPr>
          <p:cNvPr id="27" name="Rectangle: Rounded Corners 26">
            <a:extLst>
              <a:ext uri="{FF2B5EF4-FFF2-40B4-BE49-F238E27FC236}">
                <a16:creationId xmlns:a16="http://schemas.microsoft.com/office/drawing/2014/main" id="{481A93AA-6912-44D2-8933-03C8E707465B}"/>
              </a:ext>
            </a:extLst>
          </p:cNvPr>
          <p:cNvSpPr/>
          <p:nvPr/>
        </p:nvSpPr>
        <p:spPr>
          <a:xfrm>
            <a:off x="602681" y="1671780"/>
            <a:ext cx="10984482" cy="1163645"/>
          </a:xfrm>
          <a:prstGeom prst="roundRect">
            <a:avLst>
              <a:gd name="adj" fmla="val 4711"/>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8" name="Graphic 27" descr="Open folder outline">
            <a:extLst>
              <a:ext uri="{FF2B5EF4-FFF2-40B4-BE49-F238E27FC236}">
                <a16:creationId xmlns:a16="http://schemas.microsoft.com/office/drawing/2014/main" id="{91006F78-625A-407B-9084-C2520D20AE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400000">
            <a:off x="791945" y="3620573"/>
            <a:ext cx="1640447" cy="1640447"/>
          </a:xfrm>
          <a:prstGeom prst="rect">
            <a:avLst/>
          </a:prstGeom>
        </p:spPr>
      </p:pic>
      <p:pic>
        <p:nvPicPr>
          <p:cNvPr id="31" name="Graphic 30" descr="Open folder outline">
            <a:extLst>
              <a:ext uri="{FF2B5EF4-FFF2-40B4-BE49-F238E27FC236}">
                <a16:creationId xmlns:a16="http://schemas.microsoft.com/office/drawing/2014/main" id="{0347BB5B-1AFD-40D9-B77E-FBD7FD10541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400000">
            <a:off x="3792585" y="3620573"/>
            <a:ext cx="1640447" cy="1640447"/>
          </a:xfrm>
          <a:prstGeom prst="rect">
            <a:avLst/>
          </a:prstGeom>
        </p:spPr>
      </p:pic>
      <p:pic>
        <p:nvPicPr>
          <p:cNvPr id="32" name="Graphic 31" descr="Open folder outline">
            <a:extLst>
              <a:ext uri="{FF2B5EF4-FFF2-40B4-BE49-F238E27FC236}">
                <a16:creationId xmlns:a16="http://schemas.microsoft.com/office/drawing/2014/main" id="{3BDFC8ED-88C2-482D-827D-B842543532C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400000">
            <a:off x="6577778" y="3620573"/>
            <a:ext cx="1640447" cy="1640447"/>
          </a:xfrm>
          <a:prstGeom prst="rect">
            <a:avLst/>
          </a:prstGeom>
        </p:spPr>
      </p:pic>
      <p:pic>
        <p:nvPicPr>
          <p:cNvPr id="33" name="Graphic 32" descr="Open folder outline">
            <a:extLst>
              <a:ext uri="{FF2B5EF4-FFF2-40B4-BE49-F238E27FC236}">
                <a16:creationId xmlns:a16="http://schemas.microsoft.com/office/drawing/2014/main" id="{C00CF8F1-A35A-4C71-B8BF-B1AE86C3DA0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400000">
            <a:off x="9537262" y="3620573"/>
            <a:ext cx="1640447" cy="1640447"/>
          </a:xfrm>
          <a:prstGeom prst="rect">
            <a:avLst/>
          </a:prstGeom>
        </p:spPr>
      </p:pic>
      <p:sp>
        <p:nvSpPr>
          <p:cNvPr id="34" name="Oval 33">
            <a:extLst>
              <a:ext uri="{FF2B5EF4-FFF2-40B4-BE49-F238E27FC236}">
                <a16:creationId xmlns:a16="http://schemas.microsoft.com/office/drawing/2014/main" id="{763F0989-F7AF-4EBC-82B0-0599FF3B4692}"/>
              </a:ext>
            </a:extLst>
          </p:cNvPr>
          <p:cNvSpPr/>
          <p:nvPr/>
        </p:nvSpPr>
        <p:spPr>
          <a:xfrm>
            <a:off x="1417790" y="3306537"/>
            <a:ext cx="332509" cy="31403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t>1</a:t>
            </a:r>
            <a:endParaRPr lang="en-US" sz="1200" b="1" dirty="0"/>
          </a:p>
        </p:txBody>
      </p:sp>
      <p:sp>
        <p:nvSpPr>
          <p:cNvPr id="35" name="Oval 34">
            <a:extLst>
              <a:ext uri="{FF2B5EF4-FFF2-40B4-BE49-F238E27FC236}">
                <a16:creationId xmlns:a16="http://schemas.microsoft.com/office/drawing/2014/main" id="{145936D9-AFA9-40BE-91B5-E821AE027CA9}"/>
              </a:ext>
            </a:extLst>
          </p:cNvPr>
          <p:cNvSpPr/>
          <p:nvPr/>
        </p:nvSpPr>
        <p:spPr>
          <a:xfrm>
            <a:off x="4418430" y="3306537"/>
            <a:ext cx="332509" cy="31403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t>2</a:t>
            </a:r>
            <a:endParaRPr lang="en-US" sz="1200" b="1" dirty="0"/>
          </a:p>
        </p:txBody>
      </p:sp>
      <p:sp>
        <p:nvSpPr>
          <p:cNvPr id="36" name="Oval 35">
            <a:extLst>
              <a:ext uri="{FF2B5EF4-FFF2-40B4-BE49-F238E27FC236}">
                <a16:creationId xmlns:a16="http://schemas.microsoft.com/office/drawing/2014/main" id="{70C839B0-C536-43C1-9BFF-0733B7331D34}"/>
              </a:ext>
            </a:extLst>
          </p:cNvPr>
          <p:cNvSpPr/>
          <p:nvPr/>
        </p:nvSpPr>
        <p:spPr>
          <a:xfrm>
            <a:off x="7203623" y="3306537"/>
            <a:ext cx="332509" cy="31403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t>3</a:t>
            </a:r>
            <a:endParaRPr lang="en-US" sz="1200" b="1" dirty="0"/>
          </a:p>
        </p:txBody>
      </p:sp>
      <p:sp>
        <p:nvSpPr>
          <p:cNvPr id="38" name="Oval 37">
            <a:extLst>
              <a:ext uri="{FF2B5EF4-FFF2-40B4-BE49-F238E27FC236}">
                <a16:creationId xmlns:a16="http://schemas.microsoft.com/office/drawing/2014/main" id="{2A7C9549-821E-4825-913D-E3B561DFA330}"/>
              </a:ext>
            </a:extLst>
          </p:cNvPr>
          <p:cNvSpPr/>
          <p:nvPr/>
        </p:nvSpPr>
        <p:spPr>
          <a:xfrm>
            <a:off x="10163107" y="3306537"/>
            <a:ext cx="332509" cy="31403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t>4</a:t>
            </a:r>
            <a:endParaRPr lang="en-US" sz="1200" b="1" dirty="0"/>
          </a:p>
        </p:txBody>
      </p:sp>
      <p:sp>
        <p:nvSpPr>
          <p:cNvPr id="39" name="TextBox 38">
            <a:extLst>
              <a:ext uri="{FF2B5EF4-FFF2-40B4-BE49-F238E27FC236}">
                <a16:creationId xmlns:a16="http://schemas.microsoft.com/office/drawing/2014/main" id="{B539FB04-CFCB-49E2-9396-38B80AAC28CD}"/>
              </a:ext>
            </a:extLst>
          </p:cNvPr>
          <p:cNvSpPr txBox="1"/>
          <p:nvPr/>
        </p:nvSpPr>
        <p:spPr>
          <a:xfrm>
            <a:off x="475283" y="5241667"/>
            <a:ext cx="2027769" cy="461665"/>
          </a:xfrm>
          <a:prstGeom prst="rect">
            <a:avLst/>
          </a:prstGeom>
          <a:noFill/>
        </p:spPr>
        <p:txBody>
          <a:bodyPr wrap="square" rtlCol="0">
            <a:spAutoFit/>
          </a:bodyPr>
          <a:lstStyle/>
          <a:p>
            <a:pPr algn="ctr"/>
            <a:r>
              <a:rPr lang="en-GB" sz="1200" b="1" dirty="0"/>
              <a:t>Overview and 3-phase approach</a:t>
            </a:r>
            <a:endParaRPr lang="en-US" sz="1200" b="1" dirty="0"/>
          </a:p>
        </p:txBody>
      </p:sp>
      <p:sp>
        <p:nvSpPr>
          <p:cNvPr id="40" name="TextBox 39">
            <a:extLst>
              <a:ext uri="{FF2B5EF4-FFF2-40B4-BE49-F238E27FC236}">
                <a16:creationId xmlns:a16="http://schemas.microsoft.com/office/drawing/2014/main" id="{90AE1DD6-F4FC-4F7B-8342-42FFA1DF8DEA}"/>
              </a:ext>
            </a:extLst>
          </p:cNvPr>
          <p:cNvSpPr txBox="1"/>
          <p:nvPr/>
        </p:nvSpPr>
        <p:spPr>
          <a:xfrm>
            <a:off x="3143418" y="5241667"/>
            <a:ext cx="2827117" cy="461665"/>
          </a:xfrm>
          <a:prstGeom prst="rect">
            <a:avLst/>
          </a:prstGeom>
          <a:noFill/>
        </p:spPr>
        <p:txBody>
          <a:bodyPr wrap="square" rtlCol="0">
            <a:spAutoFit/>
          </a:bodyPr>
          <a:lstStyle/>
          <a:p>
            <a:pPr algn="ctr"/>
            <a:r>
              <a:rPr lang="en-GB" sz="1200" b="1" dirty="0"/>
              <a:t>Phase I - Define &amp; Communicate the Strategy &amp; High-Level Plan</a:t>
            </a:r>
            <a:endParaRPr lang="en-US" sz="1200" b="1" dirty="0"/>
          </a:p>
        </p:txBody>
      </p:sp>
      <p:sp>
        <p:nvSpPr>
          <p:cNvPr id="41" name="TextBox 40">
            <a:extLst>
              <a:ext uri="{FF2B5EF4-FFF2-40B4-BE49-F238E27FC236}">
                <a16:creationId xmlns:a16="http://schemas.microsoft.com/office/drawing/2014/main" id="{30A41704-DA06-479C-927C-EDB16801B547}"/>
              </a:ext>
            </a:extLst>
          </p:cNvPr>
          <p:cNvSpPr txBox="1"/>
          <p:nvPr/>
        </p:nvSpPr>
        <p:spPr>
          <a:xfrm>
            <a:off x="6020971" y="5241667"/>
            <a:ext cx="2827117" cy="461665"/>
          </a:xfrm>
          <a:prstGeom prst="rect">
            <a:avLst/>
          </a:prstGeom>
          <a:noFill/>
        </p:spPr>
        <p:txBody>
          <a:bodyPr wrap="square" rtlCol="0">
            <a:spAutoFit/>
          </a:bodyPr>
          <a:lstStyle/>
          <a:p>
            <a:pPr algn="ctr"/>
            <a:r>
              <a:rPr lang="en-US" sz="1200" b="1" dirty="0"/>
              <a:t>Phase II - </a:t>
            </a:r>
            <a:r>
              <a:rPr lang="en-GB" sz="1200" b="1" dirty="0"/>
              <a:t>Develop &amp; Communicate the Detailed Plans</a:t>
            </a:r>
            <a:endParaRPr lang="en-US" sz="1200" b="1" dirty="0"/>
          </a:p>
        </p:txBody>
      </p:sp>
      <p:sp>
        <p:nvSpPr>
          <p:cNvPr id="42" name="TextBox 41">
            <a:extLst>
              <a:ext uri="{FF2B5EF4-FFF2-40B4-BE49-F238E27FC236}">
                <a16:creationId xmlns:a16="http://schemas.microsoft.com/office/drawing/2014/main" id="{B21000DC-B2FB-470E-9068-E6B748610945}"/>
              </a:ext>
            </a:extLst>
          </p:cNvPr>
          <p:cNvSpPr txBox="1"/>
          <p:nvPr/>
        </p:nvSpPr>
        <p:spPr>
          <a:xfrm>
            <a:off x="9243281" y="5241667"/>
            <a:ext cx="2332263" cy="461665"/>
          </a:xfrm>
          <a:prstGeom prst="rect">
            <a:avLst/>
          </a:prstGeom>
          <a:noFill/>
        </p:spPr>
        <p:txBody>
          <a:bodyPr wrap="square" rtlCol="0">
            <a:spAutoFit/>
          </a:bodyPr>
          <a:lstStyle/>
          <a:p>
            <a:pPr algn="ctr"/>
            <a:r>
              <a:rPr lang="en-GB" sz="1200" b="1" dirty="0"/>
              <a:t>Phase III - Implement &amp; Monitor</a:t>
            </a:r>
            <a:endParaRPr lang="en-US" sz="1200" b="1" dirty="0"/>
          </a:p>
        </p:txBody>
      </p:sp>
      <p:pic>
        <p:nvPicPr>
          <p:cNvPr id="43" name="Picture 2">
            <a:extLst>
              <a:ext uri="{FF2B5EF4-FFF2-40B4-BE49-F238E27FC236}">
                <a16:creationId xmlns:a16="http://schemas.microsoft.com/office/drawing/2014/main" id="{FB5D95BA-E749-41ED-A492-3DB0CAE60A8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73071" y="1790954"/>
            <a:ext cx="628190" cy="584237"/>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Download Microsoft Excel Logo in SVG Vector or PNG File Format - Logo.wine">
            <a:extLst>
              <a:ext uri="{FF2B5EF4-FFF2-40B4-BE49-F238E27FC236}">
                <a16:creationId xmlns:a16="http://schemas.microsoft.com/office/drawing/2014/main" id="{7576FB97-0B10-4575-A519-4D676AC9920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18392" y="1755440"/>
            <a:ext cx="1132272" cy="754848"/>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12A41FCA-692F-4E02-97B5-A0FE9EA380BD}"/>
              </a:ext>
            </a:extLst>
          </p:cNvPr>
          <p:cNvSpPr txBox="1"/>
          <p:nvPr/>
        </p:nvSpPr>
        <p:spPr>
          <a:xfrm>
            <a:off x="2394864" y="2456953"/>
            <a:ext cx="3005768" cy="307777"/>
          </a:xfrm>
          <a:prstGeom prst="rect">
            <a:avLst/>
          </a:prstGeom>
          <a:noFill/>
        </p:spPr>
        <p:txBody>
          <a:bodyPr wrap="square" rtlCol="0">
            <a:spAutoFit/>
          </a:bodyPr>
          <a:lstStyle/>
          <a:p>
            <a:pPr algn="ctr"/>
            <a:r>
              <a:rPr lang="en-GB" sz="1400" b="1" dirty="0"/>
              <a:t>370 editable </a:t>
            </a:r>
            <a:r>
              <a:rPr lang="en-GB" sz="1400" b="1" dirty="0" err="1"/>
              <a:t>Powerpoint</a:t>
            </a:r>
            <a:r>
              <a:rPr lang="en-GB" sz="1400" b="1" dirty="0"/>
              <a:t> slides*</a:t>
            </a:r>
            <a:endParaRPr lang="en-US" sz="1400" b="1" dirty="0"/>
          </a:p>
        </p:txBody>
      </p:sp>
      <p:sp>
        <p:nvSpPr>
          <p:cNvPr id="46" name="TextBox 45">
            <a:extLst>
              <a:ext uri="{FF2B5EF4-FFF2-40B4-BE49-F238E27FC236}">
                <a16:creationId xmlns:a16="http://schemas.microsoft.com/office/drawing/2014/main" id="{9FAD8079-6DE4-489C-8769-F10C8FA9ADE9}"/>
              </a:ext>
            </a:extLst>
          </p:cNvPr>
          <p:cNvSpPr txBox="1"/>
          <p:nvPr/>
        </p:nvSpPr>
        <p:spPr>
          <a:xfrm>
            <a:off x="6970020" y="2456953"/>
            <a:ext cx="2827117" cy="307777"/>
          </a:xfrm>
          <a:prstGeom prst="rect">
            <a:avLst/>
          </a:prstGeom>
          <a:noFill/>
        </p:spPr>
        <p:txBody>
          <a:bodyPr wrap="square" rtlCol="0">
            <a:spAutoFit/>
          </a:bodyPr>
          <a:lstStyle/>
          <a:p>
            <a:pPr algn="ctr"/>
            <a:r>
              <a:rPr lang="en-GB" sz="1400" b="1" dirty="0"/>
              <a:t>38 editable Excel sheets*</a:t>
            </a:r>
            <a:endParaRPr lang="en-US" sz="1400" b="1" dirty="0"/>
          </a:p>
        </p:txBody>
      </p:sp>
      <p:sp>
        <p:nvSpPr>
          <p:cNvPr id="47" name="TextBox 46">
            <a:extLst>
              <a:ext uri="{FF2B5EF4-FFF2-40B4-BE49-F238E27FC236}">
                <a16:creationId xmlns:a16="http://schemas.microsoft.com/office/drawing/2014/main" id="{C1702A2F-818A-43B9-BF2B-13E260103E80}"/>
              </a:ext>
            </a:extLst>
          </p:cNvPr>
          <p:cNvSpPr txBox="1"/>
          <p:nvPr/>
        </p:nvSpPr>
        <p:spPr>
          <a:xfrm>
            <a:off x="5888152" y="1904366"/>
            <a:ext cx="536845" cy="523220"/>
          </a:xfrm>
          <a:prstGeom prst="rect">
            <a:avLst/>
          </a:prstGeom>
          <a:noFill/>
        </p:spPr>
        <p:txBody>
          <a:bodyPr wrap="square" rtlCol="0">
            <a:spAutoFit/>
          </a:bodyPr>
          <a:lstStyle/>
          <a:p>
            <a:pPr algn="ctr"/>
            <a:r>
              <a:rPr lang="en-GB" sz="2800" b="1" dirty="0"/>
              <a:t>+</a:t>
            </a:r>
            <a:endParaRPr lang="en-US" sz="2800" b="1" dirty="0"/>
          </a:p>
        </p:txBody>
      </p:sp>
      <p:sp>
        <p:nvSpPr>
          <p:cNvPr id="48" name="Arrow: Down 47">
            <a:extLst>
              <a:ext uri="{FF2B5EF4-FFF2-40B4-BE49-F238E27FC236}">
                <a16:creationId xmlns:a16="http://schemas.microsoft.com/office/drawing/2014/main" id="{28CABB1C-3934-4229-8B74-BF89C2F3A0F0}"/>
              </a:ext>
            </a:extLst>
          </p:cNvPr>
          <p:cNvSpPr/>
          <p:nvPr/>
        </p:nvSpPr>
        <p:spPr>
          <a:xfrm>
            <a:off x="1360058" y="2841189"/>
            <a:ext cx="447972" cy="366141"/>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Arrow: Down 48">
            <a:extLst>
              <a:ext uri="{FF2B5EF4-FFF2-40B4-BE49-F238E27FC236}">
                <a16:creationId xmlns:a16="http://schemas.microsoft.com/office/drawing/2014/main" id="{3592E183-7674-4B77-88A8-710984F03958}"/>
              </a:ext>
            </a:extLst>
          </p:cNvPr>
          <p:cNvSpPr/>
          <p:nvPr/>
        </p:nvSpPr>
        <p:spPr>
          <a:xfrm>
            <a:off x="4360698" y="2841189"/>
            <a:ext cx="447972" cy="366141"/>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Arrow: Down 49">
            <a:extLst>
              <a:ext uri="{FF2B5EF4-FFF2-40B4-BE49-F238E27FC236}">
                <a16:creationId xmlns:a16="http://schemas.microsoft.com/office/drawing/2014/main" id="{AAF7545F-35EB-4F2D-8550-754052B9F5B6}"/>
              </a:ext>
            </a:extLst>
          </p:cNvPr>
          <p:cNvSpPr/>
          <p:nvPr/>
        </p:nvSpPr>
        <p:spPr>
          <a:xfrm>
            <a:off x="7137352" y="2841189"/>
            <a:ext cx="447972" cy="366141"/>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Arrow: Down 51">
            <a:extLst>
              <a:ext uri="{FF2B5EF4-FFF2-40B4-BE49-F238E27FC236}">
                <a16:creationId xmlns:a16="http://schemas.microsoft.com/office/drawing/2014/main" id="{1C1D2633-764E-4F7D-AF5A-0CE9540FFBC0}"/>
              </a:ext>
            </a:extLst>
          </p:cNvPr>
          <p:cNvSpPr/>
          <p:nvPr/>
        </p:nvSpPr>
        <p:spPr>
          <a:xfrm>
            <a:off x="10114016" y="2841189"/>
            <a:ext cx="447972" cy="366141"/>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Rounded Corners 52">
            <a:extLst>
              <a:ext uri="{FF2B5EF4-FFF2-40B4-BE49-F238E27FC236}">
                <a16:creationId xmlns:a16="http://schemas.microsoft.com/office/drawing/2014/main" id="{82F3DC07-973F-4D10-9A9F-C778B8A46B34}"/>
              </a:ext>
            </a:extLst>
          </p:cNvPr>
          <p:cNvSpPr/>
          <p:nvPr/>
        </p:nvSpPr>
        <p:spPr>
          <a:xfrm>
            <a:off x="602681" y="5984072"/>
            <a:ext cx="10984482" cy="508803"/>
          </a:xfrm>
          <a:prstGeom prst="roundRect">
            <a:avLst>
              <a:gd name="adj" fmla="val 4711"/>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GB" sz="1200" dirty="0"/>
              <a:t>*Please note that the number of </a:t>
            </a:r>
            <a:r>
              <a:rPr lang="en-GB" sz="1200" dirty="0" err="1"/>
              <a:t>Powerpoint</a:t>
            </a:r>
            <a:r>
              <a:rPr lang="en-GB" sz="1200" dirty="0"/>
              <a:t> slides and Excel sheets listed is the number of unique slides and sheets. For example, a </a:t>
            </a:r>
            <a:r>
              <a:rPr lang="en-GB" sz="1200" dirty="0" err="1"/>
              <a:t>Powerpoint</a:t>
            </a:r>
            <a:r>
              <a:rPr lang="en-GB" sz="1200" dirty="0"/>
              <a:t> slide that has been duplicated to facilitate the understanding of our clients only count for 1 </a:t>
            </a:r>
            <a:r>
              <a:rPr lang="en-GB" sz="1200" dirty="0" err="1"/>
              <a:t>Powerpoint</a:t>
            </a:r>
            <a:r>
              <a:rPr lang="en-GB" sz="1200" dirty="0"/>
              <a:t> slide.</a:t>
            </a:r>
          </a:p>
        </p:txBody>
      </p:sp>
      <p:pic>
        <p:nvPicPr>
          <p:cNvPr id="58" name="Graphic 57" descr="Comment Important with solid fill">
            <a:extLst>
              <a:ext uri="{FF2B5EF4-FFF2-40B4-BE49-F238E27FC236}">
                <a16:creationId xmlns:a16="http://schemas.microsoft.com/office/drawing/2014/main" id="{6DB55016-8953-4DDB-8A9E-4E140525A0E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21153" y="6043109"/>
            <a:ext cx="449766" cy="449766"/>
          </a:xfrm>
          <a:prstGeom prst="rect">
            <a:avLst/>
          </a:prstGeom>
        </p:spPr>
      </p:pic>
    </p:spTree>
    <p:extLst>
      <p:ext uri="{BB962C8B-B14F-4D97-AF65-F5344CB8AC3E}">
        <p14:creationId xmlns:p14="http://schemas.microsoft.com/office/powerpoint/2010/main" val="28982791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67640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200" dirty="0">
                <a:sym typeface="Arial" panose="020B0604020202020204" pitchFamily="34" charset="0"/>
              </a:rPr>
              <a:t>Interested in more than 1 Toolkit? You can access to all our Toolkits for </a:t>
            </a:r>
            <a:r>
              <a:rPr lang="en-US" sz="2200" u="sng" dirty="0">
                <a:sym typeface="Arial" panose="020B0604020202020204" pitchFamily="34" charset="0"/>
              </a:rPr>
              <a:t>half the price</a:t>
            </a:r>
            <a:r>
              <a:rPr lang="en-US" sz="2200" dirty="0">
                <a:sym typeface="Arial" panose="020B0604020202020204" pitchFamily="34" charset="0"/>
              </a:rPr>
              <a:t> with the Gold Business &amp; Consulting Package</a:t>
            </a:r>
          </a:p>
        </p:txBody>
      </p:sp>
      <p:sp>
        <p:nvSpPr>
          <p:cNvPr id="4" name="TextBox 3">
            <a:hlinkClick r:id="rId9"/>
            <a:extLst>
              <a:ext uri="{FF2B5EF4-FFF2-40B4-BE49-F238E27FC236}">
                <a16:creationId xmlns:a16="http://schemas.microsoft.com/office/drawing/2014/main" id="{1BC1B3F3-AD3B-48B8-9C10-684287D0D20A}"/>
              </a:ext>
            </a:extLst>
          </p:cNvPr>
          <p:cNvSpPr txBox="1"/>
          <p:nvPr/>
        </p:nvSpPr>
        <p:spPr>
          <a:xfrm>
            <a:off x="3717338" y="6167298"/>
            <a:ext cx="4800600" cy="338554"/>
          </a:xfrm>
          <a:prstGeom prst="rect">
            <a:avLst/>
          </a:prstGeom>
          <a:noFill/>
        </p:spPr>
        <p:txBody>
          <a:bodyPr wrap="square" rtlCol="0">
            <a:spAutoFit/>
          </a:bodyPr>
          <a:lstStyle/>
          <a:p>
            <a:pPr algn="ctr"/>
            <a:r>
              <a:rPr lang="en-US" sz="1600" dirty="0">
                <a:hlinkClick r:id="rId10"/>
              </a:rPr>
              <a:t>www.slidebooks.com</a:t>
            </a:r>
            <a:endParaRPr lang="en-US" sz="1600" dirty="0"/>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718927" y="5354978"/>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1800" kern="0" dirty="0"/>
              <a:t>Gold Business &amp; Consulting Package</a:t>
            </a:r>
          </a:p>
        </p:txBody>
      </p:sp>
      <p:sp>
        <p:nvSpPr>
          <p:cNvPr id="11" name="Rectangle: Rounded Corners 10">
            <a:hlinkClick r:id="rId11"/>
            <a:extLst>
              <a:ext uri="{FF2B5EF4-FFF2-40B4-BE49-F238E27FC236}">
                <a16:creationId xmlns:a16="http://schemas.microsoft.com/office/drawing/2014/main" id="{523DBC1D-DD8D-4DA5-94CC-277FB53AA1DE}"/>
              </a:ext>
            </a:extLst>
          </p:cNvPr>
          <p:cNvSpPr/>
          <p:nvPr/>
        </p:nvSpPr>
        <p:spPr bwMode="auto">
          <a:xfrm>
            <a:off x="5323400" y="5812764"/>
            <a:ext cx="1588476" cy="331198"/>
          </a:xfrm>
          <a:prstGeom prst="roundRect">
            <a:avLst>
              <a:gd name="adj" fmla="val 19468"/>
            </a:avLst>
          </a:prstGeom>
          <a:solidFill>
            <a:srgbClr val="3EA9F5"/>
          </a:solidFill>
          <a:ln>
            <a:noFill/>
          </a:ln>
        </p:spPr>
        <p:txBody>
          <a:bodyPr wrap="square" lIns="91428" tIns="365760" rIns="91428" bIns="91440" rtlCol="0" anchor="ctr">
            <a:noAutofit/>
          </a:bodyPr>
          <a:lstStyle/>
          <a:p>
            <a:pPr algn="ctr" defTabSz="623853" rtl="0" fontAlgn="base">
              <a:lnSpc>
                <a:spcPts val="1100"/>
              </a:lnSpc>
              <a:spcBef>
                <a:spcPct val="0"/>
              </a:spcBef>
              <a:spcAft>
                <a:spcPct val="0"/>
              </a:spcAft>
              <a:buClr>
                <a:srgbClr val="000000"/>
              </a:buClr>
            </a:pPr>
            <a:endParaRPr lang="en-US" sz="2000" b="1" kern="1200" dirty="0">
              <a:solidFill>
                <a:schemeClr val="bg1"/>
              </a:solidFill>
              <a:latin typeface="Arial" charset="0"/>
              <a:ea typeface="+mn-ea"/>
              <a:cs typeface="Times New Roman" pitchFamily="18" charset="0"/>
            </a:endParaRPr>
          </a:p>
        </p:txBody>
      </p:sp>
      <p:sp>
        <p:nvSpPr>
          <p:cNvPr id="13" name="TextBox 12">
            <a:hlinkClick r:id="rId12"/>
            <a:extLst>
              <a:ext uri="{FF2B5EF4-FFF2-40B4-BE49-F238E27FC236}">
                <a16:creationId xmlns:a16="http://schemas.microsoft.com/office/drawing/2014/main" id="{9323C349-62E8-4FBD-AB14-A96D3D6D8849}"/>
              </a:ext>
            </a:extLst>
          </p:cNvPr>
          <p:cNvSpPr txBox="1"/>
          <p:nvPr/>
        </p:nvSpPr>
        <p:spPr>
          <a:xfrm>
            <a:off x="5323400" y="5789428"/>
            <a:ext cx="1588476" cy="369332"/>
          </a:xfrm>
          <a:prstGeom prst="rect">
            <a:avLst/>
          </a:prstGeom>
          <a:noFill/>
        </p:spPr>
        <p:txBody>
          <a:bodyPr wrap="square" rtlCol="0">
            <a:spAutoFit/>
          </a:bodyPr>
          <a:lstStyle/>
          <a:p>
            <a:pPr algn="ctr"/>
            <a:r>
              <a:rPr lang="en-US" b="1" dirty="0">
                <a:solidFill>
                  <a:schemeClr val="bg1"/>
                </a:solidFill>
                <a:latin typeface="Arial" charset="0"/>
                <a:cs typeface="Times New Roman" pitchFamily="18" charset="0"/>
              </a:rPr>
              <a:t>Learn More</a:t>
            </a:r>
            <a:endParaRPr lang="en-US" dirty="0"/>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26</a:t>
            </a:fld>
            <a:endParaRPr lang="en-US" sz="1000" dirty="0">
              <a:solidFill>
                <a:srgbClr val="ADAFBB"/>
              </a:solidFill>
            </a:endParaRPr>
          </a:p>
        </p:txBody>
      </p:sp>
    </p:spTree>
    <p:extLst>
      <p:ext uri="{BB962C8B-B14F-4D97-AF65-F5344CB8AC3E}">
        <p14:creationId xmlns:p14="http://schemas.microsoft.com/office/powerpoint/2010/main" val="17545858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751010D-829D-4277-97AB-08D381FF1AB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r>
              <a:rPr lang="en-US" sz="2400" kern="0" dirty="0"/>
              <a:t>Key Benefits of our Business &amp; Consulting Toolkits</a:t>
            </a:r>
            <a:endParaRPr lang="en-US" sz="2400" b="0" kern="0" dirty="0"/>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27</a:t>
            </a:fld>
            <a:endParaRPr lang="en-US" sz="1000" dirty="0">
              <a:solidFill>
                <a:srgbClr val="ADAFBB"/>
              </a:solidFill>
            </a:endParaRPr>
          </a:p>
        </p:txBody>
      </p:sp>
      <p:sp>
        <p:nvSpPr>
          <p:cNvPr id="6" name="Rectangle 5">
            <a:extLst>
              <a:ext uri="{FF2B5EF4-FFF2-40B4-BE49-F238E27FC236}">
                <a16:creationId xmlns:a16="http://schemas.microsoft.com/office/drawing/2014/main" id="{7077FF90-18B3-4753-AB03-EA70B19442E9}"/>
              </a:ext>
            </a:extLst>
          </p:cNvPr>
          <p:cNvSpPr/>
          <p:nvPr/>
        </p:nvSpPr>
        <p:spPr>
          <a:xfrm>
            <a:off x="623454"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 name="Rectangle 23">
            <a:extLst>
              <a:ext uri="{FF2B5EF4-FFF2-40B4-BE49-F238E27FC236}">
                <a16:creationId xmlns:a16="http://schemas.microsoft.com/office/drawing/2014/main" id="{10FC36E4-FF69-4225-8CCB-04169852A81D}"/>
              </a:ext>
            </a:extLst>
          </p:cNvPr>
          <p:cNvSpPr/>
          <p:nvPr/>
        </p:nvSpPr>
        <p:spPr>
          <a:xfrm>
            <a:off x="4358343"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Rectangle 24">
            <a:extLst>
              <a:ext uri="{FF2B5EF4-FFF2-40B4-BE49-F238E27FC236}">
                <a16:creationId xmlns:a16="http://schemas.microsoft.com/office/drawing/2014/main" id="{00620D10-048E-48D9-A2B4-B60613B1CC93}"/>
              </a:ext>
            </a:extLst>
          </p:cNvPr>
          <p:cNvSpPr/>
          <p:nvPr/>
        </p:nvSpPr>
        <p:spPr>
          <a:xfrm>
            <a:off x="8093234"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Rectangle 34">
            <a:extLst>
              <a:ext uri="{FF2B5EF4-FFF2-40B4-BE49-F238E27FC236}">
                <a16:creationId xmlns:a16="http://schemas.microsoft.com/office/drawing/2014/main" id="{CD141786-24B4-44B0-B8A6-7A0356A8DAA2}"/>
              </a:ext>
            </a:extLst>
          </p:cNvPr>
          <p:cNvSpPr/>
          <p:nvPr/>
        </p:nvSpPr>
        <p:spPr>
          <a:xfrm>
            <a:off x="623454"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 name="Rectangle 36">
            <a:extLst>
              <a:ext uri="{FF2B5EF4-FFF2-40B4-BE49-F238E27FC236}">
                <a16:creationId xmlns:a16="http://schemas.microsoft.com/office/drawing/2014/main" id="{A8ED4079-9C72-477E-A32B-0BE357ABC2DA}"/>
              </a:ext>
            </a:extLst>
          </p:cNvPr>
          <p:cNvSpPr/>
          <p:nvPr/>
        </p:nvSpPr>
        <p:spPr>
          <a:xfrm>
            <a:off x="4358343"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Rectangle 37">
            <a:extLst>
              <a:ext uri="{FF2B5EF4-FFF2-40B4-BE49-F238E27FC236}">
                <a16:creationId xmlns:a16="http://schemas.microsoft.com/office/drawing/2014/main" id="{FD0050EA-2F92-4A1D-BBA2-312C9B6FE8B8}"/>
              </a:ext>
            </a:extLst>
          </p:cNvPr>
          <p:cNvSpPr/>
          <p:nvPr/>
        </p:nvSpPr>
        <p:spPr>
          <a:xfrm>
            <a:off x="8093234"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 name="Rectangle 39">
            <a:extLst>
              <a:ext uri="{FF2B5EF4-FFF2-40B4-BE49-F238E27FC236}">
                <a16:creationId xmlns:a16="http://schemas.microsoft.com/office/drawing/2014/main" id="{0ACD094E-AE08-44D5-A0A8-BF6ED094C063}"/>
              </a:ext>
            </a:extLst>
          </p:cNvPr>
          <p:cNvSpPr/>
          <p:nvPr/>
        </p:nvSpPr>
        <p:spPr>
          <a:xfrm>
            <a:off x="623454"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 name="Rectangle 40">
            <a:extLst>
              <a:ext uri="{FF2B5EF4-FFF2-40B4-BE49-F238E27FC236}">
                <a16:creationId xmlns:a16="http://schemas.microsoft.com/office/drawing/2014/main" id="{DA9D4097-1186-4D11-8507-48A6EB77B0D4}"/>
              </a:ext>
            </a:extLst>
          </p:cNvPr>
          <p:cNvSpPr/>
          <p:nvPr/>
        </p:nvSpPr>
        <p:spPr>
          <a:xfrm>
            <a:off x="4358343"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5" name="Rectangle 44">
            <a:extLst>
              <a:ext uri="{FF2B5EF4-FFF2-40B4-BE49-F238E27FC236}">
                <a16:creationId xmlns:a16="http://schemas.microsoft.com/office/drawing/2014/main" id="{9E2329D8-6CE9-482F-B3CE-E8EC3B1A9369}"/>
              </a:ext>
            </a:extLst>
          </p:cNvPr>
          <p:cNvSpPr/>
          <p:nvPr/>
        </p:nvSpPr>
        <p:spPr>
          <a:xfrm>
            <a:off x="8093234"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6" name="Graphic 45">
            <a:extLst>
              <a:ext uri="{FF2B5EF4-FFF2-40B4-BE49-F238E27FC236}">
                <a16:creationId xmlns:a16="http://schemas.microsoft.com/office/drawing/2014/main" id="{F2DF10A2-E100-4FF9-9CB8-EDE71129B31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2218" y="2201757"/>
            <a:ext cx="509624" cy="509624"/>
          </a:xfrm>
          <a:prstGeom prst="rect">
            <a:avLst/>
          </a:prstGeom>
        </p:spPr>
      </p:pic>
      <p:sp>
        <p:nvSpPr>
          <p:cNvPr id="47" name="Rounded Rectangle 5">
            <a:extLst>
              <a:ext uri="{FF2B5EF4-FFF2-40B4-BE49-F238E27FC236}">
                <a16:creationId xmlns:a16="http://schemas.microsoft.com/office/drawing/2014/main" id="{2294D629-5734-4E8A-ACBC-857B7249F5A5}"/>
              </a:ext>
            </a:extLst>
          </p:cNvPr>
          <p:cNvSpPr/>
          <p:nvPr/>
        </p:nvSpPr>
        <p:spPr bwMode="auto">
          <a:xfrm>
            <a:off x="1470606" y="1994903"/>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US" sz="1200" b="0" i="0" dirty="0">
                <a:solidFill>
                  <a:srgbClr val="053881"/>
                </a:solidFill>
                <a:effectLst/>
                <a:latin typeface="Helvetica" panose="020B0604020202020204" pitchFamily="34" charset="0"/>
              </a:rPr>
              <a:t>Improve the growth &amp; efficiency of your organization by leveraging Business &amp; Consulting Toolkits created by ex-McKinsey, Deloitte &amp; BCG Consultants.</a:t>
            </a:r>
            <a:endParaRPr lang="en-US" sz="1200" dirty="0">
              <a:ea typeface="ＭＳ Ｐゴシック" pitchFamily="50" charset="-128"/>
            </a:endParaRPr>
          </a:p>
        </p:txBody>
      </p:sp>
      <p:sp>
        <p:nvSpPr>
          <p:cNvPr id="48" name="Rounded Rectangle 5">
            <a:extLst>
              <a:ext uri="{FF2B5EF4-FFF2-40B4-BE49-F238E27FC236}">
                <a16:creationId xmlns:a16="http://schemas.microsoft.com/office/drawing/2014/main" id="{971D573A-5304-4C92-8CB7-47985CE6549D}"/>
              </a:ext>
            </a:extLst>
          </p:cNvPr>
          <p:cNvSpPr/>
          <p:nvPr/>
        </p:nvSpPr>
        <p:spPr bwMode="auto">
          <a:xfrm>
            <a:off x="5206138" y="2179569"/>
            <a:ext cx="2467550" cy="553998"/>
          </a:xfrm>
          <a:prstGeom prst="rect">
            <a:avLst/>
          </a:prstGeom>
          <a:noFill/>
          <a:ln w="19050" algn="ctr">
            <a:noFill/>
            <a:miter lim="800000"/>
            <a:headEnd type="none" w="sm" len="sm"/>
            <a:tailEnd type="none" w="sm" len="sm"/>
          </a:ln>
        </p:spPr>
        <p:txBody>
          <a:bodyPr wrap="square" lIns="0" tIns="0" rIns="0" bIns="0" anchor="ctr">
            <a:spAutoFit/>
          </a:bodyPr>
          <a:lstStyle/>
          <a:p>
            <a:r>
              <a:rPr lang="en-US" sz="1200" b="0" i="0" dirty="0">
                <a:solidFill>
                  <a:srgbClr val="053881"/>
                </a:solidFill>
                <a:effectLst/>
                <a:latin typeface="Helvetica" panose="020B0604020202020204" pitchFamily="34" charset="0"/>
              </a:rPr>
              <a:t>It cost us $500k+ to create all our Business &amp; Consulting Toolkits. Get them for a fraction of this cost.</a:t>
            </a:r>
            <a:endParaRPr lang="en-US" sz="1200" dirty="0">
              <a:ea typeface="ＭＳ Ｐゴシック" pitchFamily="50" charset="-128"/>
            </a:endParaRPr>
          </a:p>
        </p:txBody>
      </p:sp>
      <p:sp>
        <p:nvSpPr>
          <p:cNvPr id="49" name="Rounded Rectangle 5">
            <a:extLst>
              <a:ext uri="{FF2B5EF4-FFF2-40B4-BE49-F238E27FC236}">
                <a16:creationId xmlns:a16="http://schemas.microsoft.com/office/drawing/2014/main" id="{5CF30ED3-F54D-472F-8C3E-5A39BAB8D140}"/>
              </a:ext>
            </a:extLst>
          </p:cNvPr>
          <p:cNvSpPr/>
          <p:nvPr/>
        </p:nvSpPr>
        <p:spPr bwMode="auto">
          <a:xfrm>
            <a:off x="8941670" y="1994903"/>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US" sz="1200" b="0" i="0" dirty="0">
                <a:solidFill>
                  <a:srgbClr val="053881"/>
                </a:solidFill>
                <a:effectLst/>
                <a:latin typeface="Helvetica" panose="020B0604020202020204" pitchFamily="34" charset="0"/>
              </a:rPr>
              <a:t>It’s like hiring Management Consultants to create all the practical Frameworks, Tools &amp; Templates required to get a competitive advantage.</a:t>
            </a:r>
            <a:endParaRPr lang="en-US" sz="1200" dirty="0">
              <a:ea typeface="ＭＳ Ｐゴシック" pitchFamily="50" charset="-128"/>
            </a:endParaRPr>
          </a:p>
        </p:txBody>
      </p:sp>
      <p:sp>
        <p:nvSpPr>
          <p:cNvPr id="50" name="Rounded Rectangle 5">
            <a:extLst>
              <a:ext uri="{FF2B5EF4-FFF2-40B4-BE49-F238E27FC236}">
                <a16:creationId xmlns:a16="http://schemas.microsoft.com/office/drawing/2014/main" id="{360D60BA-ED17-4774-B45A-F73EBAE34844}"/>
              </a:ext>
            </a:extLst>
          </p:cNvPr>
          <p:cNvSpPr/>
          <p:nvPr/>
        </p:nvSpPr>
        <p:spPr bwMode="auto">
          <a:xfrm>
            <a:off x="1470606" y="3551740"/>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US" sz="1200" b="0" i="0" dirty="0">
                <a:solidFill>
                  <a:srgbClr val="053881"/>
                </a:solidFill>
                <a:effectLst/>
                <a:latin typeface="Helvetica" panose="020B0604020202020204" pitchFamily="34" charset="0"/>
              </a:rPr>
              <a:t>Get the job done quicker and never start from scratch again with our ready-made &amp; fully editable Frameworks, Tools &amp; Templates in Powerpoint &amp; Excel.</a:t>
            </a:r>
            <a:endParaRPr lang="en-US" sz="1200" dirty="0">
              <a:ea typeface="ＭＳ Ｐゴシック" pitchFamily="50" charset="-128"/>
            </a:endParaRPr>
          </a:p>
        </p:txBody>
      </p:sp>
      <p:sp>
        <p:nvSpPr>
          <p:cNvPr id="51" name="Rounded Rectangle 5">
            <a:extLst>
              <a:ext uri="{FF2B5EF4-FFF2-40B4-BE49-F238E27FC236}">
                <a16:creationId xmlns:a16="http://schemas.microsoft.com/office/drawing/2014/main" id="{08A46298-112A-4987-B136-FDE9569C7285}"/>
              </a:ext>
            </a:extLst>
          </p:cNvPr>
          <p:cNvSpPr/>
          <p:nvPr/>
        </p:nvSpPr>
        <p:spPr bwMode="auto">
          <a:xfrm>
            <a:off x="5206138" y="3551740"/>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US" sz="1200" b="0" i="0" dirty="0">
                <a:solidFill>
                  <a:srgbClr val="053881"/>
                </a:solidFill>
                <a:effectLst/>
                <a:latin typeface="Helvetica" panose="020B0604020202020204" pitchFamily="34" charset="0"/>
              </a:rPr>
              <a:t>We have worked 20,000+ hours over the past 5 years to create the world’s best Business &amp; Consulting Toolkits. Don’t reinvent the wheel. Download now.</a:t>
            </a:r>
            <a:endParaRPr lang="en-US" sz="1200" dirty="0">
              <a:ea typeface="ＭＳ Ｐゴシック" pitchFamily="50" charset="-128"/>
            </a:endParaRPr>
          </a:p>
        </p:txBody>
      </p:sp>
      <p:sp>
        <p:nvSpPr>
          <p:cNvPr id="52" name="Rounded Rectangle 5">
            <a:extLst>
              <a:ext uri="{FF2B5EF4-FFF2-40B4-BE49-F238E27FC236}">
                <a16:creationId xmlns:a16="http://schemas.microsoft.com/office/drawing/2014/main" id="{99AA9153-C633-4C31-9E9A-0948942A95C9}"/>
              </a:ext>
            </a:extLst>
          </p:cNvPr>
          <p:cNvSpPr/>
          <p:nvPr/>
        </p:nvSpPr>
        <p:spPr bwMode="auto">
          <a:xfrm>
            <a:off x="8941670" y="3644073"/>
            <a:ext cx="2467550" cy="738664"/>
          </a:xfrm>
          <a:prstGeom prst="rect">
            <a:avLst/>
          </a:prstGeom>
          <a:noFill/>
          <a:ln w="19050" algn="ctr">
            <a:noFill/>
            <a:miter lim="800000"/>
            <a:headEnd type="none" w="sm" len="sm"/>
            <a:tailEnd type="none" w="sm" len="sm"/>
          </a:ln>
        </p:spPr>
        <p:txBody>
          <a:bodyPr wrap="square" lIns="0" tIns="0" rIns="0" bIns="0" anchor="ctr">
            <a:spAutoFit/>
          </a:bodyPr>
          <a:lstStyle/>
          <a:p>
            <a:r>
              <a:rPr lang="en-US" sz="1200" b="0" i="0" dirty="0">
                <a:solidFill>
                  <a:srgbClr val="053881"/>
                </a:solidFill>
                <a:effectLst/>
                <a:latin typeface="Helvetica" panose="020B0604020202020204" pitchFamily="34" charset="0"/>
              </a:rPr>
              <a:t>Improve your skills &amp; capabilities and meet your professional goals by learning how the Fortune 100 and Global Consulting Firms do it.</a:t>
            </a:r>
          </a:p>
        </p:txBody>
      </p:sp>
      <p:sp>
        <p:nvSpPr>
          <p:cNvPr id="53" name="Rounded Rectangle 5">
            <a:extLst>
              <a:ext uri="{FF2B5EF4-FFF2-40B4-BE49-F238E27FC236}">
                <a16:creationId xmlns:a16="http://schemas.microsoft.com/office/drawing/2014/main" id="{B2ED7A07-F9BD-4DB4-A9C5-B3108D40701B}"/>
              </a:ext>
            </a:extLst>
          </p:cNvPr>
          <p:cNvSpPr/>
          <p:nvPr/>
        </p:nvSpPr>
        <p:spPr bwMode="auto">
          <a:xfrm>
            <a:off x="1470606" y="5293242"/>
            <a:ext cx="2467550" cy="553998"/>
          </a:xfrm>
          <a:prstGeom prst="rect">
            <a:avLst/>
          </a:prstGeom>
          <a:noFill/>
          <a:ln w="19050" algn="ctr">
            <a:noFill/>
            <a:miter lim="800000"/>
            <a:headEnd type="none" w="sm" len="sm"/>
            <a:tailEnd type="none" w="sm" len="sm"/>
          </a:ln>
        </p:spPr>
        <p:txBody>
          <a:bodyPr wrap="square" lIns="0" tIns="0" rIns="0" bIns="0" anchor="ctr">
            <a:spAutoFit/>
          </a:bodyPr>
          <a:lstStyle/>
          <a:p>
            <a:r>
              <a:rPr lang="en-US" sz="1200" b="0" i="0" dirty="0">
                <a:solidFill>
                  <a:srgbClr val="053881"/>
                </a:solidFill>
                <a:effectLst/>
                <a:latin typeface="Helvetica" panose="020B0604020202020204" pitchFamily="34" charset="0"/>
              </a:rPr>
              <a:t>Get free support and advice from our ex-McKinsey, Deloitte &amp; BCG Management Consultants.</a:t>
            </a:r>
            <a:endParaRPr lang="en-US" sz="1200" dirty="0">
              <a:ea typeface="ＭＳ Ｐゴシック" pitchFamily="50" charset="-128"/>
            </a:endParaRPr>
          </a:p>
        </p:txBody>
      </p:sp>
      <p:sp>
        <p:nvSpPr>
          <p:cNvPr id="54" name="Rounded Rectangle 5">
            <a:extLst>
              <a:ext uri="{FF2B5EF4-FFF2-40B4-BE49-F238E27FC236}">
                <a16:creationId xmlns:a16="http://schemas.microsoft.com/office/drawing/2014/main" id="{F2CB5A07-4EE0-490C-BC2F-099732840F2C}"/>
              </a:ext>
            </a:extLst>
          </p:cNvPr>
          <p:cNvSpPr/>
          <p:nvPr/>
        </p:nvSpPr>
        <p:spPr bwMode="auto">
          <a:xfrm>
            <a:off x="5206138" y="5108576"/>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US" sz="1200" b="0" i="0" dirty="0">
                <a:solidFill>
                  <a:srgbClr val="053881"/>
                </a:solidFill>
                <a:effectLst/>
                <a:latin typeface="Helvetica" panose="020B0604020202020204" pitchFamily="34" charset="0"/>
              </a:rPr>
              <a:t>Hiring top-tier Consultants for a management consulting project would cost you $300k+. A lot more expensive than purchasing our Toolkits.</a:t>
            </a:r>
            <a:endParaRPr lang="en-US" sz="1200" dirty="0">
              <a:ea typeface="ＭＳ Ｐゴシック" pitchFamily="50" charset="-128"/>
            </a:endParaRPr>
          </a:p>
        </p:txBody>
      </p:sp>
      <p:sp>
        <p:nvSpPr>
          <p:cNvPr id="55" name="Rounded Rectangle 5">
            <a:extLst>
              <a:ext uri="{FF2B5EF4-FFF2-40B4-BE49-F238E27FC236}">
                <a16:creationId xmlns:a16="http://schemas.microsoft.com/office/drawing/2014/main" id="{DC0B345B-A8EC-4E95-8CAC-E5322CA56717}"/>
              </a:ext>
            </a:extLst>
          </p:cNvPr>
          <p:cNvSpPr/>
          <p:nvPr/>
        </p:nvSpPr>
        <p:spPr bwMode="auto">
          <a:xfrm>
            <a:off x="8941670" y="5108576"/>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US" sz="1200" b="0" i="0" dirty="0">
                <a:solidFill>
                  <a:srgbClr val="053881"/>
                </a:solidFill>
                <a:effectLst/>
                <a:latin typeface="Helvetica" panose="020B0604020202020204" pitchFamily="34" charset="0"/>
              </a:rPr>
              <a:t>Impress your stakeholders and become your organization’s subject matter expert with world-class approaches to resolve common business problems.</a:t>
            </a:r>
            <a:endParaRPr lang="en-US" sz="1200" dirty="0">
              <a:ea typeface="ＭＳ Ｐゴシック" pitchFamily="50" charset="-128"/>
            </a:endParaRPr>
          </a:p>
        </p:txBody>
      </p:sp>
      <p:pic>
        <p:nvPicPr>
          <p:cNvPr id="56" name="Graphic 55">
            <a:extLst>
              <a:ext uri="{FF2B5EF4-FFF2-40B4-BE49-F238E27FC236}">
                <a16:creationId xmlns:a16="http://schemas.microsoft.com/office/drawing/2014/main" id="{131BC2DB-9229-4655-8B8C-67D49AAA6CD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92182" y="2168438"/>
            <a:ext cx="576263" cy="576263"/>
          </a:xfrm>
          <a:prstGeom prst="rect">
            <a:avLst/>
          </a:prstGeom>
        </p:spPr>
      </p:pic>
      <p:pic>
        <p:nvPicPr>
          <p:cNvPr id="57" name="Graphic 56">
            <a:extLst>
              <a:ext uri="{FF2B5EF4-FFF2-40B4-BE49-F238E27FC236}">
                <a16:creationId xmlns:a16="http://schemas.microsoft.com/office/drawing/2014/main" id="{0D0522DE-41AB-44CB-87E5-1CCD549ED18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79485" y="3757458"/>
            <a:ext cx="511894" cy="511894"/>
          </a:xfrm>
          <a:prstGeom prst="rect">
            <a:avLst/>
          </a:prstGeom>
        </p:spPr>
      </p:pic>
      <p:pic>
        <p:nvPicPr>
          <p:cNvPr id="58" name="Graphic 57">
            <a:extLst>
              <a:ext uri="{FF2B5EF4-FFF2-40B4-BE49-F238E27FC236}">
                <a16:creationId xmlns:a16="http://schemas.microsoft.com/office/drawing/2014/main" id="{41860908-BE8E-4A49-85FB-ADD183AEA4C7}"/>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73737" y="2212854"/>
            <a:ext cx="487430" cy="487430"/>
          </a:xfrm>
          <a:prstGeom prst="rect">
            <a:avLst/>
          </a:prstGeom>
        </p:spPr>
      </p:pic>
      <p:pic>
        <p:nvPicPr>
          <p:cNvPr id="59" name="Graphic 58">
            <a:extLst>
              <a:ext uri="{FF2B5EF4-FFF2-40B4-BE49-F238E27FC236}">
                <a16:creationId xmlns:a16="http://schemas.microsoft.com/office/drawing/2014/main" id="{7BC038B5-E60A-43A1-B657-9CE267F41E1E}"/>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216558" y="3746630"/>
            <a:ext cx="533551" cy="533551"/>
          </a:xfrm>
          <a:prstGeom prst="rect">
            <a:avLst/>
          </a:prstGeom>
        </p:spPr>
      </p:pic>
      <p:pic>
        <p:nvPicPr>
          <p:cNvPr id="14" name="Graphic 13">
            <a:extLst>
              <a:ext uri="{FF2B5EF4-FFF2-40B4-BE49-F238E27FC236}">
                <a16:creationId xmlns:a16="http://schemas.microsoft.com/office/drawing/2014/main" id="{22DF7327-2363-435F-9ED6-4AA3ECBBA1A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468090" y="5255693"/>
            <a:ext cx="629096" cy="629096"/>
          </a:xfrm>
          <a:prstGeom prst="rect">
            <a:avLst/>
          </a:prstGeom>
        </p:spPr>
      </p:pic>
      <p:pic>
        <p:nvPicPr>
          <p:cNvPr id="16" name="Graphic 15">
            <a:extLst>
              <a:ext uri="{FF2B5EF4-FFF2-40B4-BE49-F238E27FC236}">
                <a16:creationId xmlns:a16="http://schemas.microsoft.com/office/drawing/2014/main" id="{42781B27-3287-4138-99C2-2F0435F1E5A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223806" y="5276595"/>
            <a:ext cx="587292" cy="587292"/>
          </a:xfrm>
          <a:prstGeom prst="rect">
            <a:avLst/>
          </a:prstGeom>
        </p:spPr>
      </p:pic>
      <p:pic>
        <p:nvPicPr>
          <p:cNvPr id="18" name="Graphic 17">
            <a:extLst>
              <a:ext uri="{FF2B5EF4-FFF2-40B4-BE49-F238E27FC236}">
                <a16:creationId xmlns:a16="http://schemas.microsoft.com/office/drawing/2014/main" id="{9FC40686-C658-407F-BDA4-C822A2049D77}"/>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509655" y="3735025"/>
            <a:ext cx="556760" cy="556760"/>
          </a:xfrm>
          <a:prstGeom prst="rect">
            <a:avLst/>
          </a:prstGeom>
        </p:spPr>
      </p:pic>
      <p:pic>
        <p:nvPicPr>
          <p:cNvPr id="20" name="Graphic 19">
            <a:extLst>
              <a:ext uri="{FF2B5EF4-FFF2-40B4-BE49-F238E27FC236}">
                <a16:creationId xmlns:a16="http://schemas.microsoft.com/office/drawing/2014/main" id="{1E455E94-A30D-4595-BFA4-855752AE351A}"/>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20882" y="5343654"/>
            <a:ext cx="453174" cy="453174"/>
          </a:xfrm>
          <a:prstGeom prst="rect">
            <a:avLst/>
          </a:prstGeom>
        </p:spPr>
      </p:pic>
    </p:spTree>
    <p:extLst>
      <p:ext uri="{BB962C8B-B14F-4D97-AF65-F5344CB8AC3E}">
        <p14:creationId xmlns:p14="http://schemas.microsoft.com/office/powerpoint/2010/main" val="39383374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D58A1A0-06A2-4FAC-A5EA-99253435D8B8}"/>
              </a:ext>
            </a:extLst>
          </p:cNvPr>
          <p:cNvPicPr>
            <a:picLocks noChangeAspect="1"/>
          </p:cNvPicPr>
          <p:nvPr/>
        </p:nvPicPr>
        <p:blipFill>
          <a:blip r:embed="rId2"/>
          <a:stretch>
            <a:fillRect/>
          </a:stretch>
        </p:blipFill>
        <p:spPr>
          <a:xfrm>
            <a:off x="1321620" y="1968982"/>
            <a:ext cx="9458036" cy="3701886"/>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DEFE2F89-2C68-4882-ACAA-4D3583EC021E}"/>
              </a:ext>
            </a:extLst>
          </p:cNvPr>
          <p:cNvSpPr>
            <a:spLocks noGrp="1"/>
          </p:cNvSpPr>
          <p:nvPr>
            <p:ph type="title"/>
          </p:nvPr>
        </p:nvSpPr>
        <p:spPr/>
        <p:txBody>
          <a:bodyPr/>
          <a:lstStyle/>
          <a:p>
            <a:r>
              <a:rPr lang="en-GB" dirty="0"/>
              <a:t>What our clients say about our Toolkits</a:t>
            </a:r>
            <a:br>
              <a:rPr lang="en-GB" dirty="0"/>
            </a:br>
            <a:r>
              <a:rPr lang="en-GB" b="0" dirty="0"/>
              <a:t>Review imported from Facebooks, Amazon and Klaviyo</a:t>
            </a:r>
            <a:endParaRPr lang="en-AU" b="0" dirty="0"/>
          </a:p>
        </p:txBody>
      </p:sp>
      <p:sp>
        <p:nvSpPr>
          <p:cNvPr id="4" name="Slide Number Placeholder 3">
            <a:extLst>
              <a:ext uri="{FF2B5EF4-FFF2-40B4-BE49-F238E27FC236}">
                <a16:creationId xmlns:a16="http://schemas.microsoft.com/office/drawing/2014/main" id="{01275858-1501-44F3-B5E3-F24097F0F591}"/>
              </a:ext>
            </a:extLst>
          </p:cNvPr>
          <p:cNvSpPr>
            <a:spLocks noGrp="1"/>
          </p:cNvSpPr>
          <p:nvPr>
            <p:ph type="sldNum" sz="quarter" idx="4"/>
          </p:nvPr>
        </p:nvSpPr>
        <p:spPr/>
        <p:txBody>
          <a:bodyPr/>
          <a:lstStyle/>
          <a:p>
            <a:fld id="{37F5C94B-8C55-478B-B509-BAE6A06B2E2A}" type="slidenum">
              <a:rPr lang="en-IN" smtClean="0"/>
              <a:pPr/>
              <a:t>28</a:t>
            </a:fld>
            <a:endParaRPr lang="en-IN" dirty="0"/>
          </a:p>
        </p:txBody>
      </p:sp>
      <p:sp>
        <p:nvSpPr>
          <p:cNvPr id="7" name="Rectangle: Rounded Corners 6">
            <a:hlinkClick r:id="rId3"/>
            <a:extLst>
              <a:ext uri="{FF2B5EF4-FFF2-40B4-BE49-F238E27FC236}">
                <a16:creationId xmlns:a16="http://schemas.microsoft.com/office/drawing/2014/main" id="{34408D4B-2DBA-45D0-9E35-C8280CE479B1}"/>
              </a:ext>
            </a:extLst>
          </p:cNvPr>
          <p:cNvSpPr/>
          <p:nvPr/>
        </p:nvSpPr>
        <p:spPr bwMode="auto">
          <a:xfrm>
            <a:off x="5335398" y="5348614"/>
            <a:ext cx="1585519" cy="216876"/>
          </a:xfrm>
          <a:prstGeom prst="roundRect">
            <a:avLst>
              <a:gd name="adj" fmla="val 29140"/>
            </a:avLst>
          </a:prstGeom>
          <a:solidFill>
            <a:srgbClr val="3EA9F5"/>
          </a:solidFill>
          <a:ln>
            <a:noFill/>
          </a:ln>
          <a:effectLst/>
        </p:spPr>
        <p:txBody>
          <a:bodyPr wrap="square" lIns="91428" tIns="10080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See more reviews &gt;</a:t>
            </a:r>
          </a:p>
        </p:txBody>
      </p:sp>
      <p:sp>
        <p:nvSpPr>
          <p:cNvPr id="3" name="Oval 2">
            <a:hlinkClick r:id="rId3"/>
            <a:extLst>
              <a:ext uri="{FF2B5EF4-FFF2-40B4-BE49-F238E27FC236}">
                <a16:creationId xmlns:a16="http://schemas.microsoft.com/office/drawing/2014/main" id="{E7801C33-1882-44AC-8209-E2ACFFBF177C}"/>
              </a:ext>
            </a:extLst>
          </p:cNvPr>
          <p:cNvSpPr/>
          <p:nvPr/>
        </p:nvSpPr>
        <p:spPr>
          <a:xfrm>
            <a:off x="10419046" y="3957144"/>
            <a:ext cx="280099" cy="29361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8" name="Oval 7">
            <a:hlinkClick r:id="rId3"/>
            <a:extLst>
              <a:ext uri="{FF2B5EF4-FFF2-40B4-BE49-F238E27FC236}">
                <a16:creationId xmlns:a16="http://schemas.microsoft.com/office/drawing/2014/main" id="{F65F7B22-3F2E-42E7-BE12-BCF3C4BCBF84}"/>
              </a:ext>
            </a:extLst>
          </p:cNvPr>
          <p:cNvSpPr/>
          <p:nvPr/>
        </p:nvSpPr>
        <p:spPr>
          <a:xfrm>
            <a:off x="1327557" y="3892492"/>
            <a:ext cx="280099" cy="29361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Tree>
    <p:extLst>
      <p:ext uri="{BB962C8B-B14F-4D97-AF65-F5344CB8AC3E}">
        <p14:creationId xmlns:p14="http://schemas.microsoft.com/office/powerpoint/2010/main" val="19266199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9</a:t>
            </a:fld>
            <a:endParaRPr lang="en-US" sz="1000" dirty="0">
              <a:solidFill>
                <a:srgbClr val="ADAFBB"/>
              </a:solidFill>
            </a:endParaRPr>
          </a:p>
        </p:txBody>
      </p:sp>
      <p:sp>
        <p:nvSpPr>
          <p:cNvPr id="25" name="Rectangle 24">
            <a:extLst>
              <a:ext uri="{FF2B5EF4-FFF2-40B4-BE49-F238E27FC236}">
                <a16:creationId xmlns:a16="http://schemas.microsoft.com/office/drawing/2014/main" id="{86A71970-E46B-4358-8BCC-1715EFB36D64}"/>
              </a:ext>
            </a:extLst>
          </p:cNvPr>
          <p:cNvSpPr/>
          <p:nvPr/>
        </p:nvSpPr>
        <p:spPr>
          <a:xfrm>
            <a:off x="626919" y="1648544"/>
            <a:ext cx="7345409" cy="95304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Rectangle 26">
            <a:extLst>
              <a:ext uri="{FF2B5EF4-FFF2-40B4-BE49-F238E27FC236}">
                <a16:creationId xmlns:a16="http://schemas.microsoft.com/office/drawing/2014/main" id="{2221734C-F2C9-4C4F-AF07-9C7EB749C560}"/>
              </a:ext>
            </a:extLst>
          </p:cNvPr>
          <p:cNvSpPr/>
          <p:nvPr/>
        </p:nvSpPr>
        <p:spPr>
          <a:xfrm>
            <a:off x="8087873" y="1648544"/>
            <a:ext cx="3508381" cy="95304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a:extLst>
              <a:ext uri="{FF2B5EF4-FFF2-40B4-BE49-F238E27FC236}">
                <a16:creationId xmlns:a16="http://schemas.microsoft.com/office/drawing/2014/main" id="{9890D867-710A-4021-80A0-9EDD68F8268E}"/>
              </a:ext>
            </a:extLst>
          </p:cNvPr>
          <p:cNvSpPr txBox="1"/>
          <p:nvPr/>
        </p:nvSpPr>
        <p:spPr>
          <a:xfrm>
            <a:off x="644717" y="1648544"/>
            <a:ext cx="7425359" cy="369332"/>
          </a:xfrm>
          <a:prstGeom prst="rect">
            <a:avLst/>
          </a:prstGeom>
          <a:noFill/>
        </p:spPr>
        <p:txBody>
          <a:bodyPr wrap="square" rtlCol="0">
            <a:spAutoFit/>
          </a:bodyPr>
          <a:lstStyle/>
          <a:p>
            <a:r>
              <a:rPr lang="en-US" dirty="0"/>
              <a:t>Trusted by small and large organizations</a:t>
            </a:r>
          </a:p>
        </p:txBody>
      </p:sp>
      <p:sp>
        <p:nvSpPr>
          <p:cNvPr id="34" name="TextBox 33">
            <a:extLst>
              <a:ext uri="{FF2B5EF4-FFF2-40B4-BE49-F238E27FC236}">
                <a16:creationId xmlns:a16="http://schemas.microsoft.com/office/drawing/2014/main" id="{D73AA7D2-25BB-4811-9D38-82BD21C8478B}"/>
              </a:ext>
            </a:extLst>
          </p:cNvPr>
          <p:cNvSpPr txBox="1"/>
          <p:nvPr/>
        </p:nvSpPr>
        <p:spPr>
          <a:xfrm>
            <a:off x="8064688" y="1648544"/>
            <a:ext cx="3623927" cy="369332"/>
          </a:xfrm>
          <a:prstGeom prst="rect">
            <a:avLst/>
          </a:prstGeom>
          <a:noFill/>
        </p:spPr>
        <p:txBody>
          <a:bodyPr wrap="square" rtlCol="0">
            <a:spAutoFit/>
          </a:bodyPr>
          <a:lstStyle/>
          <a:p>
            <a:r>
              <a:rPr lang="en-US" dirty="0"/>
              <a:t>Customer satisfaction</a:t>
            </a:r>
          </a:p>
        </p:txBody>
      </p:sp>
      <p:sp>
        <p:nvSpPr>
          <p:cNvPr id="37" name="Rectangle 36">
            <a:extLst>
              <a:ext uri="{FF2B5EF4-FFF2-40B4-BE49-F238E27FC236}">
                <a16:creationId xmlns:a16="http://schemas.microsoft.com/office/drawing/2014/main" id="{EF41B183-983A-424C-A811-31D7B9F3E067}"/>
              </a:ext>
            </a:extLst>
          </p:cNvPr>
          <p:cNvSpPr/>
          <p:nvPr/>
        </p:nvSpPr>
        <p:spPr>
          <a:xfrm>
            <a:off x="626919" y="2675070"/>
            <a:ext cx="7345409" cy="373326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TextBox 37">
            <a:extLst>
              <a:ext uri="{FF2B5EF4-FFF2-40B4-BE49-F238E27FC236}">
                <a16:creationId xmlns:a16="http://schemas.microsoft.com/office/drawing/2014/main" id="{A222A58B-1B90-4496-A948-F185A3E65D28}"/>
              </a:ext>
            </a:extLst>
          </p:cNvPr>
          <p:cNvSpPr txBox="1"/>
          <p:nvPr/>
        </p:nvSpPr>
        <p:spPr>
          <a:xfrm>
            <a:off x="644719" y="2709886"/>
            <a:ext cx="7327609" cy="1077218"/>
          </a:xfrm>
          <a:prstGeom prst="rect">
            <a:avLst/>
          </a:prstGeom>
          <a:noFill/>
        </p:spPr>
        <p:txBody>
          <a:bodyPr wrap="square" rtlCol="0">
            <a:spAutoFit/>
          </a:bodyPr>
          <a:lstStyle/>
          <a:p>
            <a:r>
              <a:rPr lang="en-US" dirty="0"/>
              <a:t>Number of countries leveraging our Business &amp; Consulting Toolkits</a:t>
            </a:r>
          </a:p>
          <a:p>
            <a:r>
              <a:rPr lang="en-US" sz="2800" dirty="0">
                <a:solidFill>
                  <a:srgbClr val="00B050"/>
                </a:solidFill>
              </a:rPr>
              <a:t>160+ </a:t>
            </a:r>
          </a:p>
          <a:p>
            <a:endParaRPr lang="en-US" dirty="0"/>
          </a:p>
        </p:txBody>
      </p:sp>
      <p:sp>
        <p:nvSpPr>
          <p:cNvPr id="39" name="Rectangle 38">
            <a:extLst>
              <a:ext uri="{FF2B5EF4-FFF2-40B4-BE49-F238E27FC236}">
                <a16:creationId xmlns:a16="http://schemas.microsoft.com/office/drawing/2014/main" id="{BDA9DBF3-656C-4C64-8120-5BCE657C516A}"/>
              </a:ext>
            </a:extLst>
          </p:cNvPr>
          <p:cNvSpPr/>
          <p:nvPr/>
        </p:nvSpPr>
        <p:spPr>
          <a:xfrm>
            <a:off x="8087873" y="2670574"/>
            <a:ext cx="3508381" cy="1588313"/>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 name="TextBox 39">
            <a:extLst>
              <a:ext uri="{FF2B5EF4-FFF2-40B4-BE49-F238E27FC236}">
                <a16:creationId xmlns:a16="http://schemas.microsoft.com/office/drawing/2014/main" id="{573A5304-C348-4211-8C8D-05DBFC25C98C}"/>
              </a:ext>
            </a:extLst>
          </p:cNvPr>
          <p:cNvSpPr txBox="1"/>
          <p:nvPr/>
        </p:nvSpPr>
        <p:spPr>
          <a:xfrm>
            <a:off x="8064688" y="2669659"/>
            <a:ext cx="3602468" cy="1354217"/>
          </a:xfrm>
          <a:prstGeom prst="rect">
            <a:avLst/>
          </a:prstGeom>
          <a:noFill/>
        </p:spPr>
        <p:txBody>
          <a:bodyPr wrap="square" rtlCol="0">
            <a:spAutoFit/>
          </a:bodyPr>
          <a:lstStyle/>
          <a:p>
            <a:r>
              <a:rPr lang="en-US" dirty="0"/>
              <a:t>Number of professionals leveraging our Business &amp; Consulting Toolkits</a:t>
            </a:r>
          </a:p>
          <a:p>
            <a:r>
              <a:rPr lang="en-US" sz="2800" dirty="0">
                <a:solidFill>
                  <a:srgbClr val="00B050"/>
                </a:solidFill>
              </a:rPr>
              <a:t>200,000+</a:t>
            </a:r>
          </a:p>
        </p:txBody>
      </p:sp>
      <p:grpSp>
        <p:nvGrpSpPr>
          <p:cNvPr id="47" name="Group 5">
            <a:extLst>
              <a:ext uri="{FF2B5EF4-FFF2-40B4-BE49-F238E27FC236}">
                <a16:creationId xmlns:a16="http://schemas.microsoft.com/office/drawing/2014/main" id="{D5D4B5DC-3DE6-4CEF-A50A-EB4214B0D845}"/>
              </a:ext>
            </a:extLst>
          </p:cNvPr>
          <p:cNvGrpSpPr>
            <a:grpSpLocks/>
          </p:cNvGrpSpPr>
          <p:nvPr/>
        </p:nvGrpSpPr>
        <p:grpSpPr bwMode="auto">
          <a:xfrm>
            <a:off x="5632861" y="5262112"/>
            <a:ext cx="297844" cy="94643"/>
            <a:chOff x="4449" y="3335"/>
            <a:chExt cx="260" cy="83"/>
          </a:xfrm>
          <a:solidFill>
            <a:srgbClr val="00B050"/>
          </a:solidFill>
        </p:grpSpPr>
        <p:sp>
          <p:nvSpPr>
            <p:cNvPr id="314" name="Freeform 6">
              <a:extLst>
                <a:ext uri="{FF2B5EF4-FFF2-40B4-BE49-F238E27FC236}">
                  <a16:creationId xmlns:a16="http://schemas.microsoft.com/office/drawing/2014/main" id="{BF8DA816-36D4-4CB3-83E0-182B4D82AA35}"/>
                </a:ext>
              </a:extLst>
            </p:cNvPr>
            <p:cNvSpPr>
              <a:spLocks/>
            </p:cNvSpPr>
            <p:nvPr/>
          </p:nvSpPr>
          <p:spPr bwMode="auto">
            <a:xfrm>
              <a:off x="4449" y="3340"/>
              <a:ext cx="52" cy="69"/>
            </a:xfrm>
            <a:custGeom>
              <a:avLst/>
              <a:gdLst>
                <a:gd name="T0" fmla="*/ 0 w 52"/>
                <a:gd name="T1" fmla="*/ 0 h 69"/>
                <a:gd name="T2" fmla="*/ 0 w 52"/>
                <a:gd name="T3" fmla="*/ 0 h 69"/>
                <a:gd name="T4" fmla="*/ 10 w 52"/>
                <a:gd name="T5" fmla="*/ 0 h 69"/>
                <a:gd name="T6" fmla="*/ 13 w 52"/>
                <a:gd name="T7" fmla="*/ 13 h 69"/>
                <a:gd name="T8" fmla="*/ 26 w 52"/>
                <a:gd name="T9" fmla="*/ 5 h 69"/>
                <a:gd name="T10" fmla="*/ 43 w 52"/>
                <a:gd name="T11" fmla="*/ 21 h 69"/>
                <a:gd name="T12" fmla="*/ 51 w 52"/>
                <a:gd name="T13" fmla="*/ 68 h 69"/>
                <a:gd name="T14" fmla="*/ 50 w 52"/>
                <a:gd name="T15" fmla="*/ 68 h 69"/>
                <a:gd name="T16" fmla="*/ 16 w 52"/>
                <a:gd name="T17" fmla="*/ 48 h 69"/>
                <a:gd name="T18" fmla="*/ 0 w 52"/>
                <a:gd name="T19" fmla="*/ 0 h 69"/>
                <a:gd name="T20" fmla="*/ 0 w 52"/>
                <a:gd name="T21" fmla="*/ 0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69"/>
                <a:gd name="T35" fmla="*/ 52 w 52"/>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69">
                  <a:moveTo>
                    <a:pt x="0" y="0"/>
                  </a:moveTo>
                  <a:lnTo>
                    <a:pt x="0" y="0"/>
                  </a:lnTo>
                  <a:lnTo>
                    <a:pt x="10" y="0"/>
                  </a:lnTo>
                  <a:lnTo>
                    <a:pt x="13" y="13"/>
                  </a:lnTo>
                  <a:lnTo>
                    <a:pt x="26" y="5"/>
                  </a:lnTo>
                  <a:lnTo>
                    <a:pt x="43" y="21"/>
                  </a:lnTo>
                  <a:lnTo>
                    <a:pt x="51" y="68"/>
                  </a:lnTo>
                  <a:lnTo>
                    <a:pt x="50" y="68"/>
                  </a:lnTo>
                  <a:lnTo>
                    <a:pt x="16" y="48"/>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5" name="Freeform 7">
              <a:extLst>
                <a:ext uri="{FF2B5EF4-FFF2-40B4-BE49-F238E27FC236}">
                  <a16:creationId xmlns:a16="http://schemas.microsoft.com/office/drawing/2014/main" id="{4BF65DA2-D11A-4E7E-AFC8-ABE0DD43E994}"/>
                </a:ext>
              </a:extLst>
            </p:cNvPr>
            <p:cNvSpPr>
              <a:spLocks/>
            </p:cNvSpPr>
            <p:nvPr/>
          </p:nvSpPr>
          <p:spPr bwMode="auto">
            <a:xfrm>
              <a:off x="4577" y="3335"/>
              <a:ext cx="132" cy="83"/>
            </a:xfrm>
            <a:custGeom>
              <a:avLst/>
              <a:gdLst>
                <a:gd name="T0" fmla="*/ 0 w 132"/>
                <a:gd name="T1" fmla="*/ 72 h 83"/>
                <a:gd name="T2" fmla="*/ 0 w 132"/>
                <a:gd name="T3" fmla="*/ 72 h 83"/>
                <a:gd name="T4" fmla="*/ 12 w 132"/>
                <a:gd name="T5" fmla="*/ 82 h 83"/>
                <a:gd name="T6" fmla="*/ 53 w 132"/>
                <a:gd name="T7" fmla="*/ 79 h 83"/>
                <a:gd name="T8" fmla="*/ 66 w 132"/>
                <a:gd name="T9" fmla="*/ 73 h 83"/>
                <a:gd name="T10" fmla="*/ 84 w 132"/>
                <a:gd name="T11" fmla="*/ 36 h 83"/>
                <a:gd name="T12" fmla="*/ 108 w 132"/>
                <a:gd name="T13" fmla="*/ 37 h 83"/>
                <a:gd name="T14" fmla="*/ 131 w 132"/>
                <a:gd name="T15" fmla="*/ 25 h 83"/>
                <a:gd name="T16" fmla="*/ 109 w 132"/>
                <a:gd name="T17" fmla="*/ 14 h 83"/>
                <a:gd name="T18" fmla="*/ 102 w 132"/>
                <a:gd name="T19" fmla="*/ 0 h 83"/>
                <a:gd name="T20" fmla="*/ 75 w 132"/>
                <a:gd name="T21" fmla="*/ 26 h 83"/>
                <a:gd name="T22" fmla="*/ 67 w 132"/>
                <a:gd name="T23" fmla="*/ 40 h 83"/>
                <a:gd name="T24" fmla="*/ 59 w 132"/>
                <a:gd name="T25" fmla="*/ 32 h 83"/>
                <a:gd name="T26" fmla="*/ 43 w 132"/>
                <a:gd name="T27" fmla="*/ 52 h 83"/>
                <a:gd name="T28" fmla="*/ 26 w 132"/>
                <a:gd name="T29" fmla="*/ 55 h 83"/>
                <a:gd name="T30" fmla="*/ 20 w 132"/>
                <a:gd name="T31" fmla="*/ 73 h 83"/>
                <a:gd name="T32" fmla="*/ 0 w 132"/>
                <a:gd name="T33" fmla="*/ 72 h 83"/>
                <a:gd name="T34" fmla="*/ 0 w 132"/>
                <a:gd name="T35" fmla="*/ 72 h 8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83"/>
                <a:gd name="T56" fmla="*/ 132 w 132"/>
                <a:gd name="T57" fmla="*/ 83 h 8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83">
                  <a:moveTo>
                    <a:pt x="0" y="72"/>
                  </a:moveTo>
                  <a:lnTo>
                    <a:pt x="0" y="72"/>
                  </a:lnTo>
                  <a:lnTo>
                    <a:pt x="12" y="82"/>
                  </a:lnTo>
                  <a:lnTo>
                    <a:pt x="53" y="79"/>
                  </a:lnTo>
                  <a:lnTo>
                    <a:pt x="66" y="73"/>
                  </a:lnTo>
                  <a:lnTo>
                    <a:pt x="84" y="36"/>
                  </a:lnTo>
                  <a:lnTo>
                    <a:pt x="108" y="37"/>
                  </a:lnTo>
                  <a:lnTo>
                    <a:pt x="131" y="25"/>
                  </a:lnTo>
                  <a:lnTo>
                    <a:pt x="109" y="14"/>
                  </a:lnTo>
                  <a:lnTo>
                    <a:pt x="102" y="0"/>
                  </a:lnTo>
                  <a:lnTo>
                    <a:pt x="75" y="26"/>
                  </a:lnTo>
                  <a:lnTo>
                    <a:pt x="67" y="40"/>
                  </a:lnTo>
                  <a:lnTo>
                    <a:pt x="59" y="32"/>
                  </a:lnTo>
                  <a:lnTo>
                    <a:pt x="43" y="52"/>
                  </a:lnTo>
                  <a:lnTo>
                    <a:pt x="26" y="55"/>
                  </a:lnTo>
                  <a:lnTo>
                    <a:pt x="20" y="73"/>
                  </a:lnTo>
                  <a:lnTo>
                    <a:pt x="0" y="7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nvGrpSpPr>
          <p:cNvPr id="48" name="Group 8">
            <a:extLst>
              <a:ext uri="{FF2B5EF4-FFF2-40B4-BE49-F238E27FC236}">
                <a16:creationId xmlns:a16="http://schemas.microsoft.com/office/drawing/2014/main" id="{8B8C279D-E2F4-4798-8175-CEB06BFC314D}"/>
              </a:ext>
            </a:extLst>
          </p:cNvPr>
          <p:cNvGrpSpPr>
            <a:grpSpLocks/>
          </p:cNvGrpSpPr>
          <p:nvPr/>
        </p:nvGrpSpPr>
        <p:grpSpPr bwMode="auto">
          <a:xfrm>
            <a:off x="5553971" y="5285096"/>
            <a:ext cx="719784" cy="239315"/>
            <a:chOff x="4380" y="3353"/>
            <a:chExt cx="629" cy="218"/>
          </a:xfrm>
          <a:solidFill>
            <a:srgbClr val="00B050"/>
          </a:solidFill>
        </p:grpSpPr>
        <p:sp>
          <p:nvSpPr>
            <p:cNvPr id="304" name="Freeform 9">
              <a:extLst>
                <a:ext uri="{FF2B5EF4-FFF2-40B4-BE49-F238E27FC236}">
                  <a16:creationId xmlns:a16="http://schemas.microsoft.com/office/drawing/2014/main" id="{462EA357-C5B7-44F6-8117-D3DB0A519ECA}"/>
                </a:ext>
              </a:extLst>
            </p:cNvPr>
            <p:cNvSpPr>
              <a:spLocks/>
            </p:cNvSpPr>
            <p:nvPr/>
          </p:nvSpPr>
          <p:spPr bwMode="auto">
            <a:xfrm>
              <a:off x="4380" y="3353"/>
              <a:ext cx="149" cy="156"/>
            </a:xfrm>
            <a:custGeom>
              <a:avLst/>
              <a:gdLst>
                <a:gd name="T0" fmla="*/ 0 w 149"/>
                <a:gd name="T1" fmla="*/ 0 h 156"/>
                <a:gd name="T2" fmla="*/ 0 w 149"/>
                <a:gd name="T3" fmla="*/ 0 h 156"/>
                <a:gd name="T4" fmla="*/ 33 w 149"/>
                <a:gd name="T5" fmla="*/ 7 h 156"/>
                <a:gd name="T6" fmla="*/ 74 w 149"/>
                <a:gd name="T7" fmla="*/ 47 h 156"/>
                <a:gd name="T8" fmla="*/ 108 w 149"/>
                <a:gd name="T9" fmla="*/ 62 h 156"/>
                <a:gd name="T10" fmla="*/ 104 w 149"/>
                <a:gd name="T11" fmla="*/ 73 h 156"/>
                <a:gd name="T12" fmla="*/ 115 w 149"/>
                <a:gd name="T13" fmla="*/ 72 h 156"/>
                <a:gd name="T14" fmla="*/ 114 w 149"/>
                <a:gd name="T15" fmla="*/ 87 h 156"/>
                <a:gd name="T16" fmla="*/ 148 w 149"/>
                <a:gd name="T17" fmla="*/ 116 h 156"/>
                <a:gd name="T18" fmla="*/ 144 w 149"/>
                <a:gd name="T19" fmla="*/ 154 h 156"/>
                <a:gd name="T20" fmla="*/ 129 w 149"/>
                <a:gd name="T21" fmla="*/ 155 h 156"/>
                <a:gd name="T22" fmla="*/ 99 w 149"/>
                <a:gd name="T23" fmla="*/ 133 h 156"/>
                <a:gd name="T24" fmla="*/ 50 w 149"/>
                <a:gd name="T25" fmla="*/ 54 h 156"/>
                <a:gd name="T26" fmla="*/ 0 w 149"/>
                <a:gd name="T27" fmla="*/ 0 h 156"/>
                <a:gd name="T28" fmla="*/ 0 w 149"/>
                <a:gd name="T29" fmla="*/ 0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9"/>
                <a:gd name="T46" fmla="*/ 0 h 156"/>
                <a:gd name="T47" fmla="*/ 149 w 149"/>
                <a:gd name="T48" fmla="*/ 156 h 15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9" h="156">
                  <a:moveTo>
                    <a:pt x="0" y="0"/>
                  </a:moveTo>
                  <a:lnTo>
                    <a:pt x="0" y="0"/>
                  </a:lnTo>
                  <a:lnTo>
                    <a:pt x="33" y="7"/>
                  </a:lnTo>
                  <a:lnTo>
                    <a:pt x="74" y="47"/>
                  </a:lnTo>
                  <a:lnTo>
                    <a:pt x="108" y="62"/>
                  </a:lnTo>
                  <a:lnTo>
                    <a:pt x="104" y="73"/>
                  </a:lnTo>
                  <a:lnTo>
                    <a:pt x="115" y="72"/>
                  </a:lnTo>
                  <a:lnTo>
                    <a:pt x="114" y="87"/>
                  </a:lnTo>
                  <a:lnTo>
                    <a:pt x="148" y="116"/>
                  </a:lnTo>
                  <a:lnTo>
                    <a:pt x="144" y="154"/>
                  </a:lnTo>
                  <a:lnTo>
                    <a:pt x="129" y="155"/>
                  </a:lnTo>
                  <a:lnTo>
                    <a:pt x="99" y="133"/>
                  </a:lnTo>
                  <a:lnTo>
                    <a:pt x="50" y="54"/>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5" name="Freeform 10">
              <a:extLst>
                <a:ext uri="{FF2B5EF4-FFF2-40B4-BE49-F238E27FC236}">
                  <a16:creationId xmlns:a16="http://schemas.microsoft.com/office/drawing/2014/main" id="{098AFEE8-22B5-4E43-B129-CE9960213C1B}"/>
                </a:ext>
              </a:extLst>
            </p:cNvPr>
            <p:cNvSpPr>
              <a:spLocks/>
            </p:cNvSpPr>
            <p:nvPr/>
          </p:nvSpPr>
          <p:spPr bwMode="auto">
            <a:xfrm>
              <a:off x="4519" y="3510"/>
              <a:ext cx="125" cy="40"/>
            </a:xfrm>
            <a:custGeom>
              <a:avLst/>
              <a:gdLst>
                <a:gd name="T0" fmla="*/ 0 w 125"/>
                <a:gd name="T1" fmla="*/ 11 h 40"/>
                <a:gd name="T2" fmla="*/ 0 w 125"/>
                <a:gd name="T3" fmla="*/ 11 h 40"/>
                <a:gd name="T4" fmla="*/ 8 w 125"/>
                <a:gd name="T5" fmla="*/ 0 h 40"/>
                <a:gd name="T6" fmla="*/ 95 w 125"/>
                <a:gd name="T7" fmla="*/ 12 h 40"/>
                <a:gd name="T8" fmla="*/ 104 w 125"/>
                <a:gd name="T9" fmla="*/ 22 h 40"/>
                <a:gd name="T10" fmla="*/ 122 w 125"/>
                <a:gd name="T11" fmla="*/ 26 h 40"/>
                <a:gd name="T12" fmla="*/ 124 w 125"/>
                <a:gd name="T13" fmla="*/ 39 h 40"/>
                <a:gd name="T14" fmla="*/ 22 w 125"/>
                <a:gd name="T15" fmla="*/ 21 h 40"/>
                <a:gd name="T16" fmla="*/ 0 w 125"/>
                <a:gd name="T17" fmla="*/ 11 h 40"/>
                <a:gd name="T18" fmla="*/ 0 w 125"/>
                <a:gd name="T19" fmla="*/ 11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5"/>
                <a:gd name="T31" fmla="*/ 0 h 40"/>
                <a:gd name="T32" fmla="*/ 125 w 125"/>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5" h="40">
                  <a:moveTo>
                    <a:pt x="0" y="11"/>
                  </a:moveTo>
                  <a:lnTo>
                    <a:pt x="0" y="11"/>
                  </a:lnTo>
                  <a:lnTo>
                    <a:pt x="8" y="0"/>
                  </a:lnTo>
                  <a:lnTo>
                    <a:pt x="95" y="12"/>
                  </a:lnTo>
                  <a:lnTo>
                    <a:pt x="104" y="22"/>
                  </a:lnTo>
                  <a:lnTo>
                    <a:pt x="122" y="26"/>
                  </a:lnTo>
                  <a:lnTo>
                    <a:pt x="124" y="39"/>
                  </a:lnTo>
                  <a:lnTo>
                    <a:pt x="22" y="21"/>
                  </a:lnTo>
                  <a:lnTo>
                    <a:pt x="0" y="1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6" name="Freeform 11">
              <a:extLst>
                <a:ext uri="{FF2B5EF4-FFF2-40B4-BE49-F238E27FC236}">
                  <a16:creationId xmlns:a16="http://schemas.microsoft.com/office/drawing/2014/main" id="{3E5EA9B4-DB9C-405D-9FD4-7F1D0CA83BC1}"/>
                </a:ext>
              </a:extLst>
            </p:cNvPr>
            <p:cNvSpPr>
              <a:spLocks/>
            </p:cNvSpPr>
            <p:nvPr/>
          </p:nvSpPr>
          <p:spPr bwMode="auto">
            <a:xfrm>
              <a:off x="4568" y="3371"/>
              <a:ext cx="136" cy="116"/>
            </a:xfrm>
            <a:custGeom>
              <a:avLst/>
              <a:gdLst>
                <a:gd name="T0" fmla="*/ 0 w 136"/>
                <a:gd name="T1" fmla="*/ 52 h 116"/>
                <a:gd name="T2" fmla="*/ 0 w 136"/>
                <a:gd name="T3" fmla="*/ 52 h 116"/>
                <a:gd name="T4" fmla="*/ 9 w 136"/>
                <a:gd name="T5" fmla="*/ 36 h 116"/>
                <a:gd name="T6" fmla="*/ 21 w 136"/>
                <a:gd name="T7" fmla="*/ 46 h 116"/>
                <a:gd name="T8" fmla="*/ 62 w 136"/>
                <a:gd name="T9" fmla="*/ 43 h 116"/>
                <a:gd name="T10" fmla="*/ 75 w 136"/>
                <a:gd name="T11" fmla="*/ 37 h 116"/>
                <a:gd name="T12" fmla="*/ 93 w 136"/>
                <a:gd name="T13" fmla="*/ 0 h 116"/>
                <a:gd name="T14" fmla="*/ 117 w 136"/>
                <a:gd name="T15" fmla="*/ 1 h 116"/>
                <a:gd name="T16" fmla="*/ 112 w 136"/>
                <a:gd name="T17" fmla="*/ 11 h 116"/>
                <a:gd name="T18" fmla="*/ 135 w 136"/>
                <a:gd name="T19" fmla="*/ 46 h 116"/>
                <a:gd name="T20" fmla="*/ 122 w 136"/>
                <a:gd name="T21" fmla="*/ 43 h 116"/>
                <a:gd name="T22" fmla="*/ 99 w 136"/>
                <a:gd name="T23" fmla="*/ 82 h 116"/>
                <a:gd name="T24" fmla="*/ 95 w 136"/>
                <a:gd name="T25" fmla="*/ 107 h 116"/>
                <a:gd name="T26" fmla="*/ 81 w 136"/>
                <a:gd name="T27" fmla="*/ 115 h 116"/>
                <a:gd name="T28" fmla="*/ 55 w 136"/>
                <a:gd name="T29" fmla="*/ 100 h 116"/>
                <a:gd name="T30" fmla="*/ 40 w 136"/>
                <a:gd name="T31" fmla="*/ 107 h 116"/>
                <a:gd name="T32" fmla="*/ 37 w 136"/>
                <a:gd name="T33" fmla="*/ 95 h 116"/>
                <a:gd name="T34" fmla="*/ 17 w 136"/>
                <a:gd name="T35" fmla="*/ 97 h 116"/>
                <a:gd name="T36" fmla="*/ 0 w 136"/>
                <a:gd name="T37" fmla="*/ 52 h 116"/>
                <a:gd name="T38" fmla="*/ 0 w 136"/>
                <a:gd name="T39" fmla="*/ 52 h 1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16"/>
                <a:gd name="T62" fmla="*/ 136 w 136"/>
                <a:gd name="T63" fmla="*/ 116 h 1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16">
                  <a:moveTo>
                    <a:pt x="0" y="52"/>
                  </a:moveTo>
                  <a:lnTo>
                    <a:pt x="0" y="52"/>
                  </a:lnTo>
                  <a:lnTo>
                    <a:pt x="9" y="36"/>
                  </a:lnTo>
                  <a:lnTo>
                    <a:pt x="21" y="46"/>
                  </a:lnTo>
                  <a:lnTo>
                    <a:pt x="62" y="43"/>
                  </a:lnTo>
                  <a:lnTo>
                    <a:pt x="75" y="37"/>
                  </a:lnTo>
                  <a:lnTo>
                    <a:pt x="93" y="0"/>
                  </a:lnTo>
                  <a:lnTo>
                    <a:pt x="117" y="1"/>
                  </a:lnTo>
                  <a:lnTo>
                    <a:pt x="112" y="11"/>
                  </a:lnTo>
                  <a:lnTo>
                    <a:pt x="135" y="46"/>
                  </a:lnTo>
                  <a:lnTo>
                    <a:pt x="122" y="43"/>
                  </a:lnTo>
                  <a:lnTo>
                    <a:pt x="99" y="82"/>
                  </a:lnTo>
                  <a:lnTo>
                    <a:pt x="95" y="107"/>
                  </a:lnTo>
                  <a:lnTo>
                    <a:pt x="81" y="115"/>
                  </a:lnTo>
                  <a:lnTo>
                    <a:pt x="55" y="100"/>
                  </a:lnTo>
                  <a:lnTo>
                    <a:pt x="40" y="107"/>
                  </a:lnTo>
                  <a:lnTo>
                    <a:pt x="37" y="95"/>
                  </a:lnTo>
                  <a:lnTo>
                    <a:pt x="17" y="97"/>
                  </a:lnTo>
                  <a:lnTo>
                    <a:pt x="0" y="5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7" name="Freeform 12">
              <a:extLst>
                <a:ext uri="{FF2B5EF4-FFF2-40B4-BE49-F238E27FC236}">
                  <a16:creationId xmlns:a16="http://schemas.microsoft.com/office/drawing/2014/main" id="{11F8D39E-1E72-4276-B038-5D7B3890BF3C}"/>
                </a:ext>
              </a:extLst>
            </p:cNvPr>
            <p:cNvSpPr>
              <a:spLocks/>
            </p:cNvSpPr>
            <p:nvPr/>
          </p:nvSpPr>
          <p:spPr bwMode="auto">
            <a:xfrm>
              <a:off x="4674" y="3544"/>
              <a:ext cx="34" cy="9"/>
            </a:xfrm>
            <a:custGeom>
              <a:avLst/>
              <a:gdLst>
                <a:gd name="T0" fmla="*/ 0 w 34"/>
                <a:gd name="T1" fmla="*/ 2 h 9"/>
                <a:gd name="T2" fmla="*/ 0 w 34"/>
                <a:gd name="T3" fmla="*/ 2 h 9"/>
                <a:gd name="T4" fmla="*/ 4 w 34"/>
                <a:gd name="T5" fmla="*/ 8 h 9"/>
                <a:gd name="T6" fmla="*/ 33 w 34"/>
                <a:gd name="T7" fmla="*/ 3 h 9"/>
                <a:gd name="T8" fmla="*/ 11 w 34"/>
                <a:gd name="T9" fmla="*/ 0 h 9"/>
                <a:gd name="T10" fmla="*/ 0 w 34"/>
                <a:gd name="T11" fmla="*/ 2 h 9"/>
                <a:gd name="T12" fmla="*/ 0 w 34"/>
                <a:gd name="T13" fmla="*/ 2 h 9"/>
                <a:gd name="T14" fmla="*/ 0 60000 65536"/>
                <a:gd name="T15" fmla="*/ 0 60000 65536"/>
                <a:gd name="T16" fmla="*/ 0 60000 65536"/>
                <a:gd name="T17" fmla="*/ 0 60000 65536"/>
                <a:gd name="T18" fmla="*/ 0 60000 65536"/>
                <a:gd name="T19" fmla="*/ 0 60000 65536"/>
                <a:gd name="T20" fmla="*/ 0 60000 65536"/>
                <a:gd name="T21" fmla="*/ 0 w 34"/>
                <a:gd name="T22" fmla="*/ 0 h 9"/>
                <a:gd name="T23" fmla="*/ 34 w 34"/>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9">
                  <a:moveTo>
                    <a:pt x="0" y="2"/>
                  </a:moveTo>
                  <a:lnTo>
                    <a:pt x="0" y="2"/>
                  </a:lnTo>
                  <a:lnTo>
                    <a:pt x="4" y="8"/>
                  </a:lnTo>
                  <a:lnTo>
                    <a:pt x="33" y="3"/>
                  </a:lnTo>
                  <a:lnTo>
                    <a:pt x="11" y="0"/>
                  </a:lnTo>
                  <a:lnTo>
                    <a:pt x="0" y="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8" name="Freeform 13">
              <a:extLst>
                <a:ext uri="{FF2B5EF4-FFF2-40B4-BE49-F238E27FC236}">
                  <a16:creationId xmlns:a16="http://schemas.microsoft.com/office/drawing/2014/main" id="{C5FE9365-E531-4365-BF20-9C387F8AC370}"/>
                </a:ext>
              </a:extLst>
            </p:cNvPr>
            <p:cNvSpPr>
              <a:spLocks/>
            </p:cNvSpPr>
            <p:nvPr/>
          </p:nvSpPr>
          <p:spPr bwMode="auto">
            <a:xfrm>
              <a:off x="4703" y="3405"/>
              <a:ext cx="85" cy="101"/>
            </a:xfrm>
            <a:custGeom>
              <a:avLst/>
              <a:gdLst>
                <a:gd name="T0" fmla="*/ 0 w 85"/>
                <a:gd name="T1" fmla="*/ 60 h 101"/>
                <a:gd name="T2" fmla="*/ 0 w 85"/>
                <a:gd name="T3" fmla="*/ 60 h 101"/>
                <a:gd name="T4" fmla="*/ 10 w 85"/>
                <a:gd name="T5" fmla="*/ 78 h 101"/>
                <a:gd name="T6" fmla="*/ 7 w 85"/>
                <a:gd name="T7" fmla="*/ 96 h 101"/>
                <a:gd name="T8" fmla="*/ 21 w 85"/>
                <a:gd name="T9" fmla="*/ 100 h 101"/>
                <a:gd name="T10" fmla="*/ 19 w 85"/>
                <a:gd name="T11" fmla="*/ 63 h 101"/>
                <a:gd name="T12" fmla="*/ 28 w 85"/>
                <a:gd name="T13" fmla="*/ 60 h 101"/>
                <a:gd name="T14" fmla="*/ 30 w 85"/>
                <a:gd name="T15" fmla="*/ 74 h 101"/>
                <a:gd name="T16" fmla="*/ 37 w 85"/>
                <a:gd name="T17" fmla="*/ 90 h 101"/>
                <a:gd name="T18" fmla="*/ 53 w 85"/>
                <a:gd name="T19" fmla="*/ 83 h 101"/>
                <a:gd name="T20" fmla="*/ 34 w 85"/>
                <a:gd name="T21" fmla="*/ 48 h 101"/>
                <a:gd name="T22" fmla="*/ 62 w 85"/>
                <a:gd name="T23" fmla="*/ 33 h 101"/>
                <a:gd name="T24" fmla="*/ 25 w 85"/>
                <a:gd name="T25" fmla="*/ 43 h 101"/>
                <a:gd name="T26" fmla="*/ 19 w 85"/>
                <a:gd name="T27" fmla="*/ 21 h 101"/>
                <a:gd name="T28" fmla="*/ 74 w 85"/>
                <a:gd name="T29" fmla="*/ 19 h 101"/>
                <a:gd name="T30" fmla="*/ 84 w 85"/>
                <a:gd name="T31" fmla="*/ 0 h 101"/>
                <a:gd name="T32" fmla="*/ 68 w 85"/>
                <a:gd name="T33" fmla="*/ 12 h 101"/>
                <a:gd name="T34" fmla="*/ 28 w 85"/>
                <a:gd name="T35" fmla="*/ 6 h 101"/>
                <a:gd name="T36" fmla="*/ 15 w 85"/>
                <a:gd name="T37" fmla="*/ 14 h 101"/>
                <a:gd name="T38" fmla="*/ 0 w 85"/>
                <a:gd name="T39" fmla="*/ 60 h 101"/>
                <a:gd name="T40" fmla="*/ 0 w 85"/>
                <a:gd name="T41" fmla="*/ 60 h 10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101"/>
                <a:gd name="T65" fmla="*/ 85 w 85"/>
                <a:gd name="T66" fmla="*/ 101 h 10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101">
                  <a:moveTo>
                    <a:pt x="0" y="60"/>
                  </a:moveTo>
                  <a:lnTo>
                    <a:pt x="0" y="60"/>
                  </a:lnTo>
                  <a:lnTo>
                    <a:pt x="10" y="78"/>
                  </a:lnTo>
                  <a:lnTo>
                    <a:pt x="7" y="96"/>
                  </a:lnTo>
                  <a:lnTo>
                    <a:pt x="21" y="100"/>
                  </a:lnTo>
                  <a:lnTo>
                    <a:pt x="19" y="63"/>
                  </a:lnTo>
                  <a:lnTo>
                    <a:pt x="28" y="60"/>
                  </a:lnTo>
                  <a:lnTo>
                    <a:pt x="30" y="74"/>
                  </a:lnTo>
                  <a:lnTo>
                    <a:pt x="37" y="90"/>
                  </a:lnTo>
                  <a:lnTo>
                    <a:pt x="53" y="83"/>
                  </a:lnTo>
                  <a:lnTo>
                    <a:pt x="34" y="48"/>
                  </a:lnTo>
                  <a:lnTo>
                    <a:pt x="62" y="33"/>
                  </a:lnTo>
                  <a:lnTo>
                    <a:pt x="25" y="43"/>
                  </a:lnTo>
                  <a:lnTo>
                    <a:pt x="19" y="21"/>
                  </a:lnTo>
                  <a:lnTo>
                    <a:pt x="74" y="19"/>
                  </a:lnTo>
                  <a:lnTo>
                    <a:pt x="84" y="0"/>
                  </a:lnTo>
                  <a:lnTo>
                    <a:pt x="68" y="12"/>
                  </a:lnTo>
                  <a:lnTo>
                    <a:pt x="28" y="6"/>
                  </a:lnTo>
                  <a:lnTo>
                    <a:pt x="15" y="14"/>
                  </a:lnTo>
                  <a:lnTo>
                    <a:pt x="0" y="6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9" name="Freeform 14">
              <a:extLst>
                <a:ext uri="{FF2B5EF4-FFF2-40B4-BE49-F238E27FC236}">
                  <a16:creationId xmlns:a16="http://schemas.microsoft.com/office/drawing/2014/main" id="{C6CFEC23-FB1C-422C-8850-A9DF28DD29A1}"/>
                </a:ext>
              </a:extLst>
            </p:cNvPr>
            <p:cNvSpPr>
              <a:spLocks/>
            </p:cNvSpPr>
            <p:nvPr/>
          </p:nvSpPr>
          <p:spPr bwMode="auto">
            <a:xfrm>
              <a:off x="4769" y="3545"/>
              <a:ext cx="48" cy="26"/>
            </a:xfrm>
            <a:custGeom>
              <a:avLst/>
              <a:gdLst>
                <a:gd name="T0" fmla="*/ 0 w 48"/>
                <a:gd name="T1" fmla="*/ 15 h 26"/>
                <a:gd name="T2" fmla="*/ 0 w 48"/>
                <a:gd name="T3" fmla="*/ 15 h 26"/>
                <a:gd name="T4" fmla="*/ 2 w 48"/>
                <a:gd name="T5" fmla="*/ 25 h 26"/>
                <a:gd name="T6" fmla="*/ 47 w 48"/>
                <a:gd name="T7" fmla="*/ 0 h 26"/>
                <a:gd name="T8" fmla="*/ 14 w 48"/>
                <a:gd name="T9" fmla="*/ 7 h 26"/>
                <a:gd name="T10" fmla="*/ 0 w 48"/>
                <a:gd name="T11" fmla="*/ 15 h 26"/>
                <a:gd name="T12" fmla="*/ 0 w 48"/>
                <a:gd name="T13" fmla="*/ 15 h 26"/>
                <a:gd name="T14" fmla="*/ 0 60000 65536"/>
                <a:gd name="T15" fmla="*/ 0 60000 65536"/>
                <a:gd name="T16" fmla="*/ 0 60000 65536"/>
                <a:gd name="T17" fmla="*/ 0 60000 65536"/>
                <a:gd name="T18" fmla="*/ 0 60000 65536"/>
                <a:gd name="T19" fmla="*/ 0 60000 65536"/>
                <a:gd name="T20" fmla="*/ 0 60000 65536"/>
                <a:gd name="T21" fmla="*/ 0 w 48"/>
                <a:gd name="T22" fmla="*/ 0 h 26"/>
                <a:gd name="T23" fmla="*/ 48 w 4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26">
                  <a:moveTo>
                    <a:pt x="0" y="15"/>
                  </a:moveTo>
                  <a:lnTo>
                    <a:pt x="0" y="15"/>
                  </a:lnTo>
                  <a:lnTo>
                    <a:pt x="2" y="25"/>
                  </a:lnTo>
                  <a:lnTo>
                    <a:pt x="47" y="0"/>
                  </a:lnTo>
                  <a:lnTo>
                    <a:pt x="14" y="7"/>
                  </a:lnTo>
                  <a:lnTo>
                    <a:pt x="0" y="1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0" name="Freeform 15">
              <a:extLst>
                <a:ext uri="{FF2B5EF4-FFF2-40B4-BE49-F238E27FC236}">
                  <a16:creationId xmlns:a16="http://schemas.microsoft.com/office/drawing/2014/main" id="{9865E04F-27B7-4A50-AB15-D3AFFB9DDCD2}"/>
                </a:ext>
              </a:extLst>
            </p:cNvPr>
            <p:cNvSpPr>
              <a:spLocks/>
            </p:cNvSpPr>
            <p:nvPr/>
          </p:nvSpPr>
          <p:spPr bwMode="auto">
            <a:xfrm>
              <a:off x="4819" y="3400"/>
              <a:ext cx="17" cy="42"/>
            </a:xfrm>
            <a:custGeom>
              <a:avLst/>
              <a:gdLst>
                <a:gd name="T0" fmla="*/ 0 w 17"/>
                <a:gd name="T1" fmla="*/ 14 h 42"/>
                <a:gd name="T2" fmla="*/ 0 w 17"/>
                <a:gd name="T3" fmla="*/ 14 h 42"/>
                <a:gd name="T4" fmla="*/ 3 w 17"/>
                <a:gd name="T5" fmla="*/ 33 h 42"/>
                <a:gd name="T6" fmla="*/ 13 w 17"/>
                <a:gd name="T7" fmla="*/ 41 h 42"/>
                <a:gd name="T8" fmla="*/ 7 w 17"/>
                <a:gd name="T9" fmla="*/ 24 h 42"/>
                <a:gd name="T10" fmla="*/ 16 w 17"/>
                <a:gd name="T11" fmla="*/ 21 h 42"/>
                <a:gd name="T12" fmla="*/ 15 w 17"/>
                <a:gd name="T13" fmla="*/ 8 h 42"/>
                <a:gd name="T14" fmla="*/ 3 w 17"/>
                <a:gd name="T15" fmla="*/ 17 h 42"/>
                <a:gd name="T16" fmla="*/ 8 w 17"/>
                <a:gd name="T17" fmla="*/ 0 h 42"/>
                <a:gd name="T18" fmla="*/ 0 w 17"/>
                <a:gd name="T19" fmla="*/ 14 h 42"/>
                <a:gd name="T20" fmla="*/ 0 w 17"/>
                <a:gd name="T21" fmla="*/ 14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2"/>
                <a:gd name="T35" fmla="*/ 17 w 17"/>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2">
                  <a:moveTo>
                    <a:pt x="0" y="14"/>
                  </a:moveTo>
                  <a:lnTo>
                    <a:pt x="0" y="14"/>
                  </a:lnTo>
                  <a:lnTo>
                    <a:pt x="3" y="33"/>
                  </a:lnTo>
                  <a:lnTo>
                    <a:pt x="13" y="41"/>
                  </a:lnTo>
                  <a:lnTo>
                    <a:pt x="7" y="24"/>
                  </a:lnTo>
                  <a:lnTo>
                    <a:pt x="16" y="21"/>
                  </a:lnTo>
                  <a:lnTo>
                    <a:pt x="15" y="8"/>
                  </a:lnTo>
                  <a:lnTo>
                    <a:pt x="3" y="17"/>
                  </a:lnTo>
                  <a:lnTo>
                    <a:pt x="8" y="0"/>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1" name="Freeform 16">
              <a:extLst>
                <a:ext uri="{FF2B5EF4-FFF2-40B4-BE49-F238E27FC236}">
                  <a16:creationId xmlns:a16="http://schemas.microsoft.com/office/drawing/2014/main" id="{12BC7B78-F9A4-46AE-9A03-75599873A321}"/>
                </a:ext>
              </a:extLst>
            </p:cNvPr>
            <p:cNvSpPr>
              <a:spLocks/>
            </p:cNvSpPr>
            <p:nvPr/>
          </p:nvSpPr>
          <p:spPr bwMode="auto">
            <a:xfrm>
              <a:off x="4826" y="3466"/>
              <a:ext cx="40" cy="14"/>
            </a:xfrm>
            <a:custGeom>
              <a:avLst/>
              <a:gdLst>
                <a:gd name="T0" fmla="*/ 0 w 40"/>
                <a:gd name="T1" fmla="*/ 5 h 14"/>
                <a:gd name="T2" fmla="*/ 0 w 40"/>
                <a:gd name="T3" fmla="*/ 5 h 14"/>
                <a:gd name="T4" fmla="*/ 22 w 40"/>
                <a:gd name="T5" fmla="*/ 0 h 14"/>
                <a:gd name="T6" fmla="*/ 39 w 40"/>
                <a:gd name="T7" fmla="*/ 13 h 14"/>
                <a:gd name="T8" fmla="*/ 0 w 40"/>
                <a:gd name="T9" fmla="*/ 5 h 14"/>
                <a:gd name="T10" fmla="*/ 0 w 40"/>
                <a:gd name="T11" fmla="*/ 5 h 14"/>
                <a:gd name="T12" fmla="*/ 0 60000 65536"/>
                <a:gd name="T13" fmla="*/ 0 60000 65536"/>
                <a:gd name="T14" fmla="*/ 0 60000 65536"/>
                <a:gd name="T15" fmla="*/ 0 60000 65536"/>
                <a:gd name="T16" fmla="*/ 0 60000 65536"/>
                <a:gd name="T17" fmla="*/ 0 60000 65536"/>
                <a:gd name="T18" fmla="*/ 0 w 40"/>
                <a:gd name="T19" fmla="*/ 0 h 14"/>
                <a:gd name="T20" fmla="*/ 40 w 4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40" h="14">
                  <a:moveTo>
                    <a:pt x="0" y="5"/>
                  </a:moveTo>
                  <a:lnTo>
                    <a:pt x="0" y="5"/>
                  </a:lnTo>
                  <a:lnTo>
                    <a:pt x="22" y="0"/>
                  </a:lnTo>
                  <a:lnTo>
                    <a:pt x="39" y="13"/>
                  </a:lnTo>
                  <a:lnTo>
                    <a:pt x="0" y="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2" name="Freeform 17">
              <a:extLst>
                <a:ext uri="{FF2B5EF4-FFF2-40B4-BE49-F238E27FC236}">
                  <a16:creationId xmlns:a16="http://schemas.microsoft.com/office/drawing/2014/main" id="{2D61C530-0987-4150-BD04-B19B59069CD4}"/>
                </a:ext>
              </a:extLst>
            </p:cNvPr>
            <p:cNvSpPr>
              <a:spLocks/>
            </p:cNvSpPr>
            <p:nvPr/>
          </p:nvSpPr>
          <p:spPr bwMode="auto">
            <a:xfrm>
              <a:off x="4865" y="3434"/>
              <a:ext cx="144" cy="119"/>
            </a:xfrm>
            <a:custGeom>
              <a:avLst/>
              <a:gdLst>
                <a:gd name="T0" fmla="*/ 0 w 144"/>
                <a:gd name="T1" fmla="*/ 15 h 119"/>
                <a:gd name="T2" fmla="*/ 0 w 144"/>
                <a:gd name="T3" fmla="*/ 15 h 119"/>
                <a:gd name="T4" fmla="*/ 21 w 144"/>
                <a:gd name="T5" fmla="*/ 26 h 119"/>
                <a:gd name="T6" fmla="*/ 42 w 144"/>
                <a:gd name="T7" fmla="*/ 23 h 119"/>
                <a:gd name="T8" fmla="*/ 16 w 144"/>
                <a:gd name="T9" fmla="*/ 32 h 119"/>
                <a:gd name="T10" fmla="*/ 28 w 144"/>
                <a:gd name="T11" fmla="*/ 51 h 119"/>
                <a:gd name="T12" fmla="*/ 41 w 144"/>
                <a:gd name="T13" fmla="*/ 35 h 119"/>
                <a:gd name="T14" fmla="*/ 49 w 144"/>
                <a:gd name="T15" fmla="*/ 51 h 119"/>
                <a:gd name="T16" fmla="*/ 100 w 144"/>
                <a:gd name="T17" fmla="*/ 69 h 119"/>
                <a:gd name="T18" fmla="*/ 113 w 144"/>
                <a:gd name="T19" fmla="*/ 98 h 119"/>
                <a:gd name="T20" fmla="*/ 103 w 144"/>
                <a:gd name="T21" fmla="*/ 97 h 119"/>
                <a:gd name="T22" fmla="*/ 95 w 144"/>
                <a:gd name="T23" fmla="*/ 110 h 119"/>
                <a:gd name="T24" fmla="*/ 126 w 144"/>
                <a:gd name="T25" fmla="*/ 104 h 119"/>
                <a:gd name="T26" fmla="*/ 143 w 144"/>
                <a:gd name="T27" fmla="*/ 118 h 119"/>
                <a:gd name="T28" fmla="*/ 141 w 144"/>
                <a:gd name="T29" fmla="*/ 30 h 119"/>
                <a:gd name="T30" fmla="*/ 97 w 144"/>
                <a:gd name="T31" fmla="*/ 15 h 119"/>
                <a:gd name="T32" fmla="*/ 61 w 144"/>
                <a:gd name="T33" fmla="*/ 41 h 119"/>
                <a:gd name="T34" fmla="*/ 47 w 144"/>
                <a:gd name="T35" fmla="*/ 27 h 119"/>
                <a:gd name="T36" fmla="*/ 43 w 144"/>
                <a:gd name="T37" fmla="*/ 6 h 119"/>
                <a:gd name="T38" fmla="*/ 21 w 144"/>
                <a:gd name="T39" fmla="*/ 0 h 119"/>
                <a:gd name="T40" fmla="*/ 0 w 144"/>
                <a:gd name="T41" fmla="*/ 15 h 119"/>
                <a:gd name="T42" fmla="*/ 0 w 144"/>
                <a:gd name="T43" fmla="*/ 15 h 11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4"/>
                <a:gd name="T67" fmla="*/ 0 h 119"/>
                <a:gd name="T68" fmla="*/ 144 w 144"/>
                <a:gd name="T69" fmla="*/ 119 h 11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4" h="119">
                  <a:moveTo>
                    <a:pt x="0" y="15"/>
                  </a:moveTo>
                  <a:lnTo>
                    <a:pt x="0" y="15"/>
                  </a:lnTo>
                  <a:lnTo>
                    <a:pt x="21" y="26"/>
                  </a:lnTo>
                  <a:lnTo>
                    <a:pt x="42" y="23"/>
                  </a:lnTo>
                  <a:lnTo>
                    <a:pt x="16" y="32"/>
                  </a:lnTo>
                  <a:lnTo>
                    <a:pt x="28" y="51"/>
                  </a:lnTo>
                  <a:lnTo>
                    <a:pt x="41" y="35"/>
                  </a:lnTo>
                  <a:lnTo>
                    <a:pt x="49" y="51"/>
                  </a:lnTo>
                  <a:lnTo>
                    <a:pt x="100" y="69"/>
                  </a:lnTo>
                  <a:lnTo>
                    <a:pt x="113" y="98"/>
                  </a:lnTo>
                  <a:lnTo>
                    <a:pt x="103" y="97"/>
                  </a:lnTo>
                  <a:lnTo>
                    <a:pt x="95" y="110"/>
                  </a:lnTo>
                  <a:lnTo>
                    <a:pt x="126" y="104"/>
                  </a:lnTo>
                  <a:lnTo>
                    <a:pt x="143" y="118"/>
                  </a:lnTo>
                  <a:lnTo>
                    <a:pt x="141" y="30"/>
                  </a:lnTo>
                  <a:lnTo>
                    <a:pt x="97" y="15"/>
                  </a:lnTo>
                  <a:lnTo>
                    <a:pt x="61" y="41"/>
                  </a:lnTo>
                  <a:lnTo>
                    <a:pt x="47" y="27"/>
                  </a:lnTo>
                  <a:lnTo>
                    <a:pt x="43" y="6"/>
                  </a:lnTo>
                  <a:lnTo>
                    <a:pt x="21" y="0"/>
                  </a:lnTo>
                  <a:lnTo>
                    <a:pt x="0" y="1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3" name="Freeform 18">
              <a:extLst>
                <a:ext uri="{FF2B5EF4-FFF2-40B4-BE49-F238E27FC236}">
                  <a16:creationId xmlns:a16="http://schemas.microsoft.com/office/drawing/2014/main" id="{07423ACC-5271-41F0-A4B3-F19E45B9E606}"/>
                </a:ext>
              </a:extLst>
            </p:cNvPr>
            <p:cNvSpPr>
              <a:spLocks/>
            </p:cNvSpPr>
            <p:nvPr/>
          </p:nvSpPr>
          <p:spPr bwMode="auto">
            <a:xfrm>
              <a:off x="4871" y="3526"/>
              <a:ext cx="7" cy="11"/>
            </a:xfrm>
            <a:custGeom>
              <a:avLst/>
              <a:gdLst>
                <a:gd name="T0" fmla="*/ 0 w 7"/>
                <a:gd name="T1" fmla="*/ 10 h 11"/>
                <a:gd name="T2" fmla="*/ 0 w 7"/>
                <a:gd name="T3" fmla="*/ 10 h 11"/>
                <a:gd name="T4" fmla="*/ 3 w 7"/>
                <a:gd name="T5" fmla="*/ 0 h 11"/>
                <a:gd name="T6" fmla="*/ 6 w 7"/>
                <a:gd name="T7" fmla="*/ 6 h 11"/>
                <a:gd name="T8" fmla="*/ 0 w 7"/>
                <a:gd name="T9" fmla="*/ 10 h 11"/>
                <a:gd name="T10" fmla="*/ 0 w 7"/>
                <a:gd name="T11" fmla="*/ 10 h 11"/>
                <a:gd name="T12" fmla="*/ 0 60000 65536"/>
                <a:gd name="T13" fmla="*/ 0 60000 65536"/>
                <a:gd name="T14" fmla="*/ 0 60000 65536"/>
                <a:gd name="T15" fmla="*/ 0 60000 65536"/>
                <a:gd name="T16" fmla="*/ 0 60000 65536"/>
                <a:gd name="T17" fmla="*/ 0 60000 65536"/>
                <a:gd name="T18" fmla="*/ 0 w 7"/>
                <a:gd name="T19" fmla="*/ 0 h 11"/>
                <a:gd name="T20" fmla="*/ 7 w 7"/>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7" h="11">
                  <a:moveTo>
                    <a:pt x="0" y="10"/>
                  </a:moveTo>
                  <a:lnTo>
                    <a:pt x="0" y="10"/>
                  </a:lnTo>
                  <a:lnTo>
                    <a:pt x="3" y="0"/>
                  </a:lnTo>
                  <a:lnTo>
                    <a:pt x="6" y="6"/>
                  </a:lnTo>
                  <a:lnTo>
                    <a:pt x="0" y="1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49" name="Freeform 599">
            <a:extLst>
              <a:ext uri="{FF2B5EF4-FFF2-40B4-BE49-F238E27FC236}">
                <a16:creationId xmlns:a16="http://schemas.microsoft.com/office/drawing/2014/main" id="{98BBAC1A-48C3-457C-83C0-ADBB10236A62}"/>
              </a:ext>
            </a:extLst>
          </p:cNvPr>
          <p:cNvSpPr>
            <a:spLocks/>
          </p:cNvSpPr>
          <p:nvPr/>
        </p:nvSpPr>
        <p:spPr bwMode="auto">
          <a:xfrm>
            <a:off x="5009405" y="4759147"/>
            <a:ext cx="223381" cy="154135"/>
          </a:xfrm>
          <a:custGeom>
            <a:avLst/>
            <a:gdLst>
              <a:gd name="T0" fmla="*/ 0 w 194"/>
              <a:gd name="T1" fmla="*/ 111880299 h 139"/>
              <a:gd name="T2" fmla="*/ 0 w 194"/>
              <a:gd name="T3" fmla="*/ 111880299 h 139"/>
              <a:gd name="T4" fmla="*/ 3134995 w 194"/>
              <a:gd name="T5" fmla="*/ 172905343 h 139"/>
              <a:gd name="T6" fmla="*/ 25079963 w 194"/>
              <a:gd name="T7" fmla="*/ 191552270 h 139"/>
              <a:gd name="T8" fmla="*/ 6269991 w 194"/>
              <a:gd name="T9" fmla="*/ 222064121 h 139"/>
              <a:gd name="T10" fmla="*/ 40754933 w 194"/>
              <a:gd name="T11" fmla="*/ 233930347 h 139"/>
              <a:gd name="T12" fmla="*/ 119129815 w 194"/>
              <a:gd name="T13" fmla="*/ 222064121 h 139"/>
              <a:gd name="T14" fmla="*/ 133237289 w 194"/>
              <a:gd name="T15" fmla="*/ 188161920 h 139"/>
              <a:gd name="T16" fmla="*/ 186530976 w 194"/>
              <a:gd name="T17" fmla="*/ 169514952 h 139"/>
              <a:gd name="T18" fmla="*/ 191233467 w 194"/>
              <a:gd name="T19" fmla="*/ 140696975 h 139"/>
              <a:gd name="T20" fmla="*/ 210043431 w 194"/>
              <a:gd name="T21" fmla="*/ 133916274 h 139"/>
              <a:gd name="T22" fmla="*/ 202205946 w 194"/>
              <a:gd name="T23" fmla="*/ 118659698 h 139"/>
              <a:gd name="T24" fmla="*/ 221015911 w 194"/>
              <a:gd name="T25" fmla="*/ 116965824 h 139"/>
              <a:gd name="T26" fmla="*/ 235123384 w 194"/>
              <a:gd name="T27" fmla="*/ 88147847 h 139"/>
              <a:gd name="T28" fmla="*/ 228853396 w 194"/>
              <a:gd name="T29" fmla="*/ 59329849 h 139"/>
              <a:gd name="T30" fmla="*/ 300958260 w 194"/>
              <a:gd name="T31" fmla="*/ 38989039 h 139"/>
              <a:gd name="T32" fmla="*/ 302525758 w 194"/>
              <a:gd name="T33" fmla="*/ 32208338 h 139"/>
              <a:gd name="T34" fmla="*/ 275878308 w 194"/>
              <a:gd name="T35" fmla="*/ 27122813 h 139"/>
              <a:gd name="T36" fmla="*/ 238258378 w 194"/>
              <a:gd name="T37" fmla="*/ 47463623 h 139"/>
              <a:gd name="T38" fmla="*/ 219448414 w 194"/>
              <a:gd name="T39" fmla="*/ 0 h 139"/>
              <a:gd name="T40" fmla="*/ 188098473 w 194"/>
              <a:gd name="T41" fmla="*/ 35598688 h 139"/>
              <a:gd name="T42" fmla="*/ 94049862 w 194"/>
              <a:gd name="T43" fmla="*/ 32208338 h 139"/>
              <a:gd name="T44" fmla="*/ 47024931 w 194"/>
              <a:gd name="T45" fmla="*/ 86452672 h 139"/>
              <a:gd name="T46" fmla="*/ 14107478 w 194"/>
              <a:gd name="T47" fmla="*/ 69500900 h 139"/>
              <a:gd name="T48" fmla="*/ 0 w 194"/>
              <a:gd name="T49" fmla="*/ 111880299 h 139"/>
              <a:gd name="T50" fmla="*/ 0 w 194"/>
              <a:gd name="T51" fmla="*/ 111880299 h 1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4"/>
              <a:gd name="T79" fmla="*/ 0 h 139"/>
              <a:gd name="T80" fmla="*/ 194 w 194"/>
              <a:gd name="T81" fmla="*/ 139 h 1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4" h="139">
                <a:moveTo>
                  <a:pt x="0" y="66"/>
                </a:moveTo>
                <a:lnTo>
                  <a:pt x="0" y="66"/>
                </a:lnTo>
                <a:lnTo>
                  <a:pt x="2" y="102"/>
                </a:lnTo>
                <a:lnTo>
                  <a:pt x="16" y="113"/>
                </a:lnTo>
                <a:lnTo>
                  <a:pt x="4" y="131"/>
                </a:lnTo>
                <a:lnTo>
                  <a:pt x="26" y="138"/>
                </a:lnTo>
                <a:lnTo>
                  <a:pt x="76" y="131"/>
                </a:lnTo>
                <a:lnTo>
                  <a:pt x="85" y="111"/>
                </a:lnTo>
                <a:lnTo>
                  <a:pt x="119" y="100"/>
                </a:lnTo>
                <a:lnTo>
                  <a:pt x="122" y="83"/>
                </a:lnTo>
                <a:lnTo>
                  <a:pt x="134" y="79"/>
                </a:lnTo>
                <a:lnTo>
                  <a:pt x="129" y="70"/>
                </a:lnTo>
                <a:lnTo>
                  <a:pt x="141" y="69"/>
                </a:lnTo>
                <a:lnTo>
                  <a:pt x="150" y="52"/>
                </a:lnTo>
                <a:lnTo>
                  <a:pt x="146" y="35"/>
                </a:lnTo>
                <a:lnTo>
                  <a:pt x="192" y="23"/>
                </a:lnTo>
                <a:lnTo>
                  <a:pt x="193" y="19"/>
                </a:lnTo>
                <a:lnTo>
                  <a:pt x="176" y="16"/>
                </a:lnTo>
                <a:lnTo>
                  <a:pt x="152" y="28"/>
                </a:lnTo>
                <a:lnTo>
                  <a:pt x="140" y="0"/>
                </a:lnTo>
                <a:lnTo>
                  <a:pt x="120" y="21"/>
                </a:lnTo>
                <a:lnTo>
                  <a:pt x="60" y="19"/>
                </a:lnTo>
                <a:lnTo>
                  <a:pt x="30" y="51"/>
                </a:lnTo>
                <a:lnTo>
                  <a:pt x="9" y="41"/>
                </a:lnTo>
                <a:lnTo>
                  <a:pt x="0" y="6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50" name="Group 20">
            <a:extLst>
              <a:ext uri="{FF2B5EF4-FFF2-40B4-BE49-F238E27FC236}">
                <a16:creationId xmlns:a16="http://schemas.microsoft.com/office/drawing/2014/main" id="{AFEC8AB4-05F2-43B8-8A6C-7730F04CFC06}"/>
              </a:ext>
            </a:extLst>
          </p:cNvPr>
          <p:cNvGrpSpPr>
            <a:grpSpLocks/>
          </p:cNvGrpSpPr>
          <p:nvPr/>
        </p:nvGrpSpPr>
        <p:grpSpPr bwMode="auto">
          <a:xfrm>
            <a:off x="5831392" y="5531178"/>
            <a:ext cx="635106" cy="539472"/>
            <a:chOff x="4623" y="3575"/>
            <a:chExt cx="552" cy="485"/>
          </a:xfrm>
          <a:solidFill>
            <a:srgbClr val="00B050"/>
          </a:solidFill>
        </p:grpSpPr>
        <p:sp>
          <p:nvSpPr>
            <p:cNvPr id="302" name="Freeform 610">
              <a:extLst>
                <a:ext uri="{FF2B5EF4-FFF2-40B4-BE49-F238E27FC236}">
                  <a16:creationId xmlns:a16="http://schemas.microsoft.com/office/drawing/2014/main" id="{06E97FF2-37BE-4107-8DF4-06835090D059}"/>
                </a:ext>
              </a:extLst>
            </p:cNvPr>
            <p:cNvSpPr>
              <a:spLocks/>
            </p:cNvSpPr>
            <p:nvPr/>
          </p:nvSpPr>
          <p:spPr bwMode="auto">
            <a:xfrm>
              <a:off x="4623" y="3575"/>
              <a:ext cx="552" cy="414"/>
            </a:xfrm>
            <a:custGeom>
              <a:avLst/>
              <a:gdLst>
                <a:gd name="T0" fmla="*/ 0 w 552"/>
                <a:gd name="T1" fmla="*/ 218 h 414"/>
                <a:gd name="T2" fmla="*/ 4 w 552"/>
                <a:gd name="T3" fmla="*/ 209 h 414"/>
                <a:gd name="T4" fmla="*/ 3 w 552"/>
                <a:gd name="T5" fmla="*/ 192 h 414"/>
                <a:gd name="T6" fmla="*/ 14 w 552"/>
                <a:gd name="T7" fmla="*/ 165 h 414"/>
                <a:gd name="T8" fmla="*/ 106 w 552"/>
                <a:gd name="T9" fmla="*/ 123 h 414"/>
                <a:gd name="T10" fmla="*/ 125 w 552"/>
                <a:gd name="T11" fmla="*/ 88 h 414"/>
                <a:gd name="T12" fmla="*/ 141 w 552"/>
                <a:gd name="T13" fmla="*/ 94 h 414"/>
                <a:gd name="T14" fmla="*/ 154 w 552"/>
                <a:gd name="T15" fmla="*/ 80 h 414"/>
                <a:gd name="T16" fmla="*/ 175 w 552"/>
                <a:gd name="T17" fmla="*/ 46 h 414"/>
                <a:gd name="T18" fmla="*/ 202 w 552"/>
                <a:gd name="T19" fmla="*/ 68 h 414"/>
                <a:gd name="T20" fmla="*/ 226 w 552"/>
                <a:gd name="T21" fmla="*/ 63 h 414"/>
                <a:gd name="T22" fmla="*/ 233 w 552"/>
                <a:gd name="T23" fmla="*/ 28 h 414"/>
                <a:gd name="T24" fmla="*/ 257 w 552"/>
                <a:gd name="T25" fmla="*/ 6 h 414"/>
                <a:gd name="T26" fmla="*/ 306 w 552"/>
                <a:gd name="T27" fmla="*/ 59 h 414"/>
                <a:gd name="T28" fmla="*/ 384 w 552"/>
                <a:gd name="T29" fmla="*/ 82 h 414"/>
                <a:gd name="T30" fmla="*/ 405 w 552"/>
                <a:gd name="T31" fmla="*/ 0 h 414"/>
                <a:gd name="T32" fmla="*/ 440 w 552"/>
                <a:gd name="T33" fmla="*/ 59 h 414"/>
                <a:gd name="T34" fmla="*/ 488 w 552"/>
                <a:gd name="T35" fmla="*/ 133 h 414"/>
                <a:gd name="T36" fmla="*/ 512 w 552"/>
                <a:gd name="T37" fmla="*/ 163 h 414"/>
                <a:gd name="T38" fmla="*/ 543 w 552"/>
                <a:gd name="T39" fmla="*/ 204 h 414"/>
                <a:gd name="T40" fmla="*/ 545 w 552"/>
                <a:gd name="T41" fmla="*/ 290 h 414"/>
                <a:gd name="T42" fmla="*/ 503 w 552"/>
                <a:gd name="T43" fmla="*/ 388 h 414"/>
                <a:gd name="T44" fmla="*/ 453 w 552"/>
                <a:gd name="T45" fmla="*/ 406 h 414"/>
                <a:gd name="T46" fmla="*/ 435 w 552"/>
                <a:gd name="T47" fmla="*/ 392 h 414"/>
                <a:gd name="T48" fmla="*/ 387 w 552"/>
                <a:gd name="T49" fmla="*/ 401 h 414"/>
                <a:gd name="T50" fmla="*/ 357 w 552"/>
                <a:gd name="T51" fmla="*/ 354 h 414"/>
                <a:gd name="T52" fmla="*/ 341 w 552"/>
                <a:gd name="T53" fmla="*/ 337 h 414"/>
                <a:gd name="T54" fmla="*/ 324 w 552"/>
                <a:gd name="T55" fmla="*/ 352 h 414"/>
                <a:gd name="T56" fmla="*/ 312 w 552"/>
                <a:gd name="T57" fmla="*/ 349 h 414"/>
                <a:gd name="T58" fmla="*/ 288 w 552"/>
                <a:gd name="T59" fmla="*/ 312 h 414"/>
                <a:gd name="T60" fmla="*/ 175 w 552"/>
                <a:gd name="T61" fmla="*/ 308 h 414"/>
                <a:gd name="T62" fmla="*/ 94 w 552"/>
                <a:gd name="T63" fmla="*/ 331 h 414"/>
                <a:gd name="T64" fmla="*/ 27 w 552"/>
                <a:gd name="T65" fmla="*/ 337 h 414"/>
                <a:gd name="T66" fmla="*/ 0 w 552"/>
                <a:gd name="T67" fmla="*/ 218 h 4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2"/>
                <a:gd name="T103" fmla="*/ 0 h 414"/>
                <a:gd name="T104" fmla="*/ 552 w 552"/>
                <a:gd name="T105" fmla="*/ 414 h 4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2" h="414">
                  <a:moveTo>
                    <a:pt x="0" y="218"/>
                  </a:moveTo>
                  <a:lnTo>
                    <a:pt x="0" y="218"/>
                  </a:lnTo>
                  <a:lnTo>
                    <a:pt x="9" y="221"/>
                  </a:lnTo>
                  <a:lnTo>
                    <a:pt x="4" y="209"/>
                  </a:lnTo>
                  <a:lnTo>
                    <a:pt x="15" y="215"/>
                  </a:lnTo>
                  <a:lnTo>
                    <a:pt x="3" y="192"/>
                  </a:lnTo>
                  <a:lnTo>
                    <a:pt x="11" y="155"/>
                  </a:lnTo>
                  <a:lnTo>
                    <a:pt x="14" y="165"/>
                  </a:lnTo>
                  <a:lnTo>
                    <a:pt x="48" y="136"/>
                  </a:lnTo>
                  <a:lnTo>
                    <a:pt x="106" y="123"/>
                  </a:lnTo>
                  <a:lnTo>
                    <a:pt x="125" y="101"/>
                  </a:lnTo>
                  <a:lnTo>
                    <a:pt x="125" y="88"/>
                  </a:lnTo>
                  <a:lnTo>
                    <a:pt x="133" y="78"/>
                  </a:lnTo>
                  <a:lnTo>
                    <a:pt x="141" y="94"/>
                  </a:lnTo>
                  <a:lnTo>
                    <a:pt x="141" y="76"/>
                  </a:lnTo>
                  <a:lnTo>
                    <a:pt x="154" y="80"/>
                  </a:lnTo>
                  <a:lnTo>
                    <a:pt x="155" y="67"/>
                  </a:lnTo>
                  <a:lnTo>
                    <a:pt x="175" y="46"/>
                  </a:lnTo>
                  <a:lnTo>
                    <a:pt x="197" y="48"/>
                  </a:lnTo>
                  <a:lnTo>
                    <a:pt x="202" y="68"/>
                  </a:lnTo>
                  <a:lnTo>
                    <a:pt x="210" y="56"/>
                  </a:lnTo>
                  <a:lnTo>
                    <a:pt x="226" y="63"/>
                  </a:lnTo>
                  <a:lnTo>
                    <a:pt x="220" y="49"/>
                  </a:lnTo>
                  <a:lnTo>
                    <a:pt x="233" y="28"/>
                  </a:lnTo>
                  <a:lnTo>
                    <a:pt x="265" y="20"/>
                  </a:lnTo>
                  <a:lnTo>
                    <a:pt x="257" y="6"/>
                  </a:lnTo>
                  <a:lnTo>
                    <a:pt x="319" y="23"/>
                  </a:lnTo>
                  <a:lnTo>
                    <a:pt x="306" y="59"/>
                  </a:lnTo>
                  <a:lnTo>
                    <a:pt x="368" y="97"/>
                  </a:lnTo>
                  <a:lnTo>
                    <a:pt x="384" y="82"/>
                  </a:lnTo>
                  <a:lnTo>
                    <a:pt x="390" y="19"/>
                  </a:lnTo>
                  <a:lnTo>
                    <a:pt x="405" y="0"/>
                  </a:lnTo>
                  <a:lnTo>
                    <a:pt x="418" y="49"/>
                  </a:lnTo>
                  <a:lnTo>
                    <a:pt x="440" y="59"/>
                  </a:lnTo>
                  <a:lnTo>
                    <a:pt x="454" y="115"/>
                  </a:lnTo>
                  <a:lnTo>
                    <a:pt x="488" y="133"/>
                  </a:lnTo>
                  <a:lnTo>
                    <a:pt x="499" y="165"/>
                  </a:lnTo>
                  <a:lnTo>
                    <a:pt x="512" y="163"/>
                  </a:lnTo>
                  <a:lnTo>
                    <a:pt x="515" y="179"/>
                  </a:lnTo>
                  <a:lnTo>
                    <a:pt x="543" y="204"/>
                  </a:lnTo>
                  <a:lnTo>
                    <a:pt x="551" y="247"/>
                  </a:lnTo>
                  <a:lnTo>
                    <a:pt x="545" y="290"/>
                  </a:lnTo>
                  <a:lnTo>
                    <a:pt x="521" y="326"/>
                  </a:lnTo>
                  <a:lnTo>
                    <a:pt x="503" y="388"/>
                  </a:lnTo>
                  <a:lnTo>
                    <a:pt x="472" y="395"/>
                  </a:lnTo>
                  <a:lnTo>
                    <a:pt x="453" y="406"/>
                  </a:lnTo>
                  <a:lnTo>
                    <a:pt x="454" y="413"/>
                  </a:lnTo>
                  <a:lnTo>
                    <a:pt x="435" y="392"/>
                  </a:lnTo>
                  <a:lnTo>
                    <a:pt x="413" y="408"/>
                  </a:lnTo>
                  <a:lnTo>
                    <a:pt x="387" y="401"/>
                  </a:lnTo>
                  <a:lnTo>
                    <a:pt x="367" y="386"/>
                  </a:lnTo>
                  <a:lnTo>
                    <a:pt x="357" y="354"/>
                  </a:lnTo>
                  <a:lnTo>
                    <a:pt x="341" y="358"/>
                  </a:lnTo>
                  <a:lnTo>
                    <a:pt x="341" y="337"/>
                  </a:lnTo>
                  <a:lnTo>
                    <a:pt x="336" y="351"/>
                  </a:lnTo>
                  <a:lnTo>
                    <a:pt x="324" y="352"/>
                  </a:lnTo>
                  <a:lnTo>
                    <a:pt x="336" y="311"/>
                  </a:lnTo>
                  <a:lnTo>
                    <a:pt x="312" y="349"/>
                  </a:lnTo>
                  <a:lnTo>
                    <a:pt x="301" y="341"/>
                  </a:lnTo>
                  <a:lnTo>
                    <a:pt x="288" y="312"/>
                  </a:lnTo>
                  <a:lnTo>
                    <a:pt x="248" y="295"/>
                  </a:lnTo>
                  <a:lnTo>
                    <a:pt x="175" y="308"/>
                  </a:lnTo>
                  <a:lnTo>
                    <a:pt x="144" y="330"/>
                  </a:lnTo>
                  <a:lnTo>
                    <a:pt x="94" y="331"/>
                  </a:lnTo>
                  <a:lnTo>
                    <a:pt x="65" y="350"/>
                  </a:lnTo>
                  <a:lnTo>
                    <a:pt x="27" y="337"/>
                  </a:lnTo>
                  <a:lnTo>
                    <a:pt x="35" y="297"/>
                  </a:lnTo>
                  <a:lnTo>
                    <a:pt x="0" y="21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3" name="Freeform 611">
              <a:extLst>
                <a:ext uri="{FF2B5EF4-FFF2-40B4-BE49-F238E27FC236}">
                  <a16:creationId xmlns:a16="http://schemas.microsoft.com/office/drawing/2014/main" id="{119917EB-FAF9-4A69-9834-DE5882545533}"/>
                </a:ext>
              </a:extLst>
            </p:cNvPr>
            <p:cNvSpPr>
              <a:spLocks/>
            </p:cNvSpPr>
            <p:nvPr/>
          </p:nvSpPr>
          <p:spPr bwMode="auto">
            <a:xfrm>
              <a:off x="5055" y="4012"/>
              <a:ext cx="49" cy="48"/>
            </a:xfrm>
            <a:custGeom>
              <a:avLst/>
              <a:gdLst>
                <a:gd name="T0" fmla="*/ 0 w 49"/>
                <a:gd name="T1" fmla="*/ 8 h 48"/>
                <a:gd name="T2" fmla="*/ 0 w 49"/>
                <a:gd name="T3" fmla="*/ 8 h 48"/>
                <a:gd name="T4" fmla="*/ 1 w 49"/>
                <a:gd name="T5" fmla="*/ 0 h 48"/>
                <a:gd name="T6" fmla="*/ 25 w 49"/>
                <a:gd name="T7" fmla="*/ 7 h 48"/>
                <a:gd name="T8" fmla="*/ 44 w 49"/>
                <a:gd name="T9" fmla="*/ 1 h 48"/>
                <a:gd name="T10" fmla="*/ 48 w 49"/>
                <a:gd name="T11" fmla="*/ 13 h 48"/>
                <a:gd name="T12" fmla="*/ 48 w 49"/>
                <a:gd name="T13" fmla="*/ 27 h 48"/>
                <a:gd name="T14" fmla="*/ 30 w 49"/>
                <a:gd name="T15" fmla="*/ 47 h 48"/>
                <a:gd name="T16" fmla="*/ 18 w 49"/>
                <a:gd name="T17" fmla="*/ 46 h 48"/>
                <a:gd name="T18" fmla="*/ 0 w 49"/>
                <a:gd name="T19" fmla="*/ 8 h 48"/>
                <a:gd name="T20" fmla="*/ 0 w 49"/>
                <a:gd name="T21" fmla="*/ 8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48"/>
                <a:gd name="T35" fmla="*/ 49 w 49"/>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48">
                  <a:moveTo>
                    <a:pt x="0" y="8"/>
                  </a:moveTo>
                  <a:lnTo>
                    <a:pt x="0" y="8"/>
                  </a:lnTo>
                  <a:lnTo>
                    <a:pt x="1" y="0"/>
                  </a:lnTo>
                  <a:lnTo>
                    <a:pt x="25" y="7"/>
                  </a:lnTo>
                  <a:lnTo>
                    <a:pt x="44" y="1"/>
                  </a:lnTo>
                  <a:lnTo>
                    <a:pt x="48" y="13"/>
                  </a:lnTo>
                  <a:lnTo>
                    <a:pt x="48" y="27"/>
                  </a:lnTo>
                  <a:lnTo>
                    <a:pt x="30" y="47"/>
                  </a:lnTo>
                  <a:lnTo>
                    <a:pt x="18" y="46"/>
                  </a:lnTo>
                  <a:lnTo>
                    <a:pt x="0" y="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51" name="Freeform 612">
            <a:extLst>
              <a:ext uri="{FF2B5EF4-FFF2-40B4-BE49-F238E27FC236}">
                <a16:creationId xmlns:a16="http://schemas.microsoft.com/office/drawing/2014/main" id="{9A288DA3-6576-4034-9768-3D54DD56A2F8}"/>
              </a:ext>
            </a:extLst>
          </p:cNvPr>
          <p:cNvSpPr>
            <a:spLocks/>
          </p:cNvSpPr>
          <p:nvPr/>
        </p:nvSpPr>
        <p:spPr bwMode="auto">
          <a:xfrm>
            <a:off x="5437188" y="4959251"/>
            <a:ext cx="75921" cy="91940"/>
          </a:xfrm>
          <a:custGeom>
            <a:avLst/>
            <a:gdLst>
              <a:gd name="T0" fmla="*/ 0 w 66"/>
              <a:gd name="T1" fmla="*/ 43327448 h 82"/>
              <a:gd name="T2" fmla="*/ 0 w 66"/>
              <a:gd name="T3" fmla="*/ 43327448 h 82"/>
              <a:gd name="T4" fmla="*/ 14079776 w 66"/>
              <a:gd name="T5" fmla="*/ 57191119 h 82"/>
              <a:gd name="T6" fmla="*/ 21902016 w 66"/>
              <a:gd name="T7" fmla="*/ 123048514 h 82"/>
              <a:gd name="T8" fmla="*/ 46932174 w 66"/>
              <a:gd name="T9" fmla="*/ 117849802 h 82"/>
              <a:gd name="T10" fmla="*/ 62575392 w 66"/>
              <a:gd name="T11" fmla="*/ 90119827 h 82"/>
              <a:gd name="T12" fmla="*/ 79784558 w 66"/>
              <a:gd name="T13" fmla="*/ 97052321 h 82"/>
              <a:gd name="T14" fmla="*/ 92299652 w 66"/>
              <a:gd name="T15" fmla="*/ 140379749 h 82"/>
              <a:gd name="T16" fmla="*/ 101685332 w 66"/>
              <a:gd name="T17" fmla="*/ 116116020 h 82"/>
              <a:gd name="T18" fmla="*/ 90734955 w 66"/>
              <a:gd name="T19" fmla="*/ 69323642 h 82"/>
              <a:gd name="T20" fmla="*/ 79784558 w 66"/>
              <a:gd name="T21" fmla="*/ 86653580 h 82"/>
              <a:gd name="T22" fmla="*/ 67269483 w 66"/>
              <a:gd name="T23" fmla="*/ 65857395 h 82"/>
              <a:gd name="T24" fmla="*/ 92299652 w 66"/>
              <a:gd name="T25" fmla="*/ 36394944 h 82"/>
              <a:gd name="T26" fmla="*/ 43802780 w 66"/>
              <a:gd name="T27" fmla="*/ 32928697 h 82"/>
              <a:gd name="T28" fmla="*/ 12515079 w 66"/>
              <a:gd name="T29" fmla="*/ 0 h 82"/>
              <a:gd name="T30" fmla="*/ 3129395 w 66"/>
              <a:gd name="T31" fmla="*/ 19063705 h 82"/>
              <a:gd name="T32" fmla="*/ 14079776 w 66"/>
              <a:gd name="T33" fmla="*/ 32928697 h 82"/>
              <a:gd name="T34" fmla="*/ 0 w 66"/>
              <a:gd name="T35" fmla="*/ 43327448 h 82"/>
              <a:gd name="T36" fmla="*/ 0 w 66"/>
              <a:gd name="T37" fmla="*/ 43327448 h 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2"/>
              <a:gd name="T59" fmla="*/ 66 w 66"/>
              <a:gd name="T60" fmla="*/ 82 h 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2">
                <a:moveTo>
                  <a:pt x="0" y="25"/>
                </a:moveTo>
                <a:lnTo>
                  <a:pt x="0" y="25"/>
                </a:lnTo>
                <a:lnTo>
                  <a:pt x="9" y="33"/>
                </a:lnTo>
                <a:lnTo>
                  <a:pt x="14" y="71"/>
                </a:lnTo>
                <a:lnTo>
                  <a:pt x="30" y="68"/>
                </a:lnTo>
                <a:lnTo>
                  <a:pt x="40" y="52"/>
                </a:lnTo>
                <a:lnTo>
                  <a:pt x="51" y="56"/>
                </a:lnTo>
                <a:lnTo>
                  <a:pt x="59" y="81"/>
                </a:lnTo>
                <a:lnTo>
                  <a:pt x="65" y="67"/>
                </a:lnTo>
                <a:lnTo>
                  <a:pt x="58" y="40"/>
                </a:lnTo>
                <a:lnTo>
                  <a:pt x="51" y="50"/>
                </a:lnTo>
                <a:lnTo>
                  <a:pt x="43" y="38"/>
                </a:lnTo>
                <a:lnTo>
                  <a:pt x="59" y="21"/>
                </a:lnTo>
                <a:lnTo>
                  <a:pt x="28" y="19"/>
                </a:lnTo>
                <a:lnTo>
                  <a:pt x="8" y="0"/>
                </a:lnTo>
                <a:lnTo>
                  <a:pt x="2" y="11"/>
                </a:lnTo>
                <a:lnTo>
                  <a:pt x="9" y="19"/>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2" name="Freeform 613">
            <a:extLst>
              <a:ext uri="{FF2B5EF4-FFF2-40B4-BE49-F238E27FC236}">
                <a16:creationId xmlns:a16="http://schemas.microsoft.com/office/drawing/2014/main" id="{2C0ABCF5-75CC-4F90-A550-A281E4369D32}"/>
              </a:ext>
            </a:extLst>
          </p:cNvPr>
          <p:cNvSpPr>
            <a:spLocks/>
          </p:cNvSpPr>
          <p:nvPr/>
        </p:nvSpPr>
        <p:spPr bwMode="auto">
          <a:xfrm>
            <a:off x="5453249" y="4930858"/>
            <a:ext cx="46720" cy="28393"/>
          </a:xfrm>
          <a:custGeom>
            <a:avLst/>
            <a:gdLst>
              <a:gd name="T0" fmla="*/ 0 w 42"/>
              <a:gd name="T1" fmla="*/ 27013506 h 24"/>
              <a:gd name="T2" fmla="*/ 0 w 42"/>
              <a:gd name="T3" fmla="*/ 27013506 h 24"/>
              <a:gd name="T4" fmla="*/ 7315200 w 42"/>
              <a:gd name="T5" fmla="*/ 44379820 h 24"/>
              <a:gd name="T6" fmla="*/ 59980283 w 42"/>
              <a:gd name="T7" fmla="*/ 36662076 h 24"/>
              <a:gd name="T8" fmla="*/ 57054446 w 42"/>
              <a:gd name="T9" fmla="*/ 13507447 h 24"/>
              <a:gd name="T10" fmla="*/ 19018550 w 42"/>
              <a:gd name="T11" fmla="*/ 0 h 24"/>
              <a:gd name="T12" fmla="*/ 0 w 42"/>
              <a:gd name="T13" fmla="*/ 27013506 h 24"/>
              <a:gd name="T14" fmla="*/ 0 w 42"/>
              <a:gd name="T15" fmla="*/ 27013506 h 24"/>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4"/>
              <a:gd name="T26" fmla="*/ 42 w 42"/>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4">
                <a:moveTo>
                  <a:pt x="0" y="14"/>
                </a:moveTo>
                <a:lnTo>
                  <a:pt x="0" y="14"/>
                </a:lnTo>
                <a:lnTo>
                  <a:pt x="5" y="23"/>
                </a:lnTo>
                <a:lnTo>
                  <a:pt x="41" y="19"/>
                </a:lnTo>
                <a:lnTo>
                  <a:pt x="39" y="7"/>
                </a:lnTo>
                <a:lnTo>
                  <a:pt x="13" y="0"/>
                </a:lnTo>
                <a:lnTo>
                  <a:pt x="0" y="1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3" name="Freeform 614">
            <a:extLst>
              <a:ext uri="{FF2B5EF4-FFF2-40B4-BE49-F238E27FC236}">
                <a16:creationId xmlns:a16="http://schemas.microsoft.com/office/drawing/2014/main" id="{A35E12DA-6263-428E-ACD5-29E12DA389BF}"/>
              </a:ext>
            </a:extLst>
          </p:cNvPr>
          <p:cNvSpPr>
            <a:spLocks/>
          </p:cNvSpPr>
          <p:nvPr/>
        </p:nvSpPr>
        <p:spPr bwMode="auto">
          <a:xfrm>
            <a:off x="5845992" y="5293208"/>
            <a:ext cx="20440" cy="16225"/>
          </a:xfrm>
          <a:custGeom>
            <a:avLst/>
            <a:gdLst>
              <a:gd name="T0" fmla="*/ 0 w 17"/>
              <a:gd name="T1" fmla="*/ 9677400 h 15"/>
              <a:gd name="T2" fmla="*/ 0 w 17"/>
              <a:gd name="T3" fmla="*/ 9677400 h 15"/>
              <a:gd name="T4" fmla="*/ 13673603 w 17"/>
              <a:gd name="T5" fmla="*/ 22580604 h 15"/>
              <a:gd name="T6" fmla="*/ 27347207 w 17"/>
              <a:gd name="T7" fmla="*/ 0 h 15"/>
              <a:gd name="T8" fmla="*/ 0 w 17"/>
              <a:gd name="T9" fmla="*/ 9677400 h 15"/>
              <a:gd name="T10" fmla="*/ 0 w 17"/>
              <a:gd name="T11" fmla="*/ 9677400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6"/>
                </a:moveTo>
                <a:lnTo>
                  <a:pt x="0" y="6"/>
                </a:lnTo>
                <a:lnTo>
                  <a:pt x="8" y="14"/>
                </a:lnTo>
                <a:lnTo>
                  <a:pt x="16" y="0"/>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4" name="Freeform 615">
            <a:extLst>
              <a:ext uri="{FF2B5EF4-FFF2-40B4-BE49-F238E27FC236}">
                <a16:creationId xmlns:a16="http://schemas.microsoft.com/office/drawing/2014/main" id="{CAAD048A-B585-48D8-9EFF-61437A944C8C}"/>
              </a:ext>
            </a:extLst>
          </p:cNvPr>
          <p:cNvSpPr>
            <a:spLocks/>
          </p:cNvSpPr>
          <p:nvPr/>
        </p:nvSpPr>
        <p:spPr bwMode="auto">
          <a:xfrm>
            <a:off x="5504348" y="4932210"/>
            <a:ext cx="141621" cy="285283"/>
          </a:xfrm>
          <a:custGeom>
            <a:avLst/>
            <a:gdLst>
              <a:gd name="T0" fmla="*/ 0 w 124"/>
              <a:gd name="T1" fmla="*/ 180866331 h 254"/>
              <a:gd name="T2" fmla="*/ 0 w 124"/>
              <a:gd name="T3" fmla="*/ 180866331 h 254"/>
              <a:gd name="T4" fmla="*/ 9252940 w 124"/>
              <a:gd name="T5" fmla="*/ 156518251 h 254"/>
              <a:gd name="T6" fmla="*/ 63228222 w 124"/>
              <a:gd name="T7" fmla="*/ 41738375 h 254"/>
              <a:gd name="T8" fmla="*/ 101782356 w 124"/>
              <a:gd name="T9" fmla="*/ 26086159 h 254"/>
              <a:gd name="T10" fmla="*/ 109494173 w 124"/>
              <a:gd name="T11" fmla="*/ 0 h 254"/>
              <a:gd name="T12" fmla="*/ 135710623 w 124"/>
              <a:gd name="T13" fmla="*/ 15652222 h 254"/>
              <a:gd name="T14" fmla="*/ 137252987 w 124"/>
              <a:gd name="T15" fmla="*/ 38259519 h 254"/>
              <a:gd name="T16" fmla="*/ 114120021 w 124"/>
              <a:gd name="T17" fmla="*/ 107823492 h 254"/>
              <a:gd name="T18" fmla="*/ 138794108 w 124"/>
              <a:gd name="T19" fmla="*/ 102606526 h 254"/>
              <a:gd name="T20" fmla="*/ 151131773 w 124"/>
              <a:gd name="T21" fmla="*/ 149561857 h 254"/>
              <a:gd name="T22" fmla="*/ 189685926 w 124"/>
              <a:gd name="T23" fmla="*/ 163474645 h 254"/>
              <a:gd name="T24" fmla="*/ 169637687 w 124"/>
              <a:gd name="T25" fmla="*/ 186083297 h 254"/>
              <a:gd name="T26" fmla="*/ 124915322 w 124"/>
              <a:gd name="T27" fmla="*/ 215648302 h 254"/>
              <a:gd name="T28" fmla="*/ 114120021 w 124"/>
              <a:gd name="T29" fmla="*/ 243473879 h 254"/>
              <a:gd name="T30" fmla="*/ 138794108 w 124"/>
              <a:gd name="T31" fmla="*/ 297385605 h 254"/>
              <a:gd name="T32" fmla="*/ 129541170 w 124"/>
              <a:gd name="T33" fmla="*/ 328688719 h 254"/>
              <a:gd name="T34" fmla="*/ 158842347 w 124"/>
              <a:gd name="T35" fmla="*/ 398252743 h 254"/>
              <a:gd name="T36" fmla="*/ 137252987 w 124"/>
              <a:gd name="T37" fmla="*/ 439991109 h 254"/>
              <a:gd name="T38" fmla="*/ 115662384 w 124"/>
              <a:gd name="T39" fmla="*/ 290429210 h 254"/>
              <a:gd name="T40" fmla="*/ 97156508 w 124"/>
              <a:gd name="T41" fmla="*/ 266081171 h 254"/>
              <a:gd name="T42" fmla="*/ 66312948 w 124"/>
              <a:gd name="T43" fmla="*/ 306081427 h 254"/>
              <a:gd name="T44" fmla="*/ 43179983 w 124"/>
              <a:gd name="T45" fmla="*/ 299125033 h 254"/>
              <a:gd name="T46" fmla="*/ 47807072 w 124"/>
              <a:gd name="T47" fmla="*/ 243473879 h 254"/>
              <a:gd name="T48" fmla="*/ 0 w 124"/>
              <a:gd name="T49" fmla="*/ 180866331 h 254"/>
              <a:gd name="T50" fmla="*/ 0 w 124"/>
              <a:gd name="T51" fmla="*/ 180866331 h 25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4"/>
              <a:gd name="T79" fmla="*/ 0 h 254"/>
              <a:gd name="T80" fmla="*/ 124 w 124"/>
              <a:gd name="T81" fmla="*/ 254 h 25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4" h="254">
                <a:moveTo>
                  <a:pt x="0" y="104"/>
                </a:moveTo>
                <a:lnTo>
                  <a:pt x="0" y="104"/>
                </a:lnTo>
                <a:lnTo>
                  <a:pt x="6" y="90"/>
                </a:lnTo>
                <a:lnTo>
                  <a:pt x="41" y="24"/>
                </a:lnTo>
                <a:lnTo>
                  <a:pt x="66" y="15"/>
                </a:lnTo>
                <a:lnTo>
                  <a:pt x="71" y="0"/>
                </a:lnTo>
                <a:lnTo>
                  <a:pt x="88" y="9"/>
                </a:lnTo>
                <a:lnTo>
                  <a:pt x="89" y="22"/>
                </a:lnTo>
                <a:lnTo>
                  <a:pt x="74" y="62"/>
                </a:lnTo>
                <a:lnTo>
                  <a:pt x="90" y="59"/>
                </a:lnTo>
                <a:lnTo>
                  <a:pt x="98" y="86"/>
                </a:lnTo>
                <a:lnTo>
                  <a:pt x="123" y="94"/>
                </a:lnTo>
                <a:lnTo>
                  <a:pt x="110" y="107"/>
                </a:lnTo>
                <a:lnTo>
                  <a:pt x="81" y="124"/>
                </a:lnTo>
                <a:lnTo>
                  <a:pt x="74" y="140"/>
                </a:lnTo>
                <a:lnTo>
                  <a:pt x="90" y="171"/>
                </a:lnTo>
                <a:lnTo>
                  <a:pt x="84" y="189"/>
                </a:lnTo>
                <a:lnTo>
                  <a:pt x="103" y="229"/>
                </a:lnTo>
                <a:lnTo>
                  <a:pt x="89" y="253"/>
                </a:lnTo>
                <a:lnTo>
                  <a:pt x="75" y="167"/>
                </a:lnTo>
                <a:lnTo>
                  <a:pt x="63" y="153"/>
                </a:lnTo>
                <a:lnTo>
                  <a:pt x="43" y="176"/>
                </a:lnTo>
                <a:lnTo>
                  <a:pt x="28" y="172"/>
                </a:lnTo>
                <a:lnTo>
                  <a:pt x="31" y="140"/>
                </a:lnTo>
                <a:lnTo>
                  <a:pt x="0" y="10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5" name="Freeform 616">
            <a:extLst>
              <a:ext uri="{FF2B5EF4-FFF2-40B4-BE49-F238E27FC236}">
                <a16:creationId xmlns:a16="http://schemas.microsoft.com/office/drawing/2014/main" id="{1C35F4BA-69DA-4CED-8ABA-DCEFCBF67578}"/>
              </a:ext>
            </a:extLst>
          </p:cNvPr>
          <p:cNvSpPr>
            <a:spLocks/>
          </p:cNvSpPr>
          <p:nvPr/>
        </p:nvSpPr>
        <p:spPr bwMode="auto">
          <a:xfrm>
            <a:off x="5664950" y="5148539"/>
            <a:ext cx="80301" cy="62194"/>
          </a:xfrm>
          <a:custGeom>
            <a:avLst/>
            <a:gdLst>
              <a:gd name="T0" fmla="*/ 0 w 70"/>
              <a:gd name="T1" fmla="*/ 18383734 h 59"/>
              <a:gd name="T2" fmla="*/ 0 w 70"/>
              <a:gd name="T3" fmla="*/ 18383734 h 59"/>
              <a:gd name="T4" fmla="*/ 7779587 w 70"/>
              <a:gd name="T5" fmla="*/ 62808929 h 59"/>
              <a:gd name="T6" fmla="*/ 21782099 w 70"/>
              <a:gd name="T7" fmla="*/ 85788301 h 59"/>
              <a:gd name="T8" fmla="*/ 43562951 w 70"/>
              <a:gd name="T9" fmla="*/ 88851637 h 59"/>
              <a:gd name="T10" fmla="*/ 107352573 w 70"/>
              <a:gd name="T11" fmla="*/ 47489774 h 59"/>
              <a:gd name="T12" fmla="*/ 104240490 w 70"/>
              <a:gd name="T13" fmla="*/ 0 h 59"/>
              <a:gd name="T14" fmla="*/ 56010037 w 70"/>
              <a:gd name="T15" fmla="*/ 7660199 h 59"/>
              <a:gd name="T16" fmla="*/ 15557927 w 70"/>
              <a:gd name="T17" fmla="*/ 6127912 h 59"/>
              <a:gd name="T18" fmla="*/ 0 w 70"/>
              <a:gd name="T19" fmla="*/ 18383734 h 59"/>
              <a:gd name="T20" fmla="*/ 0 w 70"/>
              <a:gd name="T21" fmla="*/ 18383734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59"/>
              <a:gd name="T35" fmla="*/ 70 w 70"/>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59">
                <a:moveTo>
                  <a:pt x="0" y="12"/>
                </a:moveTo>
                <a:lnTo>
                  <a:pt x="0" y="12"/>
                </a:lnTo>
                <a:lnTo>
                  <a:pt x="5" y="41"/>
                </a:lnTo>
                <a:lnTo>
                  <a:pt x="14" y="56"/>
                </a:lnTo>
                <a:lnTo>
                  <a:pt x="28" y="58"/>
                </a:lnTo>
                <a:lnTo>
                  <a:pt x="69" y="31"/>
                </a:lnTo>
                <a:lnTo>
                  <a:pt x="67" y="0"/>
                </a:lnTo>
                <a:lnTo>
                  <a:pt x="36" y="5"/>
                </a:lnTo>
                <a:lnTo>
                  <a:pt x="10" y="4"/>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6" name="Freeform 617">
            <a:extLst>
              <a:ext uri="{FF2B5EF4-FFF2-40B4-BE49-F238E27FC236}">
                <a16:creationId xmlns:a16="http://schemas.microsoft.com/office/drawing/2014/main" id="{32D9D994-5044-4621-9BA8-ADC26A400533}"/>
              </a:ext>
            </a:extLst>
          </p:cNvPr>
          <p:cNvSpPr>
            <a:spLocks/>
          </p:cNvSpPr>
          <p:nvPr/>
        </p:nvSpPr>
        <p:spPr bwMode="auto">
          <a:xfrm>
            <a:off x="5311627" y="5221549"/>
            <a:ext cx="29201" cy="55434"/>
          </a:xfrm>
          <a:custGeom>
            <a:avLst/>
            <a:gdLst>
              <a:gd name="T0" fmla="*/ 0 w 26"/>
              <a:gd name="T1" fmla="*/ 0 h 51"/>
              <a:gd name="T2" fmla="*/ 0 w 26"/>
              <a:gd name="T3" fmla="*/ 0 h 51"/>
              <a:gd name="T4" fmla="*/ 7456366 w 26"/>
              <a:gd name="T5" fmla="*/ 81436595 h 51"/>
              <a:gd name="T6" fmla="*/ 37280604 w 26"/>
              <a:gd name="T7" fmla="*/ 66777986 h 51"/>
              <a:gd name="T8" fmla="*/ 22367878 w 26"/>
              <a:gd name="T9" fmla="*/ 19545242 h 51"/>
              <a:gd name="T10" fmla="*/ 0 w 26"/>
              <a:gd name="T11" fmla="*/ 0 h 51"/>
              <a:gd name="T12" fmla="*/ 0 w 26"/>
              <a:gd name="T13" fmla="*/ 0 h 51"/>
              <a:gd name="T14" fmla="*/ 0 60000 65536"/>
              <a:gd name="T15" fmla="*/ 0 60000 65536"/>
              <a:gd name="T16" fmla="*/ 0 60000 65536"/>
              <a:gd name="T17" fmla="*/ 0 60000 65536"/>
              <a:gd name="T18" fmla="*/ 0 60000 65536"/>
              <a:gd name="T19" fmla="*/ 0 60000 65536"/>
              <a:gd name="T20" fmla="*/ 0 60000 65536"/>
              <a:gd name="T21" fmla="*/ 0 w 26"/>
              <a:gd name="T22" fmla="*/ 0 h 51"/>
              <a:gd name="T23" fmla="*/ 26 w 26"/>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51">
                <a:moveTo>
                  <a:pt x="0" y="0"/>
                </a:moveTo>
                <a:lnTo>
                  <a:pt x="0" y="0"/>
                </a:lnTo>
                <a:lnTo>
                  <a:pt x="5" y="50"/>
                </a:lnTo>
                <a:lnTo>
                  <a:pt x="25" y="41"/>
                </a:lnTo>
                <a:lnTo>
                  <a:pt x="15" y="1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57" name="Group 29">
            <a:extLst>
              <a:ext uri="{FF2B5EF4-FFF2-40B4-BE49-F238E27FC236}">
                <a16:creationId xmlns:a16="http://schemas.microsoft.com/office/drawing/2014/main" id="{012B866A-76DE-480D-B8A6-60E2A070C914}"/>
              </a:ext>
            </a:extLst>
          </p:cNvPr>
          <p:cNvGrpSpPr>
            <a:grpSpLocks/>
          </p:cNvGrpSpPr>
          <p:nvPr/>
        </p:nvGrpSpPr>
        <p:grpSpPr bwMode="auto">
          <a:xfrm>
            <a:off x="5215267" y="4473859"/>
            <a:ext cx="957768" cy="619241"/>
            <a:chOff x="4086" y="2626"/>
            <a:chExt cx="835" cy="555"/>
          </a:xfrm>
          <a:solidFill>
            <a:srgbClr val="00B050"/>
          </a:solidFill>
        </p:grpSpPr>
        <p:sp>
          <p:nvSpPr>
            <p:cNvPr id="300" name="Freeform 30">
              <a:extLst>
                <a:ext uri="{FF2B5EF4-FFF2-40B4-BE49-F238E27FC236}">
                  <a16:creationId xmlns:a16="http://schemas.microsoft.com/office/drawing/2014/main" id="{61E8DEAF-BF42-4784-BF39-C0F679BA7A86}"/>
                </a:ext>
              </a:extLst>
            </p:cNvPr>
            <p:cNvSpPr>
              <a:spLocks/>
            </p:cNvSpPr>
            <p:nvPr/>
          </p:nvSpPr>
          <p:spPr bwMode="auto">
            <a:xfrm>
              <a:off x="4086" y="2626"/>
              <a:ext cx="835" cy="526"/>
            </a:xfrm>
            <a:custGeom>
              <a:avLst/>
              <a:gdLst>
                <a:gd name="T0" fmla="*/ 0 w 835"/>
                <a:gd name="T1" fmla="*/ 250 h 526"/>
                <a:gd name="T2" fmla="*/ 35 w 835"/>
                <a:gd name="T3" fmla="*/ 226 h 526"/>
                <a:gd name="T4" fmla="*/ 95 w 835"/>
                <a:gd name="T5" fmla="*/ 177 h 526"/>
                <a:gd name="T6" fmla="*/ 118 w 835"/>
                <a:gd name="T7" fmla="*/ 145 h 526"/>
                <a:gd name="T8" fmla="*/ 162 w 835"/>
                <a:gd name="T9" fmla="*/ 114 h 526"/>
                <a:gd name="T10" fmla="*/ 192 w 835"/>
                <a:gd name="T11" fmla="*/ 81 h 526"/>
                <a:gd name="T12" fmla="*/ 225 w 835"/>
                <a:gd name="T13" fmla="*/ 106 h 526"/>
                <a:gd name="T14" fmla="*/ 293 w 835"/>
                <a:gd name="T15" fmla="*/ 160 h 526"/>
                <a:gd name="T16" fmla="*/ 368 w 835"/>
                <a:gd name="T17" fmla="*/ 185 h 526"/>
                <a:gd name="T18" fmla="*/ 499 w 835"/>
                <a:gd name="T19" fmla="*/ 187 h 526"/>
                <a:gd name="T20" fmla="*/ 522 w 835"/>
                <a:gd name="T21" fmla="*/ 151 h 526"/>
                <a:gd name="T22" fmla="*/ 588 w 835"/>
                <a:gd name="T23" fmla="*/ 123 h 526"/>
                <a:gd name="T24" fmla="*/ 607 w 835"/>
                <a:gd name="T25" fmla="*/ 98 h 526"/>
                <a:gd name="T26" fmla="*/ 572 w 835"/>
                <a:gd name="T27" fmla="*/ 78 h 526"/>
                <a:gd name="T28" fmla="*/ 602 w 835"/>
                <a:gd name="T29" fmla="*/ 72 h 526"/>
                <a:gd name="T30" fmla="*/ 642 w 835"/>
                <a:gd name="T31" fmla="*/ 28 h 526"/>
                <a:gd name="T32" fmla="*/ 681 w 835"/>
                <a:gd name="T33" fmla="*/ 0 h 526"/>
                <a:gd name="T34" fmla="*/ 734 w 835"/>
                <a:gd name="T35" fmla="*/ 69 h 526"/>
                <a:gd name="T36" fmla="*/ 783 w 835"/>
                <a:gd name="T37" fmla="*/ 104 h 526"/>
                <a:gd name="T38" fmla="*/ 811 w 835"/>
                <a:gd name="T39" fmla="*/ 147 h 526"/>
                <a:gd name="T40" fmla="*/ 785 w 835"/>
                <a:gd name="T41" fmla="*/ 177 h 526"/>
                <a:gd name="T42" fmla="*/ 770 w 835"/>
                <a:gd name="T43" fmla="*/ 185 h 526"/>
                <a:gd name="T44" fmla="*/ 744 w 835"/>
                <a:gd name="T45" fmla="*/ 210 h 526"/>
                <a:gd name="T46" fmla="*/ 691 w 835"/>
                <a:gd name="T47" fmla="*/ 232 h 526"/>
                <a:gd name="T48" fmla="*/ 663 w 835"/>
                <a:gd name="T49" fmla="*/ 226 h 526"/>
                <a:gd name="T50" fmla="*/ 602 w 835"/>
                <a:gd name="T51" fmla="*/ 247 h 526"/>
                <a:gd name="T52" fmla="*/ 618 w 835"/>
                <a:gd name="T53" fmla="*/ 276 h 526"/>
                <a:gd name="T54" fmla="*/ 668 w 835"/>
                <a:gd name="T55" fmla="*/ 274 h 526"/>
                <a:gd name="T56" fmla="*/ 622 w 835"/>
                <a:gd name="T57" fmla="*/ 312 h 526"/>
                <a:gd name="T58" fmla="*/ 633 w 835"/>
                <a:gd name="T59" fmla="*/ 355 h 526"/>
                <a:gd name="T60" fmla="*/ 634 w 835"/>
                <a:gd name="T61" fmla="*/ 382 h 526"/>
                <a:gd name="T62" fmla="*/ 613 w 835"/>
                <a:gd name="T63" fmla="*/ 463 h 526"/>
                <a:gd name="T64" fmla="*/ 552 w 835"/>
                <a:gd name="T65" fmla="*/ 493 h 526"/>
                <a:gd name="T66" fmla="*/ 543 w 835"/>
                <a:gd name="T67" fmla="*/ 489 h 526"/>
                <a:gd name="T68" fmla="*/ 499 w 835"/>
                <a:gd name="T69" fmla="*/ 510 h 526"/>
                <a:gd name="T70" fmla="*/ 490 w 835"/>
                <a:gd name="T71" fmla="*/ 506 h 526"/>
                <a:gd name="T72" fmla="*/ 429 w 835"/>
                <a:gd name="T73" fmla="*/ 484 h 526"/>
                <a:gd name="T74" fmla="*/ 380 w 835"/>
                <a:gd name="T75" fmla="*/ 494 h 526"/>
                <a:gd name="T76" fmla="*/ 375 w 835"/>
                <a:gd name="T77" fmla="*/ 506 h 526"/>
                <a:gd name="T78" fmla="*/ 342 w 835"/>
                <a:gd name="T79" fmla="*/ 471 h 526"/>
                <a:gd name="T80" fmla="*/ 341 w 835"/>
                <a:gd name="T81" fmla="*/ 434 h 526"/>
                <a:gd name="T82" fmla="*/ 323 w 835"/>
                <a:gd name="T83" fmla="*/ 412 h 526"/>
                <a:gd name="T84" fmla="*/ 305 w 835"/>
                <a:gd name="T85" fmla="*/ 392 h 526"/>
                <a:gd name="T86" fmla="*/ 220 w 835"/>
                <a:gd name="T87" fmla="*/ 410 h 526"/>
                <a:gd name="T88" fmla="*/ 205 w 835"/>
                <a:gd name="T89" fmla="*/ 414 h 526"/>
                <a:gd name="T90" fmla="*/ 166 w 835"/>
                <a:gd name="T91" fmla="*/ 416 h 526"/>
                <a:gd name="T92" fmla="*/ 100 w 835"/>
                <a:gd name="T93" fmla="*/ 381 h 526"/>
                <a:gd name="T94" fmla="*/ 65 w 835"/>
                <a:gd name="T95" fmla="*/ 347 h 526"/>
                <a:gd name="T96" fmla="*/ 71 w 835"/>
                <a:gd name="T97" fmla="*/ 325 h 526"/>
                <a:gd name="T98" fmla="*/ 75 w 835"/>
                <a:gd name="T99" fmla="*/ 295 h 526"/>
                <a:gd name="T100" fmla="*/ 13 w 835"/>
                <a:gd name="T101" fmla="*/ 278 h 526"/>
                <a:gd name="T102" fmla="*/ 14 w 835"/>
                <a:gd name="T103" fmla="*/ 256 h 526"/>
                <a:gd name="T104" fmla="*/ 0 w 835"/>
                <a:gd name="T105" fmla="*/ 250 h 5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35"/>
                <a:gd name="T160" fmla="*/ 0 h 526"/>
                <a:gd name="T161" fmla="*/ 835 w 835"/>
                <a:gd name="T162" fmla="*/ 526 h 52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35" h="526">
                  <a:moveTo>
                    <a:pt x="0" y="250"/>
                  </a:moveTo>
                  <a:lnTo>
                    <a:pt x="0" y="250"/>
                  </a:lnTo>
                  <a:lnTo>
                    <a:pt x="5" y="230"/>
                  </a:lnTo>
                  <a:lnTo>
                    <a:pt x="35" y="226"/>
                  </a:lnTo>
                  <a:lnTo>
                    <a:pt x="88" y="198"/>
                  </a:lnTo>
                  <a:lnTo>
                    <a:pt x="95" y="177"/>
                  </a:lnTo>
                  <a:lnTo>
                    <a:pt x="85" y="152"/>
                  </a:lnTo>
                  <a:lnTo>
                    <a:pt x="118" y="145"/>
                  </a:lnTo>
                  <a:lnTo>
                    <a:pt x="127" y="112"/>
                  </a:lnTo>
                  <a:lnTo>
                    <a:pt x="162" y="114"/>
                  </a:lnTo>
                  <a:lnTo>
                    <a:pt x="166" y="92"/>
                  </a:lnTo>
                  <a:lnTo>
                    <a:pt x="192" y="81"/>
                  </a:lnTo>
                  <a:lnTo>
                    <a:pt x="206" y="100"/>
                  </a:lnTo>
                  <a:lnTo>
                    <a:pt x="225" y="106"/>
                  </a:lnTo>
                  <a:lnTo>
                    <a:pt x="233" y="145"/>
                  </a:lnTo>
                  <a:lnTo>
                    <a:pt x="293" y="160"/>
                  </a:lnTo>
                  <a:lnTo>
                    <a:pt x="319" y="187"/>
                  </a:lnTo>
                  <a:lnTo>
                    <a:pt x="368" y="185"/>
                  </a:lnTo>
                  <a:lnTo>
                    <a:pt x="424" y="206"/>
                  </a:lnTo>
                  <a:lnTo>
                    <a:pt x="499" y="187"/>
                  </a:lnTo>
                  <a:lnTo>
                    <a:pt x="522" y="172"/>
                  </a:lnTo>
                  <a:lnTo>
                    <a:pt x="522" y="151"/>
                  </a:lnTo>
                  <a:lnTo>
                    <a:pt x="543" y="153"/>
                  </a:lnTo>
                  <a:lnTo>
                    <a:pt x="588" y="123"/>
                  </a:lnTo>
                  <a:lnTo>
                    <a:pt x="625" y="121"/>
                  </a:lnTo>
                  <a:lnTo>
                    <a:pt x="607" y="98"/>
                  </a:lnTo>
                  <a:lnTo>
                    <a:pt x="572" y="104"/>
                  </a:lnTo>
                  <a:lnTo>
                    <a:pt x="572" y="78"/>
                  </a:lnTo>
                  <a:lnTo>
                    <a:pt x="581" y="64"/>
                  </a:lnTo>
                  <a:lnTo>
                    <a:pt x="602" y="72"/>
                  </a:lnTo>
                  <a:lnTo>
                    <a:pt x="621" y="63"/>
                  </a:lnTo>
                  <a:lnTo>
                    <a:pt x="642" y="28"/>
                  </a:lnTo>
                  <a:lnTo>
                    <a:pt x="632" y="16"/>
                  </a:lnTo>
                  <a:lnTo>
                    <a:pt x="681" y="0"/>
                  </a:lnTo>
                  <a:lnTo>
                    <a:pt x="709" y="11"/>
                  </a:lnTo>
                  <a:lnTo>
                    <a:pt x="734" y="69"/>
                  </a:lnTo>
                  <a:lnTo>
                    <a:pt x="776" y="82"/>
                  </a:lnTo>
                  <a:lnTo>
                    <a:pt x="783" y="104"/>
                  </a:lnTo>
                  <a:lnTo>
                    <a:pt x="834" y="90"/>
                  </a:lnTo>
                  <a:lnTo>
                    <a:pt x="811" y="147"/>
                  </a:lnTo>
                  <a:lnTo>
                    <a:pt x="781" y="155"/>
                  </a:lnTo>
                  <a:lnTo>
                    <a:pt x="785" y="177"/>
                  </a:lnTo>
                  <a:lnTo>
                    <a:pt x="776" y="190"/>
                  </a:lnTo>
                  <a:lnTo>
                    <a:pt x="770" y="185"/>
                  </a:lnTo>
                  <a:lnTo>
                    <a:pt x="744" y="201"/>
                  </a:lnTo>
                  <a:lnTo>
                    <a:pt x="744" y="210"/>
                  </a:lnTo>
                  <a:lnTo>
                    <a:pt x="726" y="207"/>
                  </a:lnTo>
                  <a:lnTo>
                    <a:pt x="691" y="232"/>
                  </a:lnTo>
                  <a:lnTo>
                    <a:pt x="651" y="253"/>
                  </a:lnTo>
                  <a:lnTo>
                    <a:pt x="663" y="226"/>
                  </a:lnTo>
                  <a:lnTo>
                    <a:pt x="657" y="216"/>
                  </a:lnTo>
                  <a:lnTo>
                    <a:pt x="602" y="247"/>
                  </a:lnTo>
                  <a:lnTo>
                    <a:pt x="600" y="255"/>
                  </a:lnTo>
                  <a:lnTo>
                    <a:pt x="618" y="276"/>
                  </a:lnTo>
                  <a:lnTo>
                    <a:pt x="643" y="267"/>
                  </a:lnTo>
                  <a:lnTo>
                    <a:pt x="668" y="274"/>
                  </a:lnTo>
                  <a:lnTo>
                    <a:pt x="634" y="290"/>
                  </a:lnTo>
                  <a:lnTo>
                    <a:pt x="622" y="312"/>
                  </a:lnTo>
                  <a:lnTo>
                    <a:pt x="658" y="360"/>
                  </a:lnTo>
                  <a:lnTo>
                    <a:pt x="633" y="355"/>
                  </a:lnTo>
                  <a:lnTo>
                    <a:pt x="658" y="371"/>
                  </a:lnTo>
                  <a:lnTo>
                    <a:pt x="634" y="382"/>
                  </a:lnTo>
                  <a:lnTo>
                    <a:pt x="659" y="386"/>
                  </a:lnTo>
                  <a:lnTo>
                    <a:pt x="613" y="463"/>
                  </a:lnTo>
                  <a:lnTo>
                    <a:pt x="582" y="485"/>
                  </a:lnTo>
                  <a:lnTo>
                    <a:pt x="552" y="493"/>
                  </a:lnTo>
                  <a:lnTo>
                    <a:pt x="550" y="493"/>
                  </a:lnTo>
                  <a:lnTo>
                    <a:pt x="543" y="489"/>
                  </a:lnTo>
                  <a:lnTo>
                    <a:pt x="535" y="502"/>
                  </a:lnTo>
                  <a:lnTo>
                    <a:pt x="499" y="510"/>
                  </a:lnTo>
                  <a:lnTo>
                    <a:pt x="496" y="525"/>
                  </a:lnTo>
                  <a:lnTo>
                    <a:pt x="490" y="506"/>
                  </a:lnTo>
                  <a:lnTo>
                    <a:pt x="466" y="507"/>
                  </a:lnTo>
                  <a:lnTo>
                    <a:pt x="429" y="484"/>
                  </a:lnTo>
                  <a:lnTo>
                    <a:pt x="389" y="494"/>
                  </a:lnTo>
                  <a:lnTo>
                    <a:pt x="380" y="494"/>
                  </a:lnTo>
                  <a:lnTo>
                    <a:pt x="381" y="510"/>
                  </a:lnTo>
                  <a:lnTo>
                    <a:pt x="375" y="506"/>
                  </a:lnTo>
                  <a:lnTo>
                    <a:pt x="350" y="498"/>
                  </a:lnTo>
                  <a:lnTo>
                    <a:pt x="342" y="471"/>
                  </a:lnTo>
                  <a:lnTo>
                    <a:pt x="326" y="474"/>
                  </a:lnTo>
                  <a:lnTo>
                    <a:pt x="341" y="434"/>
                  </a:lnTo>
                  <a:lnTo>
                    <a:pt x="340" y="421"/>
                  </a:lnTo>
                  <a:lnTo>
                    <a:pt x="323" y="412"/>
                  </a:lnTo>
                  <a:lnTo>
                    <a:pt x="309" y="407"/>
                  </a:lnTo>
                  <a:lnTo>
                    <a:pt x="305" y="392"/>
                  </a:lnTo>
                  <a:lnTo>
                    <a:pt x="246" y="417"/>
                  </a:lnTo>
                  <a:lnTo>
                    <a:pt x="220" y="410"/>
                  </a:lnTo>
                  <a:lnTo>
                    <a:pt x="207" y="424"/>
                  </a:lnTo>
                  <a:lnTo>
                    <a:pt x="205" y="414"/>
                  </a:lnTo>
                  <a:lnTo>
                    <a:pt x="196" y="416"/>
                  </a:lnTo>
                  <a:lnTo>
                    <a:pt x="166" y="416"/>
                  </a:lnTo>
                  <a:lnTo>
                    <a:pt x="143" y="395"/>
                  </a:lnTo>
                  <a:lnTo>
                    <a:pt x="100" y="381"/>
                  </a:lnTo>
                  <a:lnTo>
                    <a:pt x="72" y="371"/>
                  </a:lnTo>
                  <a:lnTo>
                    <a:pt x="65" y="347"/>
                  </a:lnTo>
                  <a:lnTo>
                    <a:pt x="80" y="344"/>
                  </a:lnTo>
                  <a:lnTo>
                    <a:pt x="71" y="325"/>
                  </a:lnTo>
                  <a:lnTo>
                    <a:pt x="90" y="302"/>
                  </a:lnTo>
                  <a:lnTo>
                    <a:pt x="75" y="295"/>
                  </a:lnTo>
                  <a:lnTo>
                    <a:pt x="54" y="303"/>
                  </a:lnTo>
                  <a:lnTo>
                    <a:pt x="13" y="278"/>
                  </a:lnTo>
                  <a:lnTo>
                    <a:pt x="14" y="274"/>
                  </a:lnTo>
                  <a:lnTo>
                    <a:pt x="14" y="256"/>
                  </a:lnTo>
                  <a:lnTo>
                    <a:pt x="0" y="2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1" name="Freeform 31">
              <a:extLst>
                <a:ext uri="{FF2B5EF4-FFF2-40B4-BE49-F238E27FC236}">
                  <a16:creationId xmlns:a16="http://schemas.microsoft.com/office/drawing/2014/main" id="{A5A442D7-7A6D-433C-9527-B7571BBCA649}"/>
                </a:ext>
              </a:extLst>
            </p:cNvPr>
            <p:cNvSpPr>
              <a:spLocks/>
            </p:cNvSpPr>
            <p:nvPr/>
          </p:nvSpPr>
          <p:spPr bwMode="auto">
            <a:xfrm>
              <a:off x="4564" y="3155"/>
              <a:ext cx="31" cy="26"/>
            </a:xfrm>
            <a:custGeom>
              <a:avLst/>
              <a:gdLst>
                <a:gd name="T0" fmla="*/ 0 w 31"/>
                <a:gd name="T1" fmla="*/ 19 h 26"/>
                <a:gd name="T2" fmla="*/ 0 w 31"/>
                <a:gd name="T3" fmla="*/ 19 h 26"/>
                <a:gd name="T4" fmla="*/ 9 w 31"/>
                <a:gd name="T5" fmla="*/ 0 h 26"/>
                <a:gd name="T6" fmla="*/ 30 w 31"/>
                <a:gd name="T7" fmla="*/ 4 h 26"/>
                <a:gd name="T8" fmla="*/ 13 w 31"/>
                <a:gd name="T9" fmla="*/ 25 h 26"/>
                <a:gd name="T10" fmla="*/ 0 w 31"/>
                <a:gd name="T11" fmla="*/ 19 h 26"/>
                <a:gd name="T12" fmla="*/ 0 w 31"/>
                <a:gd name="T13" fmla="*/ 19 h 26"/>
                <a:gd name="T14" fmla="*/ 0 60000 65536"/>
                <a:gd name="T15" fmla="*/ 0 60000 65536"/>
                <a:gd name="T16" fmla="*/ 0 60000 65536"/>
                <a:gd name="T17" fmla="*/ 0 60000 65536"/>
                <a:gd name="T18" fmla="*/ 0 60000 65536"/>
                <a:gd name="T19" fmla="*/ 0 60000 65536"/>
                <a:gd name="T20" fmla="*/ 0 60000 65536"/>
                <a:gd name="T21" fmla="*/ 0 w 31"/>
                <a:gd name="T22" fmla="*/ 0 h 26"/>
                <a:gd name="T23" fmla="*/ 31 w 3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6">
                  <a:moveTo>
                    <a:pt x="0" y="19"/>
                  </a:moveTo>
                  <a:lnTo>
                    <a:pt x="0" y="19"/>
                  </a:lnTo>
                  <a:lnTo>
                    <a:pt x="9" y="0"/>
                  </a:lnTo>
                  <a:lnTo>
                    <a:pt x="30" y="4"/>
                  </a:lnTo>
                  <a:lnTo>
                    <a:pt x="13" y="25"/>
                  </a:lnTo>
                  <a:lnTo>
                    <a:pt x="0" y="1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58" name="Freeform 621">
            <a:extLst>
              <a:ext uri="{FF2B5EF4-FFF2-40B4-BE49-F238E27FC236}">
                <a16:creationId xmlns:a16="http://schemas.microsoft.com/office/drawing/2014/main" id="{F68A2200-BED7-4D8E-9475-717F0757443E}"/>
              </a:ext>
            </a:extLst>
          </p:cNvPr>
          <p:cNvSpPr>
            <a:spLocks/>
          </p:cNvSpPr>
          <p:nvPr/>
        </p:nvSpPr>
        <p:spPr bwMode="auto">
          <a:xfrm>
            <a:off x="5940893" y="4984939"/>
            <a:ext cx="30660" cy="50027"/>
          </a:xfrm>
          <a:custGeom>
            <a:avLst/>
            <a:gdLst>
              <a:gd name="T0" fmla="*/ 0 w 25"/>
              <a:gd name="T1" fmla="*/ 29348570 h 46"/>
              <a:gd name="T2" fmla="*/ 0 w 25"/>
              <a:gd name="T3" fmla="*/ 29348570 h 46"/>
              <a:gd name="T4" fmla="*/ 16003094 w 25"/>
              <a:gd name="T5" fmla="*/ 73372696 h 46"/>
              <a:gd name="T6" fmla="*/ 42676691 w 25"/>
              <a:gd name="T7" fmla="*/ 0 h 46"/>
              <a:gd name="T8" fmla="*/ 19559484 w 25"/>
              <a:gd name="T9" fmla="*/ 1630618 h 46"/>
              <a:gd name="T10" fmla="*/ 0 w 25"/>
              <a:gd name="T11" fmla="*/ 29348570 h 46"/>
              <a:gd name="T12" fmla="*/ 0 w 25"/>
              <a:gd name="T13" fmla="*/ 29348570 h 46"/>
              <a:gd name="T14" fmla="*/ 0 60000 65536"/>
              <a:gd name="T15" fmla="*/ 0 60000 65536"/>
              <a:gd name="T16" fmla="*/ 0 60000 65536"/>
              <a:gd name="T17" fmla="*/ 0 60000 65536"/>
              <a:gd name="T18" fmla="*/ 0 60000 65536"/>
              <a:gd name="T19" fmla="*/ 0 60000 65536"/>
              <a:gd name="T20" fmla="*/ 0 60000 65536"/>
              <a:gd name="T21" fmla="*/ 0 w 25"/>
              <a:gd name="T22" fmla="*/ 0 h 46"/>
              <a:gd name="T23" fmla="*/ 25 w 25"/>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46">
                <a:moveTo>
                  <a:pt x="0" y="18"/>
                </a:moveTo>
                <a:lnTo>
                  <a:pt x="0" y="18"/>
                </a:lnTo>
                <a:lnTo>
                  <a:pt x="9" y="45"/>
                </a:lnTo>
                <a:lnTo>
                  <a:pt x="24" y="0"/>
                </a:lnTo>
                <a:lnTo>
                  <a:pt x="11" y="1"/>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9" name="Freeform 622">
            <a:extLst>
              <a:ext uri="{FF2B5EF4-FFF2-40B4-BE49-F238E27FC236}">
                <a16:creationId xmlns:a16="http://schemas.microsoft.com/office/drawing/2014/main" id="{B3613336-86C9-401F-B78E-9D46A34B7C80}"/>
              </a:ext>
            </a:extLst>
          </p:cNvPr>
          <p:cNvSpPr>
            <a:spLocks/>
          </p:cNvSpPr>
          <p:nvPr/>
        </p:nvSpPr>
        <p:spPr bwMode="auto">
          <a:xfrm>
            <a:off x="5127665" y="4802412"/>
            <a:ext cx="458443" cy="444826"/>
          </a:xfrm>
          <a:custGeom>
            <a:avLst/>
            <a:gdLst>
              <a:gd name="T0" fmla="*/ 0 w 401"/>
              <a:gd name="T1" fmla="*/ 310135055 h 399"/>
              <a:gd name="T2" fmla="*/ 64899953 w 401"/>
              <a:gd name="T3" fmla="*/ 294713849 h 399"/>
              <a:gd name="T4" fmla="*/ 50993623 w 401"/>
              <a:gd name="T5" fmla="*/ 203901388 h 399"/>
              <a:gd name="T6" fmla="*/ 140617183 w 401"/>
              <a:gd name="T7" fmla="*/ 128508783 h 399"/>
              <a:gd name="T8" fmla="*/ 152979608 w 401"/>
              <a:gd name="T9" fmla="*/ 94239436 h 399"/>
              <a:gd name="T10" fmla="*/ 125164463 w 401"/>
              <a:gd name="T11" fmla="*/ 32555890 h 399"/>
              <a:gd name="T12" fmla="*/ 202426860 w 401"/>
              <a:gd name="T13" fmla="*/ 13707744 h 399"/>
              <a:gd name="T14" fmla="*/ 258055907 w 401"/>
              <a:gd name="T15" fmla="*/ 11994277 h 399"/>
              <a:gd name="T16" fmla="*/ 242604430 w 401"/>
              <a:gd name="T17" fmla="*/ 83959921 h 399"/>
              <a:gd name="T18" fmla="*/ 230242005 w 401"/>
              <a:gd name="T19" fmla="*/ 130222251 h 399"/>
              <a:gd name="T20" fmla="*/ 251875316 w 401"/>
              <a:gd name="T21" fmla="*/ 185053247 h 399"/>
              <a:gd name="T22" fmla="*/ 418762536 w 401"/>
              <a:gd name="T23" fmla="*/ 243311137 h 399"/>
              <a:gd name="T24" fmla="*/ 435760404 w 401"/>
              <a:gd name="T25" fmla="*/ 203901388 h 399"/>
              <a:gd name="T26" fmla="*/ 446576438 w 401"/>
              <a:gd name="T27" fmla="*/ 236457268 h 399"/>
              <a:gd name="T28" fmla="*/ 499115190 w 401"/>
              <a:gd name="T29" fmla="*/ 209041790 h 399"/>
              <a:gd name="T30" fmla="*/ 596465711 w 401"/>
              <a:gd name="T31" fmla="*/ 191907116 h 399"/>
              <a:gd name="T32" fmla="*/ 610373284 w 401"/>
              <a:gd name="T33" fmla="*/ 226176463 h 399"/>
              <a:gd name="T34" fmla="*/ 517658205 w 401"/>
              <a:gd name="T35" fmla="*/ 354685288 h 399"/>
              <a:gd name="T36" fmla="*/ 496024894 w 401"/>
              <a:gd name="T37" fmla="*/ 325556261 h 399"/>
              <a:gd name="T38" fmla="*/ 508386076 w 401"/>
              <a:gd name="T39" fmla="*/ 275865708 h 399"/>
              <a:gd name="T40" fmla="*/ 429578570 w 401"/>
              <a:gd name="T41" fmla="*/ 239884202 h 399"/>
              <a:gd name="T42" fmla="*/ 431123717 w 401"/>
              <a:gd name="T43" fmla="*/ 272438773 h 399"/>
              <a:gd name="T44" fmla="*/ 431123717 w 401"/>
              <a:gd name="T45" fmla="*/ 296427316 h 399"/>
              <a:gd name="T46" fmla="*/ 420307683 w 401"/>
              <a:gd name="T47" fmla="*/ 351258353 h 399"/>
              <a:gd name="T48" fmla="*/ 256510760 w 401"/>
              <a:gd name="T49" fmla="*/ 505469106 h 399"/>
              <a:gd name="T50" fmla="*/ 194701121 w 401"/>
              <a:gd name="T51" fmla="*/ 681954934 h 399"/>
              <a:gd name="T52" fmla="*/ 128256001 w 401"/>
              <a:gd name="T53" fmla="*/ 507182573 h 399"/>
              <a:gd name="T54" fmla="*/ 97350561 w 401"/>
              <a:gd name="T55" fmla="*/ 346117951 h 399"/>
              <a:gd name="T56" fmla="*/ 78807526 w 401"/>
              <a:gd name="T57" fmla="*/ 371819961 h 399"/>
              <a:gd name="T58" fmla="*/ 18543021 w 401"/>
              <a:gd name="T59" fmla="*/ 344404484 h 399"/>
              <a:gd name="T60" fmla="*/ 18543021 w 401"/>
              <a:gd name="T61" fmla="*/ 330696663 h 399"/>
              <a:gd name="T62" fmla="*/ 0 w 401"/>
              <a:gd name="T63" fmla="*/ 310135055 h 3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1"/>
              <a:gd name="T97" fmla="*/ 0 h 399"/>
              <a:gd name="T98" fmla="*/ 401 w 401"/>
              <a:gd name="T99" fmla="*/ 399 h 3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1" h="399">
                <a:moveTo>
                  <a:pt x="0" y="181"/>
                </a:moveTo>
                <a:lnTo>
                  <a:pt x="0" y="181"/>
                </a:lnTo>
                <a:lnTo>
                  <a:pt x="11" y="172"/>
                </a:lnTo>
                <a:lnTo>
                  <a:pt x="42" y="172"/>
                </a:lnTo>
                <a:lnTo>
                  <a:pt x="20" y="130"/>
                </a:lnTo>
                <a:lnTo>
                  <a:pt x="33" y="119"/>
                </a:lnTo>
                <a:lnTo>
                  <a:pt x="51" y="120"/>
                </a:lnTo>
                <a:lnTo>
                  <a:pt x="91" y="75"/>
                </a:lnTo>
                <a:lnTo>
                  <a:pt x="88" y="62"/>
                </a:lnTo>
                <a:lnTo>
                  <a:pt x="99" y="55"/>
                </a:lnTo>
                <a:lnTo>
                  <a:pt x="81" y="41"/>
                </a:lnTo>
                <a:lnTo>
                  <a:pt x="81" y="19"/>
                </a:lnTo>
                <a:lnTo>
                  <a:pt x="120" y="19"/>
                </a:lnTo>
                <a:lnTo>
                  <a:pt x="131" y="8"/>
                </a:lnTo>
                <a:lnTo>
                  <a:pt x="152" y="0"/>
                </a:lnTo>
                <a:lnTo>
                  <a:pt x="167" y="7"/>
                </a:lnTo>
                <a:lnTo>
                  <a:pt x="148" y="30"/>
                </a:lnTo>
                <a:lnTo>
                  <a:pt x="157" y="49"/>
                </a:lnTo>
                <a:lnTo>
                  <a:pt x="142" y="52"/>
                </a:lnTo>
                <a:lnTo>
                  <a:pt x="149" y="76"/>
                </a:lnTo>
                <a:lnTo>
                  <a:pt x="177" y="86"/>
                </a:lnTo>
                <a:lnTo>
                  <a:pt x="163" y="108"/>
                </a:lnTo>
                <a:lnTo>
                  <a:pt x="200" y="129"/>
                </a:lnTo>
                <a:lnTo>
                  <a:pt x="271" y="142"/>
                </a:lnTo>
                <a:lnTo>
                  <a:pt x="273" y="121"/>
                </a:lnTo>
                <a:lnTo>
                  <a:pt x="282" y="119"/>
                </a:lnTo>
                <a:lnTo>
                  <a:pt x="284" y="129"/>
                </a:lnTo>
                <a:lnTo>
                  <a:pt x="289" y="138"/>
                </a:lnTo>
                <a:lnTo>
                  <a:pt x="325" y="134"/>
                </a:lnTo>
                <a:lnTo>
                  <a:pt x="323" y="122"/>
                </a:lnTo>
                <a:lnTo>
                  <a:pt x="382" y="97"/>
                </a:lnTo>
                <a:lnTo>
                  <a:pt x="386" y="112"/>
                </a:lnTo>
                <a:lnTo>
                  <a:pt x="400" y="117"/>
                </a:lnTo>
                <a:lnTo>
                  <a:pt x="395" y="132"/>
                </a:lnTo>
                <a:lnTo>
                  <a:pt x="370" y="141"/>
                </a:lnTo>
                <a:lnTo>
                  <a:pt x="335" y="207"/>
                </a:lnTo>
                <a:lnTo>
                  <a:pt x="328" y="180"/>
                </a:lnTo>
                <a:lnTo>
                  <a:pt x="321" y="190"/>
                </a:lnTo>
                <a:lnTo>
                  <a:pt x="313" y="178"/>
                </a:lnTo>
                <a:lnTo>
                  <a:pt x="329" y="161"/>
                </a:lnTo>
                <a:lnTo>
                  <a:pt x="298" y="159"/>
                </a:lnTo>
                <a:lnTo>
                  <a:pt x="278" y="140"/>
                </a:lnTo>
                <a:lnTo>
                  <a:pt x="272" y="151"/>
                </a:lnTo>
                <a:lnTo>
                  <a:pt x="279" y="159"/>
                </a:lnTo>
                <a:lnTo>
                  <a:pt x="270" y="165"/>
                </a:lnTo>
                <a:lnTo>
                  <a:pt x="279" y="173"/>
                </a:lnTo>
                <a:lnTo>
                  <a:pt x="284" y="211"/>
                </a:lnTo>
                <a:lnTo>
                  <a:pt x="272" y="205"/>
                </a:lnTo>
                <a:lnTo>
                  <a:pt x="249" y="234"/>
                </a:lnTo>
                <a:lnTo>
                  <a:pt x="166" y="295"/>
                </a:lnTo>
                <a:lnTo>
                  <a:pt x="160" y="369"/>
                </a:lnTo>
                <a:lnTo>
                  <a:pt x="126" y="398"/>
                </a:lnTo>
                <a:lnTo>
                  <a:pt x="95" y="341"/>
                </a:lnTo>
                <a:lnTo>
                  <a:pt x="83" y="296"/>
                </a:lnTo>
                <a:lnTo>
                  <a:pt x="72" y="285"/>
                </a:lnTo>
                <a:lnTo>
                  <a:pt x="63" y="202"/>
                </a:lnTo>
                <a:lnTo>
                  <a:pt x="56" y="199"/>
                </a:lnTo>
                <a:lnTo>
                  <a:pt x="51" y="217"/>
                </a:lnTo>
                <a:lnTo>
                  <a:pt x="32" y="223"/>
                </a:lnTo>
                <a:lnTo>
                  <a:pt x="12" y="201"/>
                </a:lnTo>
                <a:lnTo>
                  <a:pt x="31" y="189"/>
                </a:lnTo>
                <a:lnTo>
                  <a:pt x="12" y="193"/>
                </a:lnTo>
                <a:lnTo>
                  <a:pt x="0" y="18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0" name="Freeform 623">
            <a:extLst>
              <a:ext uri="{FF2B5EF4-FFF2-40B4-BE49-F238E27FC236}">
                <a16:creationId xmlns:a16="http://schemas.microsoft.com/office/drawing/2014/main" id="{B85D8F1C-56D7-4360-927B-5B7067E9BFF5}"/>
              </a:ext>
            </a:extLst>
          </p:cNvPr>
          <p:cNvSpPr>
            <a:spLocks/>
          </p:cNvSpPr>
          <p:nvPr/>
        </p:nvSpPr>
        <p:spPr bwMode="auto">
          <a:xfrm>
            <a:off x="4752443" y="4733457"/>
            <a:ext cx="300763" cy="251482"/>
          </a:xfrm>
          <a:custGeom>
            <a:avLst/>
            <a:gdLst>
              <a:gd name="T0" fmla="*/ 0 w 262"/>
              <a:gd name="T1" fmla="*/ 12162959 h 224"/>
              <a:gd name="T2" fmla="*/ 0 w 262"/>
              <a:gd name="T3" fmla="*/ 12162959 h 224"/>
              <a:gd name="T4" fmla="*/ 10905410 w 262"/>
              <a:gd name="T5" fmla="*/ 0 h 224"/>
              <a:gd name="T6" fmla="*/ 42065151 w 262"/>
              <a:gd name="T7" fmla="*/ 29539366 h 224"/>
              <a:gd name="T8" fmla="*/ 81014809 w 262"/>
              <a:gd name="T9" fmla="*/ 5213449 h 224"/>
              <a:gd name="T10" fmla="*/ 84130302 w 262"/>
              <a:gd name="T11" fmla="*/ 27801989 h 224"/>
              <a:gd name="T12" fmla="*/ 102825638 w 262"/>
              <a:gd name="T13" fmla="*/ 36490190 h 224"/>
              <a:gd name="T14" fmla="*/ 105942360 w 262"/>
              <a:gd name="T15" fmla="*/ 60817427 h 224"/>
              <a:gd name="T16" fmla="*/ 162028369 w 262"/>
              <a:gd name="T17" fmla="*/ 88619426 h 224"/>
              <a:gd name="T18" fmla="*/ 213442456 w 262"/>
              <a:gd name="T19" fmla="*/ 79931205 h 224"/>
              <a:gd name="T20" fmla="*/ 208767998 w 262"/>
              <a:gd name="T21" fmla="*/ 66029556 h 224"/>
              <a:gd name="T22" fmla="*/ 275760660 w 262"/>
              <a:gd name="T23" fmla="*/ 41703638 h 224"/>
              <a:gd name="T24" fmla="*/ 363007722 w 262"/>
              <a:gd name="T25" fmla="*/ 85143335 h 224"/>
              <a:gd name="T26" fmla="*/ 364565459 w 262"/>
              <a:gd name="T27" fmla="*/ 109470581 h 224"/>
              <a:gd name="T28" fmla="*/ 350543333 w 262"/>
              <a:gd name="T29" fmla="*/ 152911586 h 224"/>
              <a:gd name="T30" fmla="*/ 353658806 w 262"/>
              <a:gd name="T31" fmla="*/ 215466409 h 224"/>
              <a:gd name="T32" fmla="*/ 375470864 w 262"/>
              <a:gd name="T33" fmla="*/ 234580188 h 224"/>
              <a:gd name="T34" fmla="*/ 356775527 w 262"/>
              <a:gd name="T35" fmla="*/ 265856920 h 224"/>
              <a:gd name="T36" fmla="*/ 406630590 w 262"/>
              <a:gd name="T37" fmla="*/ 337099903 h 224"/>
              <a:gd name="T38" fmla="*/ 373913127 w 262"/>
              <a:gd name="T39" fmla="*/ 387491814 h 224"/>
              <a:gd name="T40" fmla="*/ 283550592 w 262"/>
              <a:gd name="T41" fmla="*/ 370115413 h 224"/>
              <a:gd name="T42" fmla="*/ 263297519 w 262"/>
              <a:gd name="T43" fmla="*/ 338837280 h 224"/>
              <a:gd name="T44" fmla="*/ 200978066 w 262"/>
              <a:gd name="T45" fmla="*/ 349264258 h 224"/>
              <a:gd name="T46" fmla="*/ 155797422 w 262"/>
              <a:gd name="T47" fmla="*/ 317986125 h 224"/>
              <a:gd name="T48" fmla="*/ 124637696 w 262"/>
              <a:gd name="T49" fmla="*/ 258907414 h 224"/>
              <a:gd name="T50" fmla="*/ 101267901 w 262"/>
              <a:gd name="T51" fmla="*/ 248480518 h 224"/>
              <a:gd name="T52" fmla="*/ 95035706 w 262"/>
              <a:gd name="T53" fmla="*/ 262382167 h 224"/>
              <a:gd name="T54" fmla="*/ 66992682 w 262"/>
              <a:gd name="T55" fmla="*/ 201564761 h 224"/>
              <a:gd name="T56" fmla="*/ 28043015 w 262"/>
              <a:gd name="T57" fmla="*/ 165074540 h 224"/>
              <a:gd name="T58" fmla="*/ 46739609 w 262"/>
              <a:gd name="T59" fmla="*/ 109470581 h 224"/>
              <a:gd name="T60" fmla="*/ 29601999 w 262"/>
              <a:gd name="T61" fmla="*/ 102519757 h 224"/>
              <a:gd name="T62" fmla="*/ 14022131 w 262"/>
              <a:gd name="T63" fmla="*/ 71243004 h 224"/>
              <a:gd name="T64" fmla="*/ 0 w 262"/>
              <a:gd name="T65" fmla="*/ 12162959 h 224"/>
              <a:gd name="T66" fmla="*/ 0 w 262"/>
              <a:gd name="T67" fmla="*/ 12162959 h 22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2"/>
              <a:gd name="T103" fmla="*/ 0 h 224"/>
              <a:gd name="T104" fmla="*/ 262 w 262"/>
              <a:gd name="T105" fmla="*/ 224 h 22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2" h="224">
                <a:moveTo>
                  <a:pt x="0" y="7"/>
                </a:moveTo>
                <a:lnTo>
                  <a:pt x="0" y="7"/>
                </a:lnTo>
                <a:lnTo>
                  <a:pt x="7" y="0"/>
                </a:lnTo>
                <a:lnTo>
                  <a:pt x="27" y="17"/>
                </a:lnTo>
                <a:lnTo>
                  <a:pt x="52" y="3"/>
                </a:lnTo>
                <a:lnTo>
                  <a:pt x="54" y="16"/>
                </a:lnTo>
                <a:lnTo>
                  <a:pt x="66" y="21"/>
                </a:lnTo>
                <a:lnTo>
                  <a:pt x="68" y="35"/>
                </a:lnTo>
                <a:lnTo>
                  <a:pt x="104" y="51"/>
                </a:lnTo>
                <a:lnTo>
                  <a:pt x="137" y="46"/>
                </a:lnTo>
                <a:lnTo>
                  <a:pt x="134" y="38"/>
                </a:lnTo>
                <a:lnTo>
                  <a:pt x="177" y="24"/>
                </a:lnTo>
                <a:lnTo>
                  <a:pt x="233" y="49"/>
                </a:lnTo>
                <a:lnTo>
                  <a:pt x="234" y="63"/>
                </a:lnTo>
                <a:lnTo>
                  <a:pt x="225" y="88"/>
                </a:lnTo>
                <a:lnTo>
                  <a:pt x="227" y="124"/>
                </a:lnTo>
                <a:lnTo>
                  <a:pt x="241" y="135"/>
                </a:lnTo>
                <a:lnTo>
                  <a:pt x="229" y="153"/>
                </a:lnTo>
                <a:lnTo>
                  <a:pt x="261" y="194"/>
                </a:lnTo>
                <a:lnTo>
                  <a:pt x="240" y="223"/>
                </a:lnTo>
                <a:lnTo>
                  <a:pt x="182" y="213"/>
                </a:lnTo>
                <a:lnTo>
                  <a:pt x="169" y="195"/>
                </a:lnTo>
                <a:lnTo>
                  <a:pt x="129" y="201"/>
                </a:lnTo>
                <a:lnTo>
                  <a:pt x="100" y="183"/>
                </a:lnTo>
                <a:lnTo>
                  <a:pt x="80" y="149"/>
                </a:lnTo>
                <a:lnTo>
                  <a:pt x="65" y="143"/>
                </a:lnTo>
                <a:lnTo>
                  <a:pt x="61" y="151"/>
                </a:lnTo>
                <a:lnTo>
                  <a:pt x="43" y="116"/>
                </a:lnTo>
                <a:lnTo>
                  <a:pt x="18" y="95"/>
                </a:lnTo>
                <a:lnTo>
                  <a:pt x="30" y="63"/>
                </a:lnTo>
                <a:lnTo>
                  <a:pt x="19" y="59"/>
                </a:lnTo>
                <a:lnTo>
                  <a:pt x="9" y="41"/>
                </a:lnTo>
                <a:lnTo>
                  <a:pt x="0"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61" name="Group 35">
            <a:extLst>
              <a:ext uri="{FF2B5EF4-FFF2-40B4-BE49-F238E27FC236}">
                <a16:creationId xmlns:a16="http://schemas.microsoft.com/office/drawing/2014/main" id="{3284F7B8-57FE-4081-8B8F-001F664C8474}"/>
              </a:ext>
            </a:extLst>
          </p:cNvPr>
          <p:cNvGrpSpPr>
            <a:grpSpLocks/>
          </p:cNvGrpSpPr>
          <p:nvPr/>
        </p:nvGrpSpPr>
        <p:grpSpPr bwMode="auto">
          <a:xfrm>
            <a:off x="6091274" y="4633384"/>
            <a:ext cx="254042" cy="248777"/>
            <a:chOff x="4850" y="2769"/>
            <a:chExt cx="221" cy="223"/>
          </a:xfrm>
          <a:solidFill>
            <a:srgbClr val="00B050"/>
          </a:solidFill>
        </p:grpSpPr>
        <p:sp>
          <p:nvSpPr>
            <p:cNvPr id="296" name="Freeform 625">
              <a:extLst>
                <a:ext uri="{FF2B5EF4-FFF2-40B4-BE49-F238E27FC236}">
                  <a16:creationId xmlns:a16="http://schemas.microsoft.com/office/drawing/2014/main" id="{E616D42A-88D3-4AFA-B922-1A7BE1904149}"/>
                </a:ext>
              </a:extLst>
            </p:cNvPr>
            <p:cNvSpPr>
              <a:spLocks/>
            </p:cNvSpPr>
            <p:nvPr/>
          </p:nvSpPr>
          <p:spPr bwMode="auto">
            <a:xfrm>
              <a:off x="4850" y="2954"/>
              <a:ext cx="33" cy="38"/>
            </a:xfrm>
            <a:custGeom>
              <a:avLst/>
              <a:gdLst>
                <a:gd name="T0" fmla="*/ 0 w 33"/>
                <a:gd name="T1" fmla="*/ 10 h 38"/>
                <a:gd name="T2" fmla="*/ 0 w 33"/>
                <a:gd name="T3" fmla="*/ 10 h 38"/>
                <a:gd name="T4" fmla="*/ 1 w 33"/>
                <a:gd name="T5" fmla="*/ 19 h 38"/>
                <a:gd name="T6" fmla="*/ 8 w 33"/>
                <a:gd name="T7" fmla="*/ 10 h 38"/>
                <a:gd name="T8" fmla="*/ 12 w 33"/>
                <a:gd name="T9" fmla="*/ 15 h 38"/>
                <a:gd name="T10" fmla="*/ 8 w 33"/>
                <a:gd name="T11" fmla="*/ 37 h 38"/>
                <a:gd name="T12" fmla="*/ 23 w 33"/>
                <a:gd name="T13" fmla="*/ 37 h 38"/>
                <a:gd name="T14" fmla="*/ 32 w 33"/>
                <a:gd name="T15" fmla="*/ 14 h 38"/>
                <a:gd name="T16" fmla="*/ 27 w 33"/>
                <a:gd name="T17" fmla="*/ 1 h 38"/>
                <a:gd name="T18" fmla="*/ 12 w 33"/>
                <a:gd name="T19" fmla="*/ 0 h 38"/>
                <a:gd name="T20" fmla="*/ 0 w 33"/>
                <a:gd name="T21" fmla="*/ 10 h 38"/>
                <a:gd name="T22" fmla="*/ 0 w 33"/>
                <a:gd name="T23" fmla="*/ 10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8"/>
                <a:gd name="T38" fmla="*/ 33 w 33"/>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8">
                  <a:moveTo>
                    <a:pt x="0" y="10"/>
                  </a:moveTo>
                  <a:lnTo>
                    <a:pt x="0" y="10"/>
                  </a:lnTo>
                  <a:lnTo>
                    <a:pt x="1" y="19"/>
                  </a:lnTo>
                  <a:lnTo>
                    <a:pt x="8" y="10"/>
                  </a:lnTo>
                  <a:lnTo>
                    <a:pt x="12" y="15"/>
                  </a:lnTo>
                  <a:lnTo>
                    <a:pt x="8" y="37"/>
                  </a:lnTo>
                  <a:lnTo>
                    <a:pt x="23" y="37"/>
                  </a:lnTo>
                  <a:lnTo>
                    <a:pt x="32" y="14"/>
                  </a:lnTo>
                  <a:lnTo>
                    <a:pt x="27" y="1"/>
                  </a:lnTo>
                  <a:lnTo>
                    <a:pt x="12" y="0"/>
                  </a:lnTo>
                  <a:lnTo>
                    <a:pt x="0" y="1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7" name="Freeform 626">
              <a:extLst>
                <a:ext uri="{FF2B5EF4-FFF2-40B4-BE49-F238E27FC236}">
                  <a16:creationId xmlns:a16="http://schemas.microsoft.com/office/drawing/2014/main" id="{D168F5C9-5033-4E6F-B8D5-D77E4D9D65CA}"/>
                </a:ext>
              </a:extLst>
            </p:cNvPr>
            <p:cNvSpPr>
              <a:spLocks/>
            </p:cNvSpPr>
            <p:nvPr/>
          </p:nvSpPr>
          <p:spPr bwMode="auto">
            <a:xfrm>
              <a:off x="4866" y="2835"/>
              <a:ext cx="155" cy="125"/>
            </a:xfrm>
            <a:custGeom>
              <a:avLst/>
              <a:gdLst>
                <a:gd name="T0" fmla="*/ 0 w 155"/>
                <a:gd name="T1" fmla="*/ 116 h 125"/>
                <a:gd name="T2" fmla="*/ 0 w 155"/>
                <a:gd name="T3" fmla="*/ 116 h 125"/>
                <a:gd name="T4" fmla="*/ 27 w 155"/>
                <a:gd name="T5" fmla="*/ 93 h 125"/>
                <a:gd name="T6" fmla="*/ 66 w 155"/>
                <a:gd name="T7" fmla="*/ 93 h 125"/>
                <a:gd name="T8" fmla="*/ 82 w 155"/>
                <a:gd name="T9" fmla="*/ 65 h 125"/>
                <a:gd name="T10" fmla="*/ 89 w 155"/>
                <a:gd name="T11" fmla="*/ 63 h 125"/>
                <a:gd name="T12" fmla="*/ 89 w 155"/>
                <a:gd name="T13" fmla="*/ 74 h 125"/>
                <a:gd name="T14" fmla="*/ 107 w 155"/>
                <a:gd name="T15" fmla="*/ 63 h 125"/>
                <a:gd name="T16" fmla="*/ 122 w 155"/>
                <a:gd name="T17" fmla="*/ 42 h 125"/>
                <a:gd name="T18" fmla="*/ 129 w 155"/>
                <a:gd name="T19" fmla="*/ 6 h 125"/>
                <a:gd name="T20" fmla="*/ 141 w 155"/>
                <a:gd name="T21" fmla="*/ 8 h 125"/>
                <a:gd name="T22" fmla="*/ 137 w 155"/>
                <a:gd name="T23" fmla="*/ 0 h 125"/>
                <a:gd name="T24" fmla="*/ 144 w 155"/>
                <a:gd name="T25" fmla="*/ 1 h 125"/>
                <a:gd name="T26" fmla="*/ 154 w 155"/>
                <a:gd name="T27" fmla="*/ 30 h 125"/>
                <a:gd name="T28" fmla="*/ 141 w 155"/>
                <a:gd name="T29" fmla="*/ 51 h 125"/>
                <a:gd name="T30" fmla="*/ 141 w 155"/>
                <a:gd name="T31" fmla="*/ 70 h 125"/>
                <a:gd name="T32" fmla="*/ 131 w 155"/>
                <a:gd name="T33" fmla="*/ 98 h 125"/>
                <a:gd name="T34" fmla="*/ 124 w 155"/>
                <a:gd name="T35" fmla="*/ 102 h 125"/>
                <a:gd name="T36" fmla="*/ 124 w 155"/>
                <a:gd name="T37" fmla="*/ 91 h 125"/>
                <a:gd name="T38" fmla="*/ 101 w 155"/>
                <a:gd name="T39" fmla="*/ 107 h 125"/>
                <a:gd name="T40" fmla="*/ 82 w 155"/>
                <a:gd name="T41" fmla="*/ 100 h 125"/>
                <a:gd name="T42" fmla="*/ 83 w 155"/>
                <a:gd name="T43" fmla="*/ 113 h 125"/>
                <a:gd name="T44" fmla="*/ 67 w 155"/>
                <a:gd name="T45" fmla="*/ 124 h 125"/>
                <a:gd name="T46" fmla="*/ 62 w 155"/>
                <a:gd name="T47" fmla="*/ 106 h 125"/>
                <a:gd name="T48" fmla="*/ 0 w 155"/>
                <a:gd name="T49" fmla="*/ 116 h 125"/>
                <a:gd name="T50" fmla="*/ 0 w 155"/>
                <a:gd name="T51" fmla="*/ 116 h 1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5"/>
                <a:gd name="T79" fmla="*/ 0 h 125"/>
                <a:gd name="T80" fmla="*/ 155 w 155"/>
                <a:gd name="T81" fmla="*/ 125 h 12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5" h="125">
                  <a:moveTo>
                    <a:pt x="0" y="116"/>
                  </a:moveTo>
                  <a:lnTo>
                    <a:pt x="0" y="116"/>
                  </a:lnTo>
                  <a:lnTo>
                    <a:pt x="27" y="93"/>
                  </a:lnTo>
                  <a:lnTo>
                    <a:pt x="66" y="93"/>
                  </a:lnTo>
                  <a:lnTo>
                    <a:pt x="82" y="65"/>
                  </a:lnTo>
                  <a:lnTo>
                    <a:pt x="89" y="63"/>
                  </a:lnTo>
                  <a:lnTo>
                    <a:pt x="89" y="74"/>
                  </a:lnTo>
                  <a:lnTo>
                    <a:pt x="107" y="63"/>
                  </a:lnTo>
                  <a:lnTo>
                    <a:pt x="122" y="42"/>
                  </a:lnTo>
                  <a:lnTo>
                    <a:pt x="129" y="6"/>
                  </a:lnTo>
                  <a:lnTo>
                    <a:pt x="141" y="8"/>
                  </a:lnTo>
                  <a:lnTo>
                    <a:pt x="137" y="0"/>
                  </a:lnTo>
                  <a:lnTo>
                    <a:pt x="144" y="1"/>
                  </a:lnTo>
                  <a:lnTo>
                    <a:pt x="154" y="30"/>
                  </a:lnTo>
                  <a:lnTo>
                    <a:pt x="141" y="51"/>
                  </a:lnTo>
                  <a:lnTo>
                    <a:pt x="141" y="70"/>
                  </a:lnTo>
                  <a:lnTo>
                    <a:pt x="131" y="98"/>
                  </a:lnTo>
                  <a:lnTo>
                    <a:pt x="124" y="102"/>
                  </a:lnTo>
                  <a:lnTo>
                    <a:pt x="124" y="91"/>
                  </a:lnTo>
                  <a:lnTo>
                    <a:pt x="101" y="107"/>
                  </a:lnTo>
                  <a:lnTo>
                    <a:pt x="82" y="100"/>
                  </a:lnTo>
                  <a:lnTo>
                    <a:pt x="83" y="113"/>
                  </a:lnTo>
                  <a:lnTo>
                    <a:pt x="67" y="124"/>
                  </a:lnTo>
                  <a:lnTo>
                    <a:pt x="62" y="106"/>
                  </a:lnTo>
                  <a:lnTo>
                    <a:pt x="0" y="11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8" name="Freeform 627">
              <a:extLst>
                <a:ext uri="{FF2B5EF4-FFF2-40B4-BE49-F238E27FC236}">
                  <a16:creationId xmlns:a16="http://schemas.microsoft.com/office/drawing/2014/main" id="{065D8614-4825-4AE2-A869-FCEDF9F80387}"/>
                </a:ext>
              </a:extLst>
            </p:cNvPr>
            <p:cNvSpPr>
              <a:spLocks/>
            </p:cNvSpPr>
            <p:nvPr/>
          </p:nvSpPr>
          <p:spPr bwMode="auto">
            <a:xfrm>
              <a:off x="4885" y="2948"/>
              <a:ext cx="32" cy="23"/>
            </a:xfrm>
            <a:custGeom>
              <a:avLst/>
              <a:gdLst>
                <a:gd name="T0" fmla="*/ 0 w 32"/>
                <a:gd name="T1" fmla="*/ 12 h 23"/>
                <a:gd name="T2" fmla="*/ 0 w 32"/>
                <a:gd name="T3" fmla="*/ 12 h 23"/>
                <a:gd name="T4" fmla="*/ 10 w 32"/>
                <a:gd name="T5" fmla="*/ 22 h 23"/>
                <a:gd name="T6" fmla="*/ 28 w 32"/>
                <a:gd name="T7" fmla="*/ 14 h 23"/>
                <a:gd name="T8" fmla="*/ 31 w 32"/>
                <a:gd name="T9" fmla="*/ 0 h 23"/>
                <a:gd name="T10" fmla="*/ 0 w 32"/>
                <a:gd name="T11" fmla="*/ 12 h 23"/>
                <a:gd name="T12" fmla="*/ 0 w 32"/>
                <a:gd name="T13" fmla="*/ 12 h 23"/>
                <a:gd name="T14" fmla="*/ 0 60000 65536"/>
                <a:gd name="T15" fmla="*/ 0 60000 65536"/>
                <a:gd name="T16" fmla="*/ 0 60000 65536"/>
                <a:gd name="T17" fmla="*/ 0 60000 65536"/>
                <a:gd name="T18" fmla="*/ 0 60000 65536"/>
                <a:gd name="T19" fmla="*/ 0 60000 65536"/>
                <a:gd name="T20" fmla="*/ 0 60000 65536"/>
                <a:gd name="T21" fmla="*/ 0 w 32"/>
                <a:gd name="T22" fmla="*/ 0 h 23"/>
                <a:gd name="T23" fmla="*/ 32 w 32"/>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3">
                  <a:moveTo>
                    <a:pt x="0" y="12"/>
                  </a:moveTo>
                  <a:lnTo>
                    <a:pt x="0" y="12"/>
                  </a:lnTo>
                  <a:lnTo>
                    <a:pt x="10" y="22"/>
                  </a:lnTo>
                  <a:lnTo>
                    <a:pt x="28" y="14"/>
                  </a:lnTo>
                  <a:lnTo>
                    <a:pt x="31"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9" name="Freeform 628">
              <a:extLst>
                <a:ext uri="{FF2B5EF4-FFF2-40B4-BE49-F238E27FC236}">
                  <a16:creationId xmlns:a16="http://schemas.microsoft.com/office/drawing/2014/main" id="{4C7AB524-CCE6-49F7-8D9F-30746B9B9D62}"/>
                </a:ext>
              </a:extLst>
            </p:cNvPr>
            <p:cNvSpPr>
              <a:spLocks/>
            </p:cNvSpPr>
            <p:nvPr/>
          </p:nvSpPr>
          <p:spPr bwMode="auto">
            <a:xfrm>
              <a:off x="4990" y="2769"/>
              <a:ext cx="81" cy="67"/>
            </a:xfrm>
            <a:custGeom>
              <a:avLst/>
              <a:gdLst>
                <a:gd name="T0" fmla="*/ 0 w 81"/>
                <a:gd name="T1" fmla="*/ 47 h 67"/>
                <a:gd name="T2" fmla="*/ 0 w 81"/>
                <a:gd name="T3" fmla="*/ 47 h 67"/>
                <a:gd name="T4" fmla="*/ 3 w 81"/>
                <a:gd name="T5" fmla="*/ 66 h 67"/>
                <a:gd name="T6" fmla="*/ 17 w 81"/>
                <a:gd name="T7" fmla="*/ 59 h 67"/>
                <a:gd name="T8" fmla="*/ 8 w 81"/>
                <a:gd name="T9" fmla="*/ 48 h 67"/>
                <a:gd name="T10" fmla="*/ 46 w 81"/>
                <a:gd name="T11" fmla="*/ 58 h 67"/>
                <a:gd name="T12" fmla="*/ 55 w 81"/>
                <a:gd name="T13" fmla="*/ 42 h 67"/>
                <a:gd name="T14" fmla="*/ 80 w 81"/>
                <a:gd name="T15" fmla="*/ 37 h 67"/>
                <a:gd name="T16" fmla="*/ 71 w 81"/>
                <a:gd name="T17" fmla="*/ 27 h 67"/>
                <a:gd name="T18" fmla="*/ 74 w 81"/>
                <a:gd name="T19" fmla="*/ 18 h 67"/>
                <a:gd name="T20" fmla="*/ 53 w 81"/>
                <a:gd name="T21" fmla="*/ 20 h 67"/>
                <a:gd name="T22" fmla="*/ 27 w 81"/>
                <a:gd name="T23" fmla="*/ 0 h 67"/>
                <a:gd name="T24" fmla="*/ 18 w 81"/>
                <a:gd name="T25" fmla="*/ 38 h 67"/>
                <a:gd name="T26" fmla="*/ 7 w 81"/>
                <a:gd name="T27" fmla="*/ 35 h 67"/>
                <a:gd name="T28" fmla="*/ 0 w 81"/>
                <a:gd name="T29" fmla="*/ 47 h 67"/>
                <a:gd name="T30" fmla="*/ 0 w 81"/>
                <a:gd name="T31" fmla="*/ 47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1"/>
                <a:gd name="T49" fmla="*/ 0 h 67"/>
                <a:gd name="T50" fmla="*/ 81 w 81"/>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1" h="67">
                  <a:moveTo>
                    <a:pt x="0" y="47"/>
                  </a:moveTo>
                  <a:lnTo>
                    <a:pt x="0" y="47"/>
                  </a:lnTo>
                  <a:lnTo>
                    <a:pt x="3" y="66"/>
                  </a:lnTo>
                  <a:lnTo>
                    <a:pt x="17" y="59"/>
                  </a:lnTo>
                  <a:lnTo>
                    <a:pt x="8" y="48"/>
                  </a:lnTo>
                  <a:lnTo>
                    <a:pt x="46" y="58"/>
                  </a:lnTo>
                  <a:lnTo>
                    <a:pt x="55" y="42"/>
                  </a:lnTo>
                  <a:lnTo>
                    <a:pt x="80" y="37"/>
                  </a:lnTo>
                  <a:lnTo>
                    <a:pt x="71" y="27"/>
                  </a:lnTo>
                  <a:lnTo>
                    <a:pt x="74" y="18"/>
                  </a:lnTo>
                  <a:lnTo>
                    <a:pt x="53" y="20"/>
                  </a:lnTo>
                  <a:lnTo>
                    <a:pt x="27" y="0"/>
                  </a:lnTo>
                  <a:lnTo>
                    <a:pt x="18" y="38"/>
                  </a:lnTo>
                  <a:lnTo>
                    <a:pt x="7" y="35"/>
                  </a:lnTo>
                  <a:lnTo>
                    <a:pt x="0" y="4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62" name="Freeform 629">
            <a:extLst>
              <a:ext uri="{FF2B5EF4-FFF2-40B4-BE49-F238E27FC236}">
                <a16:creationId xmlns:a16="http://schemas.microsoft.com/office/drawing/2014/main" id="{72EBD9EE-39F0-4737-B62A-C4E42C1C0F95}"/>
              </a:ext>
            </a:extLst>
          </p:cNvPr>
          <p:cNvSpPr>
            <a:spLocks/>
          </p:cNvSpPr>
          <p:nvPr/>
        </p:nvSpPr>
        <p:spPr bwMode="auto">
          <a:xfrm>
            <a:off x="6008053" y="4680727"/>
            <a:ext cx="100740" cy="94643"/>
          </a:xfrm>
          <a:custGeom>
            <a:avLst/>
            <a:gdLst>
              <a:gd name="T0" fmla="*/ 0 w 87"/>
              <a:gd name="T1" fmla="*/ 82254980 h 84"/>
              <a:gd name="T2" fmla="*/ 0 w 87"/>
              <a:gd name="T3" fmla="*/ 82254980 h 84"/>
              <a:gd name="T4" fmla="*/ 25363482 w 87"/>
              <a:gd name="T5" fmla="*/ 94505205 h 84"/>
              <a:gd name="T6" fmla="*/ 9510832 w 87"/>
              <a:gd name="T7" fmla="*/ 136509117 h 84"/>
              <a:gd name="T8" fmla="*/ 47555429 w 87"/>
              <a:gd name="T9" fmla="*/ 145258884 h 84"/>
              <a:gd name="T10" fmla="*/ 87186425 w 87"/>
              <a:gd name="T11" fmla="*/ 120757154 h 84"/>
              <a:gd name="T12" fmla="*/ 69748624 w 87"/>
              <a:gd name="T13" fmla="*/ 87505655 h 84"/>
              <a:gd name="T14" fmla="*/ 115718915 w 87"/>
              <a:gd name="T15" fmla="*/ 56003032 h 84"/>
              <a:gd name="T16" fmla="*/ 136326972 w 87"/>
              <a:gd name="T17" fmla="*/ 14000427 h 84"/>
              <a:gd name="T18" fmla="*/ 134741833 w 87"/>
              <a:gd name="T19" fmla="*/ 8751093 h 84"/>
              <a:gd name="T20" fmla="*/ 125231004 w 87"/>
              <a:gd name="T21" fmla="*/ 0 h 84"/>
              <a:gd name="T22" fmla="*/ 84014889 w 87"/>
              <a:gd name="T23" fmla="*/ 28002177 h 84"/>
              <a:gd name="T24" fmla="*/ 84014889 w 87"/>
              <a:gd name="T25" fmla="*/ 43752828 h 84"/>
              <a:gd name="T26" fmla="*/ 55482379 w 87"/>
              <a:gd name="T27" fmla="*/ 38502163 h 84"/>
              <a:gd name="T28" fmla="*/ 0 w 87"/>
              <a:gd name="T29" fmla="*/ 82254980 h 84"/>
              <a:gd name="T30" fmla="*/ 0 w 87"/>
              <a:gd name="T31" fmla="*/ 82254980 h 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7"/>
              <a:gd name="T49" fmla="*/ 0 h 84"/>
              <a:gd name="T50" fmla="*/ 87 w 87"/>
              <a:gd name="T51" fmla="*/ 84 h 8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7" h="84">
                <a:moveTo>
                  <a:pt x="0" y="47"/>
                </a:moveTo>
                <a:lnTo>
                  <a:pt x="0" y="47"/>
                </a:lnTo>
                <a:lnTo>
                  <a:pt x="16" y="54"/>
                </a:lnTo>
                <a:lnTo>
                  <a:pt x="6" y="78"/>
                </a:lnTo>
                <a:lnTo>
                  <a:pt x="30" y="83"/>
                </a:lnTo>
                <a:lnTo>
                  <a:pt x="55" y="69"/>
                </a:lnTo>
                <a:lnTo>
                  <a:pt x="44" y="50"/>
                </a:lnTo>
                <a:lnTo>
                  <a:pt x="73" y="32"/>
                </a:lnTo>
                <a:lnTo>
                  <a:pt x="86" y="8"/>
                </a:lnTo>
                <a:lnTo>
                  <a:pt x="85" y="5"/>
                </a:lnTo>
                <a:lnTo>
                  <a:pt x="79" y="0"/>
                </a:lnTo>
                <a:lnTo>
                  <a:pt x="53" y="16"/>
                </a:lnTo>
                <a:lnTo>
                  <a:pt x="53" y="25"/>
                </a:lnTo>
                <a:lnTo>
                  <a:pt x="35" y="22"/>
                </a:lnTo>
                <a:lnTo>
                  <a:pt x="0" y="4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3" name="Freeform 630">
            <a:extLst>
              <a:ext uri="{FF2B5EF4-FFF2-40B4-BE49-F238E27FC236}">
                <a16:creationId xmlns:a16="http://schemas.microsoft.com/office/drawing/2014/main" id="{6A1D4621-CB0F-4600-999E-383FB5B7772B}"/>
              </a:ext>
            </a:extLst>
          </p:cNvPr>
          <p:cNvSpPr>
            <a:spLocks/>
          </p:cNvSpPr>
          <p:nvPr/>
        </p:nvSpPr>
        <p:spPr bwMode="auto">
          <a:xfrm>
            <a:off x="6038713" y="4759147"/>
            <a:ext cx="52561" cy="73011"/>
          </a:xfrm>
          <a:custGeom>
            <a:avLst/>
            <a:gdLst>
              <a:gd name="T0" fmla="*/ 0 w 48"/>
              <a:gd name="T1" fmla="*/ 109657851 h 66"/>
              <a:gd name="T2" fmla="*/ 0 w 48"/>
              <a:gd name="T3" fmla="*/ 109657851 h 66"/>
              <a:gd name="T4" fmla="*/ 7087791 w 48"/>
              <a:gd name="T5" fmla="*/ 23618536 h 66"/>
              <a:gd name="T6" fmla="*/ 42527939 w 48"/>
              <a:gd name="T7" fmla="*/ 0 h 66"/>
              <a:gd name="T8" fmla="*/ 66626182 w 48"/>
              <a:gd name="T9" fmla="*/ 67482449 h 66"/>
              <a:gd name="T10" fmla="*/ 42527939 w 48"/>
              <a:gd name="T11" fmla="*/ 99535812 h 66"/>
              <a:gd name="T12" fmla="*/ 0 w 48"/>
              <a:gd name="T13" fmla="*/ 109657851 h 66"/>
              <a:gd name="T14" fmla="*/ 0 w 48"/>
              <a:gd name="T15" fmla="*/ 109657851 h 66"/>
              <a:gd name="T16" fmla="*/ 0 60000 65536"/>
              <a:gd name="T17" fmla="*/ 0 60000 65536"/>
              <a:gd name="T18" fmla="*/ 0 60000 65536"/>
              <a:gd name="T19" fmla="*/ 0 60000 65536"/>
              <a:gd name="T20" fmla="*/ 0 60000 65536"/>
              <a:gd name="T21" fmla="*/ 0 60000 65536"/>
              <a:gd name="T22" fmla="*/ 0 60000 65536"/>
              <a:gd name="T23" fmla="*/ 0 60000 65536"/>
              <a:gd name="T24" fmla="*/ 0 w 48"/>
              <a:gd name="T25" fmla="*/ 0 h 66"/>
              <a:gd name="T26" fmla="*/ 48 w 48"/>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 h="66">
                <a:moveTo>
                  <a:pt x="0" y="65"/>
                </a:moveTo>
                <a:lnTo>
                  <a:pt x="0" y="65"/>
                </a:lnTo>
                <a:lnTo>
                  <a:pt x="5" y="14"/>
                </a:lnTo>
                <a:lnTo>
                  <a:pt x="30" y="0"/>
                </a:lnTo>
                <a:lnTo>
                  <a:pt x="47" y="40"/>
                </a:lnTo>
                <a:lnTo>
                  <a:pt x="30" y="59"/>
                </a:lnTo>
                <a:lnTo>
                  <a:pt x="0" y="6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4" name="Freeform 631">
            <a:extLst>
              <a:ext uri="{FF2B5EF4-FFF2-40B4-BE49-F238E27FC236}">
                <a16:creationId xmlns:a16="http://schemas.microsoft.com/office/drawing/2014/main" id="{45496A84-1710-4A3D-B2FE-F670417245AD}"/>
              </a:ext>
            </a:extLst>
          </p:cNvPr>
          <p:cNvSpPr>
            <a:spLocks/>
          </p:cNvSpPr>
          <p:nvPr/>
        </p:nvSpPr>
        <p:spPr bwMode="auto">
          <a:xfrm>
            <a:off x="5631371" y="5025501"/>
            <a:ext cx="112420" cy="127093"/>
          </a:xfrm>
          <a:custGeom>
            <a:avLst/>
            <a:gdLst>
              <a:gd name="T0" fmla="*/ 0 w 99"/>
              <a:gd name="T1" fmla="*/ 42094425 h 115"/>
              <a:gd name="T2" fmla="*/ 0 w 99"/>
              <a:gd name="T3" fmla="*/ 42094425 h 115"/>
              <a:gd name="T4" fmla="*/ 19818444 w 99"/>
              <a:gd name="T5" fmla="*/ 69035380 h 115"/>
              <a:gd name="T6" fmla="*/ 13720178 w 99"/>
              <a:gd name="T7" fmla="*/ 116181404 h 115"/>
              <a:gd name="T8" fmla="*/ 67079713 w 99"/>
              <a:gd name="T9" fmla="*/ 95976345 h 115"/>
              <a:gd name="T10" fmla="*/ 89946687 w 99"/>
              <a:gd name="T11" fmla="*/ 116181404 h 115"/>
              <a:gd name="T12" fmla="*/ 109766361 w 99"/>
              <a:gd name="T13" fmla="*/ 163327409 h 115"/>
              <a:gd name="T14" fmla="*/ 102143220 w 99"/>
              <a:gd name="T15" fmla="*/ 191951392 h 115"/>
              <a:gd name="T16" fmla="*/ 149403240 w 99"/>
              <a:gd name="T17" fmla="*/ 183532509 h 115"/>
              <a:gd name="T18" fmla="*/ 126536285 w 99"/>
              <a:gd name="T19" fmla="*/ 121232994 h 115"/>
              <a:gd name="T20" fmla="*/ 76226495 w 99"/>
              <a:gd name="T21" fmla="*/ 75769967 h 115"/>
              <a:gd name="T22" fmla="*/ 89946687 w 99"/>
              <a:gd name="T23" fmla="*/ 50513318 h 115"/>
              <a:gd name="T24" fmla="*/ 62505087 w 99"/>
              <a:gd name="T25" fmla="*/ 35359838 h 115"/>
              <a:gd name="T26" fmla="*/ 41161773 w 99"/>
              <a:gd name="T27" fmla="*/ 0 h 115"/>
              <a:gd name="T28" fmla="*/ 27441590 w 99"/>
              <a:gd name="T29" fmla="*/ 0 h 115"/>
              <a:gd name="T30" fmla="*/ 28966466 w 99"/>
              <a:gd name="T31" fmla="*/ 26940955 h 115"/>
              <a:gd name="T32" fmla="*/ 19818444 w 99"/>
              <a:gd name="T33" fmla="*/ 20205065 h 115"/>
              <a:gd name="T34" fmla="*/ 0 w 99"/>
              <a:gd name="T35" fmla="*/ 42094425 h 115"/>
              <a:gd name="T36" fmla="*/ 0 w 99"/>
              <a:gd name="T37" fmla="*/ 42094425 h 1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9"/>
              <a:gd name="T58" fmla="*/ 0 h 115"/>
              <a:gd name="T59" fmla="*/ 99 w 99"/>
              <a:gd name="T60" fmla="*/ 115 h 1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9" h="115">
                <a:moveTo>
                  <a:pt x="0" y="25"/>
                </a:moveTo>
                <a:lnTo>
                  <a:pt x="0" y="25"/>
                </a:lnTo>
                <a:lnTo>
                  <a:pt x="13" y="41"/>
                </a:lnTo>
                <a:lnTo>
                  <a:pt x="9" y="69"/>
                </a:lnTo>
                <a:lnTo>
                  <a:pt x="44" y="57"/>
                </a:lnTo>
                <a:lnTo>
                  <a:pt x="59" y="69"/>
                </a:lnTo>
                <a:lnTo>
                  <a:pt x="72" y="97"/>
                </a:lnTo>
                <a:lnTo>
                  <a:pt x="67" y="114"/>
                </a:lnTo>
                <a:lnTo>
                  <a:pt x="98" y="109"/>
                </a:lnTo>
                <a:lnTo>
                  <a:pt x="83" y="72"/>
                </a:lnTo>
                <a:lnTo>
                  <a:pt x="50" y="45"/>
                </a:lnTo>
                <a:lnTo>
                  <a:pt x="59" y="30"/>
                </a:lnTo>
                <a:lnTo>
                  <a:pt x="41" y="21"/>
                </a:lnTo>
                <a:lnTo>
                  <a:pt x="27" y="0"/>
                </a:lnTo>
                <a:lnTo>
                  <a:pt x="18" y="0"/>
                </a:lnTo>
                <a:lnTo>
                  <a:pt x="19" y="16"/>
                </a:lnTo>
                <a:lnTo>
                  <a:pt x="13" y="12"/>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65" name="Group 43">
            <a:extLst>
              <a:ext uri="{FF2B5EF4-FFF2-40B4-BE49-F238E27FC236}">
                <a16:creationId xmlns:a16="http://schemas.microsoft.com/office/drawing/2014/main" id="{F77E394B-8C62-4B0F-B274-008D38043D9A}"/>
              </a:ext>
            </a:extLst>
          </p:cNvPr>
          <p:cNvGrpSpPr>
            <a:grpSpLocks/>
          </p:cNvGrpSpPr>
          <p:nvPr/>
        </p:nvGrpSpPr>
        <p:grpSpPr bwMode="auto">
          <a:xfrm>
            <a:off x="1855776" y="3676147"/>
            <a:ext cx="1384088" cy="1023508"/>
            <a:chOff x="1156" y="1908"/>
            <a:chExt cx="1207" cy="919"/>
          </a:xfrm>
          <a:solidFill>
            <a:srgbClr val="00B050"/>
          </a:solidFill>
        </p:grpSpPr>
        <p:sp>
          <p:nvSpPr>
            <p:cNvPr id="277" name="Freeform 633">
              <a:extLst>
                <a:ext uri="{FF2B5EF4-FFF2-40B4-BE49-F238E27FC236}">
                  <a16:creationId xmlns:a16="http://schemas.microsoft.com/office/drawing/2014/main" id="{A8A5EE46-DA47-48F6-864D-98B8159A52FC}"/>
                </a:ext>
              </a:extLst>
            </p:cNvPr>
            <p:cNvSpPr>
              <a:spLocks/>
            </p:cNvSpPr>
            <p:nvPr/>
          </p:nvSpPr>
          <p:spPr bwMode="auto">
            <a:xfrm>
              <a:off x="1156" y="2232"/>
              <a:ext cx="1166" cy="595"/>
            </a:xfrm>
            <a:custGeom>
              <a:avLst/>
              <a:gdLst>
                <a:gd name="T0" fmla="*/ 93 w 1166"/>
                <a:gd name="T1" fmla="*/ 82 h 595"/>
                <a:gd name="T2" fmla="*/ 110 w 1166"/>
                <a:gd name="T3" fmla="*/ 69 h 595"/>
                <a:gd name="T4" fmla="*/ 177 w 1166"/>
                <a:gd name="T5" fmla="*/ 35 h 595"/>
                <a:gd name="T6" fmla="*/ 250 w 1166"/>
                <a:gd name="T7" fmla="*/ 52 h 595"/>
                <a:gd name="T8" fmla="*/ 347 w 1166"/>
                <a:gd name="T9" fmla="*/ 95 h 595"/>
                <a:gd name="T10" fmla="*/ 453 w 1166"/>
                <a:gd name="T11" fmla="*/ 123 h 595"/>
                <a:gd name="T12" fmla="*/ 450 w 1166"/>
                <a:gd name="T13" fmla="*/ 93 h 595"/>
                <a:gd name="T14" fmla="*/ 515 w 1166"/>
                <a:gd name="T15" fmla="*/ 93 h 595"/>
                <a:gd name="T16" fmla="*/ 595 w 1166"/>
                <a:gd name="T17" fmla="*/ 105 h 595"/>
                <a:gd name="T18" fmla="*/ 597 w 1166"/>
                <a:gd name="T19" fmla="*/ 85 h 595"/>
                <a:gd name="T20" fmla="*/ 624 w 1166"/>
                <a:gd name="T21" fmla="*/ 114 h 595"/>
                <a:gd name="T22" fmla="*/ 632 w 1166"/>
                <a:gd name="T23" fmla="*/ 78 h 595"/>
                <a:gd name="T24" fmla="*/ 620 w 1166"/>
                <a:gd name="T25" fmla="*/ 18 h 595"/>
                <a:gd name="T26" fmla="*/ 676 w 1166"/>
                <a:gd name="T27" fmla="*/ 44 h 595"/>
                <a:gd name="T28" fmla="*/ 685 w 1166"/>
                <a:gd name="T29" fmla="*/ 61 h 595"/>
                <a:gd name="T30" fmla="*/ 721 w 1166"/>
                <a:gd name="T31" fmla="*/ 76 h 595"/>
                <a:gd name="T32" fmla="*/ 743 w 1166"/>
                <a:gd name="T33" fmla="*/ 109 h 595"/>
                <a:gd name="T34" fmla="*/ 797 w 1166"/>
                <a:gd name="T35" fmla="*/ 55 h 595"/>
                <a:gd name="T36" fmla="*/ 798 w 1166"/>
                <a:gd name="T37" fmla="*/ 85 h 595"/>
                <a:gd name="T38" fmla="*/ 783 w 1166"/>
                <a:gd name="T39" fmla="*/ 137 h 595"/>
                <a:gd name="T40" fmla="*/ 695 w 1166"/>
                <a:gd name="T41" fmla="*/ 143 h 595"/>
                <a:gd name="T42" fmla="*/ 698 w 1166"/>
                <a:gd name="T43" fmla="*/ 183 h 595"/>
                <a:gd name="T44" fmla="*/ 689 w 1166"/>
                <a:gd name="T45" fmla="*/ 208 h 595"/>
                <a:gd name="T46" fmla="*/ 661 w 1166"/>
                <a:gd name="T47" fmla="*/ 226 h 595"/>
                <a:gd name="T48" fmla="*/ 653 w 1166"/>
                <a:gd name="T49" fmla="*/ 293 h 595"/>
                <a:gd name="T50" fmla="*/ 759 w 1166"/>
                <a:gd name="T51" fmla="*/ 359 h 595"/>
                <a:gd name="T52" fmla="*/ 800 w 1166"/>
                <a:gd name="T53" fmla="*/ 404 h 595"/>
                <a:gd name="T54" fmla="*/ 817 w 1166"/>
                <a:gd name="T55" fmla="*/ 440 h 595"/>
                <a:gd name="T56" fmla="*/ 836 w 1166"/>
                <a:gd name="T57" fmla="*/ 375 h 595"/>
                <a:gd name="T58" fmla="*/ 849 w 1166"/>
                <a:gd name="T59" fmla="*/ 293 h 595"/>
                <a:gd name="T60" fmla="*/ 858 w 1166"/>
                <a:gd name="T61" fmla="*/ 252 h 595"/>
                <a:gd name="T62" fmla="*/ 900 w 1166"/>
                <a:gd name="T63" fmla="*/ 225 h 595"/>
                <a:gd name="T64" fmla="*/ 974 w 1166"/>
                <a:gd name="T65" fmla="*/ 248 h 595"/>
                <a:gd name="T66" fmla="*/ 980 w 1166"/>
                <a:gd name="T67" fmla="*/ 283 h 595"/>
                <a:gd name="T68" fmla="*/ 978 w 1166"/>
                <a:gd name="T69" fmla="*/ 312 h 595"/>
                <a:gd name="T70" fmla="*/ 1022 w 1166"/>
                <a:gd name="T71" fmla="*/ 300 h 595"/>
                <a:gd name="T72" fmla="*/ 1061 w 1166"/>
                <a:gd name="T73" fmla="*/ 285 h 595"/>
                <a:gd name="T74" fmla="*/ 1058 w 1166"/>
                <a:gd name="T75" fmla="*/ 300 h 595"/>
                <a:gd name="T76" fmla="*/ 1079 w 1166"/>
                <a:gd name="T77" fmla="*/ 316 h 595"/>
                <a:gd name="T78" fmla="*/ 1082 w 1166"/>
                <a:gd name="T79" fmla="*/ 336 h 595"/>
                <a:gd name="T80" fmla="*/ 1118 w 1166"/>
                <a:gd name="T81" fmla="*/ 362 h 595"/>
                <a:gd name="T82" fmla="*/ 1144 w 1166"/>
                <a:gd name="T83" fmla="*/ 381 h 595"/>
                <a:gd name="T84" fmla="*/ 1156 w 1166"/>
                <a:gd name="T85" fmla="*/ 400 h 595"/>
                <a:gd name="T86" fmla="*/ 985 w 1166"/>
                <a:gd name="T87" fmla="*/ 477 h 595"/>
                <a:gd name="T88" fmla="*/ 1047 w 1166"/>
                <a:gd name="T89" fmla="*/ 482 h 595"/>
                <a:gd name="T90" fmla="*/ 1053 w 1166"/>
                <a:gd name="T91" fmla="*/ 527 h 595"/>
                <a:gd name="T92" fmla="*/ 1108 w 1166"/>
                <a:gd name="T93" fmla="*/ 523 h 595"/>
                <a:gd name="T94" fmla="*/ 1022 w 1166"/>
                <a:gd name="T95" fmla="*/ 552 h 595"/>
                <a:gd name="T96" fmla="*/ 1010 w 1166"/>
                <a:gd name="T97" fmla="*/ 540 h 595"/>
                <a:gd name="T98" fmla="*/ 960 w 1166"/>
                <a:gd name="T99" fmla="*/ 539 h 595"/>
                <a:gd name="T100" fmla="*/ 846 w 1166"/>
                <a:gd name="T101" fmla="*/ 574 h 595"/>
                <a:gd name="T102" fmla="*/ 798 w 1166"/>
                <a:gd name="T103" fmla="*/ 582 h 595"/>
                <a:gd name="T104" fmla="*/ 820 w 1166"/>
                <a:gd name="T105" fmla="*/ 550 h 595"/>
                <a:gd name="T106" fmla="*/ 770 w 1166"/>
                <a:gd name="T107" fmla="*/ 518 h 595"/>
                <a:gd name="T108" fmla="*/ 735 w 1166"/>
                <a:gd name="T109" fmla="*/ 479 h 595"/>
                <a:gd name="T110" fmla="*/ 634 w 1166"/>
                <a:gd name="T111" fmla="*/ 480 h 595"/>
                <a:gd name="T112" fmla="*/ 244 w 1166"/>
                <a:gd name="T113" fmla="*/ 462 h 595"/>
                <a:gd name="T114" fmla="*/ 188 w 1166"/>
                <a:gd name="T115" fmla="*/ 431 h 595"/>
                <a:gd name="T116" fmla="*/ 149 w 1166"/>
                <a:gd name="T117" fmla="*/ 366 h 595"/>
                <a:gd name="T118" fmla="*/ 48 w 1166"/>
                <a:gd name="T119" fmla="*/ 291 h 595"/>
                <a:gd name="T120" fmla="*/ 0 w 1166"/>
                <a:gd name="T121" fmla="*/ 264 h 59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6"/>
                <a:gd name="T184" fmla="*/ 0 h 595"/>
                <a:gd name="T185" fmla="*/ 1166 w 1166"/>
                <a:gd name="T186" fmla="*/ 595 h 59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6" h="595">
                  <a:moveTo>
                    <a:pt x="0" y="264"/>
                  </a:moveTo>
                  <a:lnTo>
                    <a:pt x="0" y="264"/>
                  </a:lnTo>
                  <a:lnTo>
                    <a:pt x="0" y="55"/>
                  </a:lnTo>
                  <a:lnTo>
                    <a:pt x="93" y="82"/>
                  </a:lnTo>
                  <a:lnTo>
                    <a:pt x="88" y="71"/>
                  </a:lnTo>
                  <a:lnTo>
                    <a:pt x="98" y="64"/>
                  </a:lnTo>
                  <a:lnTo>
                    <a:pt x="154" y="42"/>
                  </a:lnTo>
                  <a:lnTo>
                    <a:pt x="110" y="69"/>
                  </a:lnTo>
                  <a:lnTo>
                    <a:pt x="136" y="62"/>
                  </a:lnTo>
                  <a:lnTo>
                    <a:pt x="136" y="67"/>
                  </a:lnTo>
                  <a:lnTo>
                    <a:pt x="183" y="43"/>
                  </a:lnTo>
                  <a:lnTo>
                    <a:pt x="177" y="35"/>
                  </a:lnTo>
                  <a:lnTo>
                    <a:pt x="207" y="64"/>
                  </a:lnTo>
                  <a:lnTo>
                    <a:pt x="227" y="47"/>
                  </a:lnTo>
                  <a:lnTo>
                    <a:pt x="225" y="64"/>
                  </a:lnTo>
                  <a:lnTo>
                    <a:pt x="250" y="52"/>
                  </a:lnTo>
                  <a:lnTo>
                    <a:pt x="319" y="73"/>
                  </a:lnTo>
                  <a:lnTo>
                    <a:pt x="351" y="72"/>
                  </a:lnTo>
                  <a:lnTo>
                    <a:pt x="369" y="85"/>
                  </a:lnTo>
                  <a:lnTo>
                    <a:pt x="347" y="95"/>
                  </a:lnTo>
                  <a:lnTo>
                    <a:pt x="360" y="100"/>
                  </a:lnTo>
                  <a:lnTo>
                    <a:pt x="422" y="94"/>
                  </a:lnTo>
                  <a:lnTo>
                    <a:pt x="450" y="112"/>
                  </a:lnTo>
                  <a:lnTo>
                    <a:pt x="453" y="123"/>
                  </a:lnTo>
                  <a:lnTo>
                    <a:pt x="460" y="116"/>
                  </a:lnTo>
                  <a:lnTo>
                    <a:pt x="450" y="100"/>
                  </a:lnTo>
                  <a:lnTo>
                    <a:pt x="479" y="80"/>
                  </a:lnTo>
                  <a:lnTo>
                    <a:pt x="450" y="93"/>
                  </a:lnTo>
                  <a:lnTo>
                    <a:pt x="440" y="87"/>
                  </a:lnTo>
                  <a:lnTo>
                    <a:pt x="475" y="72"/>
                  </a:lnTo>
                  <a:lnTo>
                    <a:pt x="494" y="93"/>
                  </a:lnTo>
                  <a:lnTo>
                    <a:pt x="515" y="93"/>
                  </a:lnTo>
                  <a:lnTo>
                    <a:pt x="528" y="102"/>
                  </a:lnTo>
                  <a:lnTo>
                    <a:pt x="582" y="100"/>
                  </a:lnTo>
                  <a:lnTo>
                    <a:pt x="580" y="93"/>
                  </a:lnTo>
                  <a:lnTo>
                    <a:pt x="595" y="105"/>
                  </a:lnTo>
                  <a:lnTo>
                    <a:pt x="598" y="95"/>
                  </a:lnTo>
                  <a:lnTo>
                    <a:pt x="586" y="99"/>
                  </a:lnTo>
                  <a:lnTo>
                    <a:pt x="577" y="86"/>
                  </a:lnTo>
                  <a:lnTo>
                    <a:pt x="597" y="85"/>
                  </a:lnTo>
                  <a:lnTo>
                    <a:pt x="605" y="94"/>
                  </a:lnTo>
                  <a:lnTo>
                    <a:pt x="613" y="91"/>
                  </a:lnTo>
                  <a:lnTo>
                    <a:pt x="609" y="106"/>
                  </a:lnTo>
                  <a:lnTo>
                    <a:pt x="624" y="114"/>
                  </a:lnTo>
                  <a:lnTo>
                    <a:pt x="620" y="93"/>
                  </a:lnTo>
                  <a:lnTo>
                    <a:pt x="648" y="81"/>
                  </a:lnTo>
                  <a:lnTo>
                    <a:pt x="640" y="71"/>
                  </a:lnTo>
                  <a:lnTo>
                    <a:pt x="632" y="78"/>
                  </a:lnTo>
                  <a:lnTo>
                    <a:pt x="646" y="61"/>
                  </a:lnTo>
                  <a:lnTo>
                    <a:pt x="607" y="48"/>
                  </a:lnTo>
                  <a:lnTo>
                    <a:pt x="611" y="17"/>
                  </a:lnTo>
                  <a:lnTo>
                    <a:pt x="620" y="18"/>
                  </a:lnTo>
                  <a:lnTo>
                    <a:pt x="625" y="0"/>
                  </a:lnTo>
                  <a:lnTo>
                    <a:pt x="655" y="17"/>
                  </a:lnTo>
                  <a:lnTo>
                    <a:pt x="656" y="29"/>
                  </a:lnTo>
                  <a:lnTo>
                    <a:pt x="676" y="44"/>
                  </a:lnTo>
                  <a:lnTo>
                    <a:pt x="663" y="44"/>
                  </a:lnTo>
                  <a:lnTo>
                    <a:pt x="668" y="49"/>
                  </a:lnTo>
                  <a:lnTo>
                    <a:pt x="661" y="56"/>
                  </a:lnTo>
                  <a:lnTo>
                    <a:pt x="685" y="61"/>
                  </a:lnTo>
                  <a:lnTo>
                    <a:pt x="677" y="64"/>
                  </a:lnTo>
                  <a:lnTo>
                    <a:pt x="692" y="90"/>
                  </a:lnTo>
                  <a:lnTo>
                    <a:pt x="704" y="67"/>
                  </a:lnTo>
                  <a:lnTo>
                    <a:pt x="721" y="76"/>
                  </a:lnTo>
                  <a:lnTo>
                    <a:pt x="726" y="91"/>
                  </a:lnTo>
                  <a:lnTo>
                    <a:pt x="717" y="95"/>
                  </a:lnTo>
                  <a:lnTo>
                    <a:pt x="733" y="114"/>
                  </a:lnTo>
                  <a:lnTo>
                    <a:pt x="743" y="109"/>
                  </a:lnTo>
                  <a:lnTo>
                    <a:pt x="755" y="81"/>
                  </a:lnTo>
                  <a:lnTo>
                    <a:pt x="769" y="78"/>
                  </a:lnTo>
                  <a:lnTo>
                    <a:pt x="758" y="53"/>
                  </a:lnTo>
                  <a:lnTo>
                    <a:pt x="797" y="55"/>
                  </a:lnTo>
                  <a:lnTo>
                    <a:pt x="814" y="69"/>
                  </a:lnTo>
                  <a:lnTo>
                    <a:pt x="807" y="77"/>
                  </a:lnTo>
                  <a:lnTo>
                    <a:pt x="815" y="81"/>
                  </a:lnTo>
                  <a:lnTo>
                    <a:pt x="798" y="85"/>
                  </a:lnTo>
                  <a:lnTo>
                    <a:pt x="813" y="117"/>
                  </a:lnTo>
                  <a:lnTo>
                    <a:pt x="788" y="134"/>
                  </a:lnTo>
                  <a:lnTo>
                    <a:pt x="779" y="126"/>
                  </a:lnTo>
                  <a:lnTo>
                    <a:pt x="783" y="137"/>
                  </a:lnTo>
                  <a:lnTo>
                    <a:pt x="743" y="129"/>
                  </a:lnTo>
                  <a:lnTo>
                    <a:pt x="751" y="140"/>
                  </a:lnTo>
                  <a:lnTo>
                    <a:pt x="735" y="156"/>
                  </a:lnTo>
                  <a:lnTo>
                    <a:pt x="695" y="143"/>
                  </a:lnTo>
                  <a:lnTo>
                    <a:pt x="710" y="156"/>
                  </a:lnTo>
                  <a:lnTo>
                    <a:pt x="739" y="159"/>
                  </a:lnTo>
                  <a:lnTo>
                    <a:pt x="719" y="185"/>
                  </a:lnTo>
                  <a:lnTo>
                    <a:pt x="698" y="183"/>
                  </a:lnTo>
                  <a:lnTo>
                    <a:pt x="688" y="197"/>
                  </a:lnTo>
                  <a:lnTo>
                    <a:pt x="650" y="185"/>
                  </a:lnTo>
                  <a:lnTo>
                    <a:pt x="685" y="197"/>
                  </a:lnTo>
                  <a:lnTo>
                    <a:pt x="689" y="208"/>
                  </a:lnTo>
                  <a:lnTo>
                    <a:pt x="663" y="212"/>
                  </a:lnTo>
                  <a:lnTo>
                    <a:pt x="668" y="215"/>
                  </a:lnTo>
                  <a:lnTo>
                    <a:pt x="661" y="216"/>
                  </a:lnTo>
                  <a:lnTo>
                    <a:pt x="661" y="226"/>
                  </a:lnTo>
                  <a:lnTo>
                    <a:pt x="633" y="241"/>
                  </a:lnTo>
                  <a:lnTo>
                    <a:pt x="627" y="289"/>
                  </a:lnTo>
                  <a:lnTo>
                    <a:pt x="638" y="300"/>
                  </a:lnTo>
                  <a:lnTo>
                    <a:pt x="653" y="293"/>
                  </a:lnTo>
                  <a:lnTo>
                    <a:pt x="659" y="330"/>
                  </a:lnTo>
                  <a:lnTo>
                    <a:pt x="681" y="322"/>
                  </a:lnTo>
                  <a:lnTo>
                    <a:pt x="707" y="333"/>
                  </a:lnTo>
                  <a:lnTo>
                    <a:pt x="759" y="359"/>
                  </a:lnTo>
                  <a:lnTo>
                    <a:pt x="755" y="370"/>
                  </a:lnTo>
                  <a:lnTo>
                    <a:pt x="761" y="362"/>
                  </a:lnTo>
                  <a:lnTo>
                    <a:pt x="800" y="364"/>
                  </a:lnTo>
                  <a:lnTo>
                    <a:pt x="800" y="404"/>
                  </a:lnTo>
                  <a:lnTo>
                    <a:pt x="812" y="417"/>
                  </a:lnTo>
                  <a:lnTo>
                    <a:pt x="803" y="420"/>
                  </a:lnTo>
                  <a:lnTo>
                    <a:pt x="823" y="427"/>
                  </a:lnTo>
                  <a:lnTo>
                    <a:pt x="817" y="440"/>
                  </a:lnTo>
                  <a:lnTo>
                    <a:pt x="836" y="439"/>
                  </a:lnTo>
                  <a:lnTo>
                    <a:pt x="862" y="418"/>
                  </a:lnTo>
                  <a:lnTo>
                    <a:pt x="851" y="413"/>
                  </a:lnTo>
                  <a:lnTo>
                    <a:pt x="836" y="375"/>
                  </a:lnTo>
                  <a:lnTo>
                    <a:pt x="885" y="342"/>
                  </a:lnTo>
                  <a:lnTo>
                    <a:pt x="877" y="342"/>
                  </a:lnTo>
                  <a:lnTo>
                    <a:pt x="867" y="303"/>
                  </a:lnTo>
                  <a:lnTo>
                    <a:pt x="849" y="293"/>
                  </a:lnTo>
                  <a:lnTo>
                    <a:pt x="872" y="277"/>
                  </a:lnTo>
                  <a:lnTo>
                    <a:pt x="864" y="269"/>
                  </a:lnTo>
                  <a:lnTo>
                    <a:pt x="868" y="255"/>
                  </a:lnTo>
                  <a:lnTo>
                    <a:pt x="858" y="252"/>
                  </a:lnTo>
                  <a:lnTo>
                    <a:pt x="868" y="238"/>
                  </a:lnTo>
                  <a:lnTo>
                    <a:pt x="857" y="229"/>
                  </a:lnTo>
                  <a:lnTo>
                    <a:pt x="863" y="216"/>
                  </a:lnTo>
                  <a:lnTo>
                    <a:pt x="900" y="225"/>
                  </a:lnTo>
                  <a:lnTo>
                    <a:pt x="916" y="218"/>
                  </a:lnTo>
                  <a:lnTo>
                    <a:pt x="947" y="238"/>
                  </a:lnTo>
                  <a:lnTo>
                    <a:pt x="947" y="246"/>
                  </a:lnTo>
                  <a:lnTo>
                    <a:pt x="974" y="248"/>
                  </a:lnTo>
                  <a:lnTo>
                    <a:pt x="977" y="267"/>
                  </a:lnTo>
                  <a:lnTo>
                    <a:pt x="953" y="268"/>
                  </a:lnTo>
                  <a:lnTo>
                    <a:pt x="973" y="271"/>
                  </a:lnTo>
                  <a:lnTo>
                    <a:pt x="980" y="283"/>
                  </a:lnTo>
                  <a:lnTo>
                    <a:pt x="958" y="300"/>
                  </a:lnTo>
                  <a:lnTo>
                    <a:pt x="990" y="292"/>
                  </a:lnTo>
                  <a:lnTo>
                    <a:pt x="992" y="306"/>
                  </a:lnTo>
                  <a:lnTo>
                    <a:pt x="978" y="312"/>
                  </a:lnTo>
                  <a:lnTo>
                    <a:pt x="998" y="297"/>
                  </a:lnTo>
                  <a:lnTo>
                    <a:pt x="1000" y="307"/>
                  </a:lnTo>
                  <a:lnTo>
                    <a:pt x="1018" y="292"/>
                  </a:lnTo>
                  <a:lnTo>
                    <a:pt x="1022" y="300"/>
                  </a:lnTo>
                  <a:lnTo>
                    <a:pt x="1035" y="279"/>
                  </a:lnTo>
                  <a:lnTo>
                    <a:pt x="1030" y="275"/>
                  </a:lnTo>
                  <a:lnTo>
                    <a:pt x="1045" y="264"/>
                  </a:lnTo>
                  <a:lnTo>
                    <a:pt x="1061" y="285"/>
                  </a:lnTo>
                  <a:lnTo>
                    <a:pt x="1047" y="291"/>
                  </a:lnTo>
                  <a:lnTo>
                    <a:pt x="1062" y="288"/>
                  </a:lnTo>
                  <a:lnTo>
                    <a:pt x="1068" y="297"/>
                  </a:lnTo>
                  <a:lnTo>
                    <a:pt x="1058" y="300"/>
                  </a:lnTo>
                  <a:lnTo>
                    <a:pt x="1071" y="301"/>
                  </a:lnTo>
                  <a:lnTo>
                    <a:pt x="1062" y="308"/>
                  </a:lnTo>
                  <a:lnTo>
                    <a:pt x="1072" y="306"/>
                  </a:lnTo>
                  <a:lnTo>
                    <a:pt x="1079" y="316"/>
                  </a:lnTo>
                  <a:lnTo>
                    <a:pt x="1074" y="320"/>
                  </a:lnTo>
                  <a:lnTo>
                    <a:pt x="1088" y="328"/>
                  </a:lnTo>
                  <a:lnTo>
                    <a:pt x="1066" y="336"/>
                  </a:lnTo>
                  <a:lnTo>
                    <a:pt x="1082" y="336"/>
                  </a:lnTo>
                  <a:lnTo>
                    <a:pt x="1079" y="344"/>
                  </a:lnTo>
                  <a:lnTo>
                    <a:pt x="1102" y="351"/>
                  </a:lnTo>
                  <a:lnTo>
                    <a:pt x="1110" y="369"/>
                  </a:lnTo>
                  <a:lnTo>
                    <a:pt x="1118" y="362"/>
                  </a:lnTo>
                  <a:lnTo>
                    <a:pt x="1142" y="375"/>
                  </a:lnTo>
                  <a:lnTo>
                    <a:pt x="1091" y="390"/>
                  </a:lnTo>
                  <a:lnTo>
                    <a:pt x="1102" y="399"/>
                  </a:lnTo>
                  <a:lnTo>
                    <a:pt x="1144" y="381"/>
                  </a:lnTo>
                  <a:lnTo>
                    <a:pt x="1144" y="396"/>
                  </a:lnTo>
                  <a:lnTo>
                    <a:pt x="1163" y="393"/>
                  </a:lnTo>
                  <a:lnTo>
                    <a:pt x="1165" y="400"/>
                  </a:lnTo>
                  <a:lnTo>
                    <a:pt x="1156" y="400"/>
                  </a:lnTo>
                  <a:lnTo>
                    <a:pt x="1165" y="418"/>
                  </a:lnTo>
                  <a:lnTo>
                    <a:pt x="1106" y="453"/>
                  </a:lnTo>
                  <a:lnTo>
                    <a:pt x="1021" y="453"/>
                  </a:lnTo>
                  <a:lnTo>
                    <a:pt x="985" y="477"/>
                  </a:lnTo>
                  <a:lnTo>
                    <a:pt x="955" y="513"/>
                  </a:lnTo>
                  <a:lnTo>
                    <a:pt x="985" y="486"/>
                  </a:lnTo>
                  <a:lnTo>
                    <a:pt x="1031" y="470"/>
                  </a:lnTo>
                  <a:lnTo>
                    <a:pt x="1047" y="482"/>
                  </a:lnTo>
                  <a:lnTo>
                    <a:pt x="1017" y="492"/>
                  </a:lnTo>
                  <a:lnTo>
                    <a:pt x="1041" y="497"/>
                  </a:lnTo>
                  <a:lnTo>
                    <a:pt x="1035" y="508"/>
                  </a:lnTo>
                  <a:lnTo>
                    <a:pt x="1053" y="527"/>
                  </a:lnTo>
                  <a:lnTo>
                    <a:pt x="1089" y="535"/>
                  </a:lnTo>
                  <a:lnTo>
                    <a:pt x="1098" y="510"/>
                  </a:lnTo>
                  <a:lnTo>
                    <a:pt x="1098" y="525"/>
                  </a:lnTo>
                  <a:lnTo>
                    <a:pt x="1108" y="523"/>
                  </a:lnTo>
                  <a:lnTo>
                    <a:pt x="1091" y="539"/>
                  </a:lnTo>
                  <a:lnTo>
                    <a:pt x="1049" y="550"/>
                  </a:lnTo>
                  <a:lnTo>
                    <a:pt x="1034" y="568"/>
                  </a:lnTo>
                  <a:lnTo>
                    <a:pt x="1022" y="552"/>
                  </a:lnTo>
                  <a:lnTo>
                    <a:pt x="1062" y="537"/>
                  </a:lnTo>
                  <a:lnTo>
                    <a:pt x="1041" y="538"/>
                  </a:lnTo>
                  <a:lnTo>
                    <a:pt x="1045" y="527"/>
                  </a:lnTo>
                  <a:lnTo>
                    <a:pt x="1010" y="540"/>
                  </a:lnTo>
                  <a:lnTo>
                    <a:pt x="1000" y="532"/>
                  </a:lnTo>
                  <a:lnTo>
                    <a:pt x="1000" y="510"/>
                  </a:lnTo>
                  <a:lnTo>
                    <a:pt x="977" y="503"/>
                  </a:lnTo>
                  <a:lnTo>
                    <a:pt x="960" y="539"/>
                  </a:lnTo>
                  <a:lnTo>
                    <a:pt x="891" y="552"/>
                  </a:lnTo>
                  <a:lnTo>
                    <a:pt x="843" y="566"/>
                  </a:lnTo>
                  <a:lnTo>
                    <a:pt x="835" y="572"/>
                  </a:lnTo>
                  <a:lnTo>
                    <a:pt x="846" y="574"/>
                  </a:lnTo>
                  <a:lnTo>
                    <a:pt x="849" y="579"/>
                  </a:lnTo>
                  <a:lnTo>
                    <a:pt x="791" y="594"/>
                  </a:lnTo>
                  <a:lnTo>
                    <a:pt x="794" y="587"/>
                  </a:lnTo>
                  <a:lnTo>
                    <a:pt x="798" y="582"/>
                  </a:lnTo>
                  <a:lnTo>
                    <a:pt x="800" y="576"/>
                  </a:lnTo>
                  <a:lnTo>
                    <a:pt x="809" y="571"/>
                  </a:lnTo>
                  <a:lnTo>
                    <a:pt x="810" y="539"/>
                  </a:lnTo>
                  <a:lnTo>
                    <a:pt x="820" y="550"/>
                  </a:lnTo>
                  <a:lnTo>
                    <a:pt x="837" y="546"/>
                  </a:lnTo>
                  <a:lnTo>
                    <a:pt x="823" y="527"/>
                  </a:lnTo>
                  <a:lnTo>
                    <a:pt x="773" y="518"/>
                  </a:lnTo>
                  <a:lnTo>
                    <a:pt x="770" y="518"/>
                  </a:lnTo>
                  <a:lnTo>
                    <a:pt x="765" y="493"/>
                  </a:lnTo>
                  <a:lnTo>
                    <a:pt x="755" y="495"/>
                  </a:lnTo>
                  <a:lnTo>
                    <a:pt x="746" y="480"/>
                  </a:lnTo>
                  <a:lnTo>
                    <a:pt x="735" y="479"/>
                  </a:lnTo>
                  <a:lnTo>
                    <a:pt x="735" y="488"/>
                  </a:lnTo>
                  <a:lnTo>
                    <a:pt x="722" y="475"/>
                  </a:lnTo>
                  <a:lnTo>
                    <a:pt x="699" y="493"/>
                  </a:lnTo>
                  <a:lnTo>
                    <a:pt x="634" y="480"/>
                  </a:lnTo>
                  <a:lnTo>
                    <a:pt x="626" y="468"/>
                  </a:lnTo>
                  <a:lnTo>
                    <a:pt x="625" y="476"/>
                  </a:lnTo>
                  <a:lnTo>
                    <a:pt x="249" y="476"/>
                  </a:lnTo>
                  <a:lnTo>
                    <a:pt x="244" y="462"/>
                  </a:lnTo>
                  <a:lnTo>
                    <a:pt x="224" y="458"/>
                  </a:lnTo>
                  <a:lnTo>
                    <a:pt x="225" y="449"/>
                  </a:lnTo>
                  <a:lnTo>
                    <a:pt x="183" y="437"/>
                  </a:lnTo>
                  <a:lnTo>
                    <a:pt x="188" y="431"/>
                  </a:lnTo>
                  <a:lnTo>
                    <a:pt x="178" y="414"/>
                  </a:lnTo>
                  <a:lnTo>
                    <a:pt x="168" y="413"/>
                  </a:lnTo>
                  <a:lnTo>
                    <a:pt x="145" y="377"/>
                  </a:lnTo>
                  <a:lnTo>
                    <a:pt x="149" y="366"/>
                  </a:lnTo>
                  <a:lnTo>
                    <a:pt x="150" y="347"/>
                  </a:lnTo>
                  <a:lnTo>
                    <a:pt x="124" y="336"/>
                  </a:lnTo>
                  <a:lnTo>
                    <a:pt x="76" y="273"/>
                  </a:lnTo>
                  <a:lnTo>
                    <a:pt x="48" y="291"/>
                  </a:lnTo>
                  <a:lnTo>
                    <a:pt x="41" y="283"/>
                  </a:lnTo>
                  <a:lnTo>
                    <a:pt x="39" y="281"/>
                  </a:lnTo>
                  <a:lnTo>
                    <a:pt x="26" y="264"/>
                  </a:lnTo>
                  <a:lnTo>
                    <a:pt x="0" y="26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8" name="Freeform 45">
              <a:extLst>
                <a:ext uri="{FF2B5EF4-FFF2-40B4-BE49-F238E27FC236}">
                  <a16:creationId xmlns:a16="http://schemas.microsoft.com/office/drawing/2014/main" id="{76BA38E6-1527-4FB9-80F3-E9B24A94F66A}"/>
                </a:ext>
              </a:extLst>
            </p:cNvPr>
            <p:cNvSpPr>
              <a:spLocks/>
            </p:cNvSpPr>
            <p:nvPr/>
          </p:nvSpPr>
          <p:spPr bwMode="auto">
            <a:xfrm>
              <a:off x="1330" y="2676"/>
              <a:ext cx="69" cy="40"/>
            </a:xfrm>
            <a:custGeom>
              <a:avLst/>
              <a:gdLst>
                <a:gd name="T0" fmla="*/ 0 w 69"/>
                <a:gd name="T1" fmla="*/ 0 h 40"/>
                <a:gd name="T2" fmla="*/ 0 w 69"/>
                <a:gd name="T3" fmla="*/ 0 h 40"/>
                <a:gd name="T4" fmla="*/ 37 w 69"/>
                <a:gd name="T5" fmla="*/ 8 h 40"/>
                <a:gd name="T6" fmla="*/ 68 w 69"/>
                <a:gd name="T7" fmla="*/ 39 h 40"/>
                <a:gd name="T8" fmla="*/ 50 w 69"/>
                <a:gd name="T9" fmla="*/ 33 h 40"/>
                <a:gd name="T10" fmla="*/ 0 w 69"/>
                <a:gd name="T11" fmla="*/ 0 h 40"/>
                <a:gd name="T12" fmla="*/ 0 w 69"/>
                <a:gd name="T13" fmla="*/ 0 h 40"/>
                <a:gd name="T14" fmla="*/ 0 60000 65536"/>
                <a:gd name="T15" fmla="*/ 0 60000 65536"/>
                <a:gd name="T16" fmla="*/ 0 60000 65536"/>
                <a:gd name="T17" fmla="*/ 0 60000 65536"/>
                <a:gd name="T18" fmla="*/ 0 60000 65536"/>
                <a:gd name="T19" fmla="*/ 0 60000 65536"/>
                <a:gd name="T20" fmla="*/ 0 60000 65536"/>
                <a:gd name="T21" fmla="*/ 0 w 69"/>
                <a:gd name="T22" fmla="*/ 0 h 40"/>
                <a:gd name="T23" fmla="*/ 69 w 69"/>
                <a:gd name="T24" fmla="*/ 40 h 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 h="40">
                  <a:moveTo>
                    <a:pt x="0" y="0"/>
                  </a:moveTo>
                  <a:lnTo>
                    <a:pt x="0" y="0"/>
                  </a:lnTo>
                  <a:lnTo>
                    <a:pt x="37" y="8"/>
                  </a:lnTo>
                  <a:lnTo>
                    <a:pt x="68" y="39"/>
                  </a:lnTo>
                  <a:lnTo>
                    <a:pt x="50" y="33"/>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9" name="Freeform 635">
              <a:extLst>
                <a:ext uri="{FF2B5EF4-FFF2-40B4-BE49-F238E27FC236}">
                  <a16:creationId xmlns:a16="http://schemas.microsoft.com/office/drawing/2014/main" id="{F381E2CA-1129-48CE-9073-C55B7F5C8268}"/>
                </a:ext>
              </a:extLst>
            </p:cNvPr>
            <p:cNvSpPr>
              <a:spLocks/>
            </p:cNvSpPr>
            <p:nvPr/>
          </p:nvSpPr>
          <p:spPr bwMode="auto">
            <a:xfrm>
              <a:off x="1362" y="2165"/>
              <a:ext cx="144" cy="89"/>
            </a:xfrm>
            <a:custGeom>
              <a:avLst/>
              <a:gdLst>
                <a:gd name="T0" fmla="*/ 0 w 144"/>
                <a:gd name="T1" fmla="*/ 66 h 89"/>
                <a:gd name="T2" fmla="*/ 0 w 144"/>
                <a:gd name="T3" fmla="*/ 66 h 89"/>
                <a:gd name="T4" fmla="*/ 6 w 144"/>
                <a:gd name="T5" fmla="*/ 55 h 89"/>
                <a:gd name="T6" fmla="*/ 27 w 144"/>
                <a:gd name="T7" fmla="*/ 18 h 89"/>
                <a:gd name="T8" fmla="*/ 17 w 144"/>
                <a:gd name="T9" fmla="*/ 3 h 89"/>
                <a:gd name="T10" fmla="*/ 61 w 144"/>
                <a:gd name="T11" fmla="*/ 0 h 89"/>
                <a:gd name="T12" fmla="*/ 92 w 144"/>
                <a:gd name="T13" fmla="*/ 14 h 89"/>
                <a:gd name="T14" fmla="*/ 112 w 144"/>
                <a:gd name="T15" fmla="*/ 6 h 89"/>
                <a:gd name="T16" fmla="*/ 143 w 144"/>
                <a:gd name="T17" fmla="*/ 27 h 89"/>
                <a:gd name="T18" fmla="*/ 77 w 144"/>
                <a:gd name="T19" fmla="*/ 59 h 89"/>
                <a:gd name="T20" fmla="*/ 72 w 144"/>
                <a:gd name="T21" fmla="*/ 79 h 89"/>
                <a:gd name="T22" fmla="*/ 39 w 144"/>
                <a:gd name="T23" fmla="*/ 88 h 89"/>
                <a:gd name="T24" fmla="*/ 25 w 144"/>
                <a:gd name="T25" fmla="*/ 73 h 89"/>
                <a:gd name="T26" fmla="*/ 0 w 144"/>
                <a:gd name="T27" fmla="*/ 66 h 89"/>
                <a:gd name="T28" fmla="*/ 0 w 144"/>
                <a:gd name="T29" fmla="*/ 66 h 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4"/>
                <a:gd name="T46" fmla="*/ 0 h 89"/>
                <a:gd name="T47" fmla="*/ 144 w 144"/>
                <a:gd name="T48" fmla="*/ 89 h 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4" h="89">
                  <a:moveTo>
                    <a:pt x="0" y="66"/>
                  </a:moveTo>
                  <a:lnTo>
                    <a:pt x="0" y="66"/>
                  </a:lnTo>
                  <a:lnTo>
                    <a:pt x="6" y="55"/>
                  </a:lnTo>
                  <a:lnTo>
                    <a:pt x="27" y="18"/>
                  </a:lnTo>
                  <a:lnTo>
                    <a:pt x="17" y="3"/>
                  </a:lnTo>
                  <a:lnTo>
                    <a:pt x="61" y="0"/>
                  </a:lnTo>
                  <a:lnTo>
                    <a:pt x="92" y="14"/>
                  </a:lnTo>
                  <a:lnTo>
                    <a:pt x="112" y="6"/>
                  </a:lnTo>
                  <a:lnTo>
                    <a:pt x="143" y="27"/>
                  </a:lnTo>
                  <a:lnTo>
                    <a:pt x="77" y="59"/>
                  </a:lnTo>
                  <a:lnTo>
                    <a:pt x="72" y="79"/>
                  </a:lnTo>
                  <a:lnTo>
                    <a:pt x="39" y="88"/>
                  </a:lnTo>
                  <a:lnTo>
                    <a:pt x="25" y="73"/>
                  </a:lnTo>
                  <a:lnTo>
                    <a:pt x="0" y="6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0" name="Freeform 636">
              <a:extLst>
                <a:ext uri="{FF2B5EF4-FFF2-40B4-BE49-F238E27FC236}">
                  <a16:creationId xmlns:a16="http://schemas.microsoft.com/office/drawing/2014/main" id="{2DB5D79A-F4D8-46D6-96C8-80E274FB4212}"/>
                </a:ext>
              </a:extLst>
            </p:cNvPr>
            <p:cNvSpPr>
              <a:spLocks/>
            </p:cNvSpPr>
            <p:nvPr/>
          </p:nvSpPr>
          <p:spPr bwMode="auto">
            <a:xfrm>
              <a:off x="1403" y="2082"/>
              <a:ext cx="101" cy="51"/>
            </a:xfrm>
            <a:custGeom>
              <a:avLst/>
              <a:gdLst>
                <a:gd name="T0" fmla="*/ 0 w 101"/>
                <a:gd name="T1" fmla="*/ 38 h 51"/>
                <a:gd name="T2" fmla="*/ 0 w 101"/>
                <a:gd name="T3" fmla="*/ 38 h 51"/>
                <a:gd name="T4" fmla="*/ 23 w 101"/>
                <a:gd name="T5" fmla="*/ 45 h 51"/>
                <a:gd name="T6" fmla="*/ 29 w 101"/>
                <a:gd name="T7" fmla="*/ 37 h 51"/>
                <a:gd name="T8" fmla="*/ 34 w 101"/>
                <a:gd name="T9" fmla="*/ 50 h 51"/>
                <a:gd name="T10" fmla="*/ 45 w 101"/>
                <a:gd name="T11" fmla="*/ 45 h 51"/>
                <a:gd name="T12" fmla="*/ 43 w 101"/>
                <a:gd name="T13" fmla="*/ 33 h 51"/>
                <a:gd name="T14" fmla="*/ 54 w 101"/>
                <a:gd name="T15" fmla="*/ 39 h 51"/>
                <a:gd name="T16" fmla="*/ 60 w 101"/>
                <a:gd name="T17" fmla="*/ 21 h 51"/>
                <a:gd name="T18" fmla="*/ 69 w 101"/>
                <a:gd name="T19" fmla="*/ 20 h 51"/>
                <a:gd name="T20" fmla="*/ 72 w 101"/>
                <a:gd name="T21" fmla="*/ 37 h 51"/>
                <a:gd name="T22" fmla="*/ 94 w 101"/>
                <a:gd name="T23" fmla="*/ 24 h 51"/>
                <a:gd name="T24" fmla="*/ 87 w 101"/>
                <a:gd name="T25" fmla="*/ 10 h 51"/>
                <a:gd name="T26" fmla="*/ 100 w 101"/>
                <a:gd name="T27" fmla="*/ 7 h 51"/>
                <a:gd name="T28" fmla="*/ 86 w 101"/>
                <a:gd name="T29" fmla="*/ 0 h 51"/>
                <a:gd name="T30" fmla="*/ 50 w 101"/>
                <a:gd name="T31" fmla="*/ 7 h 51"/>
                <a:gd name="T32" fmla="*/ 0 w 101"/>
                <a:gd name="T33" fmla="*/ 38 h 51"/>
                <a:gd name="T34" fmla="*/ 0 w 101"/>
                <a:gd name="T35" fmla="*/ 38 h 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51"/>
                <a:gd name="T56" fmla="*/ 101 w 101"/>
                <a:gd name="T57" fmla="*/ 51 h 5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51">
                  <a:moveTo>
                    <a:pt x="0" y="38"/>
                  </a:moveTo>
                  <a:lnTo>
                    <a:pt x="0" y="38"/>
                  </a:lnTo>
                  <a:lnTo>
                    <a:pt x="23" y="45"/>
                  </a:lnTo>
                  <a:lnTo>
                    <a:pt x="29" y="37"/>
                  </a:lnTo>
                  <a:lnTo>
                    <a:pt x="34" y="50"/>
                  </a:lnTo>
                  <a:lnTo>
                    <a:pt x="45" y="45"/>
                  </a:lnTo>
                  <a:lnTo>
                    <a:pt x="43" y="33"/>
                  </a:lnTo>
                  <a:lnTo>
                    <a:pt x="54" y="39"/>
                  </a:lnTo>
                  <a:lnTo>
                    <a:pt x="60" y="21"/>
                  </a:lnTo>
                  <a:lnTo>
                    <a:pt x="69" y="20"/>
                  </a:lnTo>
                  <a:lnTo>
                    <a:pt x="72" y="37"/>
                  </a:lnTo>
                  <a:lnTo>
                    <a:pt x="94" y="24"/>
                  </a:lnTo>
                  <a:lnTo>
                    <a:pt x="87" y="10"/>
                  </a:lnTo>
                  <a:lnTo>
                    <a:pt x="100" y="7"/>
                  </a:lnTo>
                  <a:lnTo>
                    <a:pt x="86" y="0"/>
                  </a:lnTo>
                  <a:lnTo>
                    <a:pt x="50" y="7"/>
                  </a:lnTo>
                  <a:lnTo>
                    <a:pt x="0" y="3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1" name="Freeform 637">
              <a:extLst>
                <a:ext uri="{FF2B5EF4-FFF2-40B4-BE49-F238E27FC236}">
                  <a16:creationId xmlns:a16="http://schemas.microsoft.com/office/drawing/2014/main" id="{A0DCC7A6-7BB9-4CA5-844A-ACA59AF55E84}"/>
                </a:ext>
              </a:extLst>
            </p:cNvPr>
            <p:cNvSpPr>
              <a:spLocks/>
            </p:cNvSpPr>
            <p:nvPr/>
          </p:nvSpPr>
          <p:spPr bwMode="auto">
            <a:xfrm>
              <a:off x="1457" y="2196"/>
              <a:ext cx="247" cy="122"/>
            </a:xfrm>
            <a:custGeom>
              <a:avLst/>
              <a:gdLst>
                <a:gd name="T0" fmla="*/ 0 w 247"/>
                <a:gd name="T1" fmla="*/ 39 h 122"/>
                <a:gd name="T2" fmla="*/ 0 w 247"/>
                <a:gd name="T3" fmla="*/ 39 h 122"/>
                <a:gd name="T4" fmla="*/ 12 w 247"/>
                <a:gd name="T5" fmla="*/ 29 h 122"/>
                <a:gd name="T6" fmla="*/ 6 w 247"/>
                <a:gd name="T7" fmla="*/ 24 h 122"/>
                <a:gd name="T8" fmla="*/ 35 w 247"/>
                <a:gd name="T9" fmla="*/ 7 h 122"/>
                <a:gd name="T10" fmla="*/ 59 w 247"/>
                <a:gd name="T11" fmla="*/ 0 h 122"/>
                <a:gd name="T12" fmla="*/ 67 w 247"/>
                <a:gd name="T13" fmla="*/ 13 h 122"/>
                <a:gd name="T14" fmla="*/ 59 w 247"/>
                <a:gd name="T15" fmla="*/ 20 h 122"/>
                <a:gd name="T16" fmla="*/ 81 w 247"/>
                <a:gd name="T17" fmla="*/ 10 h 122"/>
                <a:gd name="T18" fmla="*/ 105 w 247"/>
                <a:gd name="T19" fmla="*/ 18 h 122"/>
                <a:gd name="T20" fmla="*/ 96 w 247"/>
                <a:gd name="T21" fmla="*/ 27 h 122"/>
                <a:gd name="T22" fmla="*/ 124 w 247"/>
                <a:gd name="T23" fmla="*/ 21 h 122"/>
                <a:gd name="T24" fmla="*/ 116 w 247"/>
                <a:gd name="T25" fmla="*/ 11 h 122"/>
                <a:gd name="T26" fmla="*/ 127 w 247"/>
                <a:gd name="T27" fmla="*/ 12 h 122"/>
                <a:gd name="T28" fmla="*/ 149 w 247"/>
                <a:gd name="T29" fmla="*/ 44 h 122"/>
                <a:gd name="T30" fmla="*/ 157 w 247"/>
                <a:gd name="T31" fmla="*/ 37 h 122"/>
                <a:gd name="T32" fmla="*/ 148 w 247"/>
                <a:gd name="T33" fmla="*/ 1 h 122"/>
                <a:gd name="T34" fmla="*/ 166 w 247"/>
                <a:gd name="T35" fmla="*/ 2 h 122"/>
                <a:gd name="T36" fmla="*/ 186 w 247"/>
                <a:gd name="T37" fmla="*/ 14 h 122"/>
                <a:gd name="T38" fmla="*/ 197 w 247"/>
                <a:gd name="T39" fmla="*/ 58 h 122"/>
                <a:gd name="T40" fmla="*/ 246 w 247"/>
                <a:gd name="T41" fmla="*/ 80 h 122"/>
                <a:gd name="T42" fmla="*/ 245 w 247"/>
                <a:gd name="T43" fmla="*/ 91 h 122"/>
                <a:gd name="T44" fmla="*/ 232 w 247"/>
                <a:gd name="T45" fmla="*/ 86 h 122"/>
                <a:gd name="T46" fmla="*/ 217 w 247"/>
                <a:gd name="T47" fmla="*/ 94 h 122"/>
                <a:gd name="T48" fmla="*/ 238 w 247"/>
                <a:gd name="T49" fmla="*/ 104 h 122"/>
                <a:gd name="T50" fmla="*/ 219 w 247"/>
                <a:gd name="T51" fmla="*/ 114 h 122"/>
                <a:gd name="T52" fmla="*/ 187 w 247"/>
                <a:gd name="T53" fmla="*/ 109 h 122"/>
                <a:gd name="T54" fmla="*/ 169 w 247"/>
                <a:gd name="T55" fmla="*/ 97 h 122"/>
                <a:gd name="T56" fmla="*/ 128 w 247"/>
                <a:gd name="T57" fmla="*/ 117 h 122"/>
                <a:gd name="T58" fmla="*/ 78 w 247"/>
                <a:gd name="T59" fmla="*/ 121 h 122"/>
                <a:gd name="T60" fmla="*/ 68 w 247"/>
                <a:gd name="T61" fmla="*/ 102 h 122"/>
                <a:gd name="T62" fmla="*/ 40 w 247"/>
                <a:gd name="T63" fmla="*/ 100 h 122"/>
                <a:gd name="T64" fmla="*/ 22 w 247"/>
                <a:gd name="T65" fmla="*/ 84 h 122"/>
                <a:gd name="T66" fmla="*/ 93 w 247"/>
                <a:gd name="T67" fmla="*/ 74 h 122"/>
                <a:gd name="T68" fmla="*/ 19 w 247"/>
                <a:gd name="T69" fmla="*/ 69 h 122"/>
                <a:gd name="T70" fmla="*/ 9 w 247"/>
                <a:gd name="T71" fmla="*/ 59 h 122"/>
                <a:gd name="T72" fmla="*/ 47 w 247"/>
                <a:gd name="T73" fmla="*/ 48 h 122"/>
                <a:gd name="T74" fmla="*/ 12 w 247"/>
                <a:gd name="T75" fmla="*/ 49 h 122"/>
                <a:gd name="T76" fmla="*/ 15 w 247"/>
                <a:gd name="T77" fmla="*/ 44 h 122"/>
                <a:gd name="T78" fmla="*/ 0 w 247"/>
                <a:gd name="T79" fmla="*/ 39 h 122"/>
                <a:gd name="T80" fmla="*/ 0 w 247"/>
                <a:gd name="T81" fmla="*/ 39 h 1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7"/>
                <a:gd name="T124" fmla="*/ 0 h 122"/>
                <a:gd name="T125" fmla="*/ 247 w 247"/>
                <a:gd name="T126" fmla="*/ 122 h 1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7" h="122">
                  <a:moveTo>
                    <a:pt x="0" y="39"/>
                  </a:moveTo>
                  <a:lnTo>
                    <a:pt x="0" y="39"/>
                  </a:lnTo>
                  <a:lnTo>
                    <a:pt x="12" y="29"/>
                  </a:lnTo>
                  <a:lnTo>
                    <a:pt x="6" y="24"/>
                  </a:lnTo>
                  <a:lnTo>
                    <a:pt x="35" y="7"/>
                  </a:lnTo>
                  <a:lnTo>
                    <a:pt x="59" y="0"/>
                  </a:lnTo>
                  <a:lnTo>
                    <a:pt x="67" y="13"/>
                  </a:lnTo>
                  <a:lnTo>
                    <a:pt x="59" y="20"/>
                  </a:lnTo>
                  <a:lnTo>
                    <a:pt x="81" y="10"/>
                  </a:lnTo>
                  <a:lnTo>
                    <a:pt x="105" y="18"/>
                  </a:lnTo>
                  <a:lnTo>
                    <a:pt x="96" y="27"/>
                  </a:lnTo>
                  <a:lnTo>
                    <a:pt x="124" y="21"/>
                  </a:lnTo>
                  <a:lnTo>
                    <a:pt x="116" y="11"/>
                  </a:lnTo>
                  <a:lnTo>
                    <a:pt x="127" y="12"/>
                  </a:lnTo>
                  <a:lnTo>
                    <a:pt x="149" y="44"/>
                  </a:lnTo>
                  <a:lnTo>
                    <a:pt x="157" y="37"/>
                  </a:lnTo>
                  <a:lnTo>
                    <a:pt x="148" y="1"/>
                  </a:lnTo>
                  <a:lnTo>
                    <a:pt x="166" y="2"/>
                  </a:lnTo>
                  <a:lnTo>
                    <a:pt x="186" y="14"/>
                  </a:lnTo>
                  <a:lnTo>
                    <a:pt x="197" y="58"/>
                  </a:lnTo>
                  <a:lnTo>
                    <a:pt x="246" y="80"/>
                  </a:lnTo>
                  <a:lnTo>
                    <a:pt x="245" y="91"/>
                  </a:lnTo>
                  <a:lnTo>
                    <a:pt x="232" y="86"/>
                  </a:lnTo>
                  <a:lnTo>
                    <a:pt x="217" y="94"/>
                  </a:lnTo>
                  <a:lnTo>
                    <a:pt x="238" y="104"/>
                  </a:lnTo>
                  <a:lnTo>
                    <a:pt x="219" y="114"/>
                  </a:lnTo>
                  <a:lnTo>
                    <a:pt x="187" y="109"/>
                  </a:lnTo>
                  <a:lnTo>
                    <a:pt x="169" y="97"/>
                  </a:lnTo>
                  <a:lnTo>
                    <a:pt x="128" y="117"/>
                  </a:lnTo>
                  <a:lnTo>
                    <a:pt x="78" y="121"/>
                  </a:lnTo>
                  <a:lnTo>
                    <a:pt x="68" y="102"/>
                  </a:lnTo>
                  <a:lnTo>
                    <a:pt x="40" y="100"/>
                  </a:lnTo>
                  <a:lnTo>
                    <a:pt x="22" y="84"/>
                  </a:lnTo>
                  <a:lnTo>
                    <a:pt x="93" y="74"/>
                  </a:lnTo>
                  <a:lnTo>
                    <a:pt x="19" y="69"/>
                  </a:lnTo>
                  <a:lnTo>
                    <a:pt x="9" y="59"/>
                  </a:lnTo>
                  <a:lnTo>
                    <a:pt x="47" y="48"/>
                  </a:lnTo>
                  <a:lnTo>
                    <a:pt x="12" y="49"/>
                  </a:lnTo>
                  <a:lnTo>
                    <a:pt x="15" y="44"/>
                  </a:lnTo>
                  <a:lnTo>
                    <a:pt x="0" y="3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2" name="Freeform 638">
              <a:extLst>
                <a:ext uri="{FF2B5EF4-FFF2-40B4-BE49-F238E27FC236}">
                  <a16:creationId xmlns:a16="http://schemas.microsoft.com/office/drawing/2014/main" id="{07D96F2F-FF99-4C3A-A04F-FF217CFF8FB5}"/>
                </a:ext>
              </a:extLst>
            </p:cNvPr>
            <p:cNvSpPr>
              <a:spLocks/>
            </p:cNvSpPr>
            <p:nvPr/>
          </p:nvSpPr>
          <p:spPr bwMode="auto">
            <a:xfrm>
              <a:off x="1475" y="2101"/>
              <a:ext cx="168" cy="68"/>
            </a:xfrm>
            <a:custGeom>
              <a:avLst/>
              <a:gdLst>
                <a:gd name="T0" fmla="*/ 0 w 168"/>
                <a:gd name="T1" fmla="*/ 44 h 68"/>
                <a:gd name="T2" fmla="*/ 0 w 168"/>
                <a:gd name="T3" fmla="*/ 44 h 68"/>
                <a:gd name="T4" fmla="*/ 6 w 168"/>
                <a:gd name="T5" fmla="*/ 38 h 68"/>
                <a:gd name="T6" fmla="*/ 34 w 168"/>
                <a:gd name="T7" fmla="*/ 32 h 68"/>
                <a:gd name="T8" fmla="*/ 6 w 168"/>
                <a:gd name="T9" fmla="*/ 33 h 68"/>
                <a:gd name="T10" fmla="*/ 39 w 168"/>
                <a:gd name="T11" fmla="*/ 27 h 68"/>
                <a:gd name="T12" fmla="*/ 12 w 168"/>
                <a:gd name="T13" fmla="*/ 27 h 68"/>
                <a:gd name="T14" fmla="*/ 14 w 168"/>
                <a:gd name="T15" fmla="*/ 19 h 68"/>
                <a:gd name="T16" fmla="*/ 40 w 168"/>
                <a:gd name="T17" fmla="*/ 19 h 68"/>
                <a:gd name="T18" fmla="*/ 22 w 168"/>
                <a:gd name="T19" fmla="*/ 17 h 68"/>
                <a:gd name="T20" fmla="*/ 36 w 168"/>
                <a:gd name="T21" fmla="*/ 10 h 68"/>
                <a:gd name="T22" fmla="*/ 70 w 168"/>
                <a:gd name="T23" fmla="*/ 19 h 68"/>
                <a:gd name="T24" fmla="*/ 87 w 168"/>
                <a:gd name="T25" fmla="*/ 36 h 68"/>
                <a:gd name="T26" fmla="*/ 118 w 168"/>
                <a:gd name="T27" fmla="*/ 37 h 68"/>
                <a:gd name="T28" fmla="*/ 106 w 168"/>
                <a:gd name="T29" fmla="*/ 27 h 68"/>
                <a:gd name="T30" fmla="*/ 113 w 168"/>
                <a:gd name="T31" fmla="*/ 20 h 68"/>
                <a:gd name="T32" fmla="*/ 99 w 168"/>
                <a:gd name="T33" fmla="*/ 12 h 68"/>
                <a:gd name="T34" fmla="*/ 121 w 168"/>
                <a:gd name="T35" fmla="*/ 0 h 68"/>
                <a:gd name="T36" fmla="*/ 131 w 168"/>
                <a:gd name="T37" fmla="*/ 14 h 68"/>
                <a:gd name="T38" fmla="*/ 124 w 168"/>
                <a:gd name="T39" fmla="*/ 21 h 68"/>
                <a:gd name="T40" fmla="*/ 136 w 168"/>
                <a:gd name="T41" fmla="*/ 23 h 68"/>
                <a:gd name="T42" fmla="*/ 132 w 168"/>
                <a:gd name="T43" fmla="*/ 31 h 68"/>
                <a:gd name="T44" fmla="*/ 147 w 168"/>
                <a:gd name="T45" fmla="*/ 33 h 68"/>
                <a:gd name="T46" fmla="*/ 156 w 168"/>
                <a:gd name="T47" fmla="*/ 23 h 68"/>
                <a:gd name="T48" fmla="*/ 167 w 168"/>
                <a:gd name="T49" fmla="*/ 35 h 68"/>
                <a:gd name="T50" fmla="*/ 158 w 168"/>
                <a:gd name="T51" fmla="*/ 50 h 68"/>
                <a:gd name="T52" fmla="*/ 122 w 168"/>
                <a:gd name="T53" fmla="*/ 49 h 68"/>
                <a:gd name="T54" fmla="*/ 67 w 168"/>
                <a:gd name="T55" fmla="*/ 67 h 68"/>
                <a:gd name="T56" fmla="*/ 45 w 168"/>
                <a:gd name="T57" fmla="*/ 57 h 68"/>
                <a:gd name="T58" fmla="*/ 91 w 168"/>
                <a:gd name="T59" fmla="*/ 42 h 68"/>
                <a:gd name="T60" fmla="*/ 51 w 168"/>
                <a:gd name="T61" fmla="*/ 51 h 68"/>
                <a:gd name="T62" fmla="*/ 58 w 168"/>
                <a:gd name="T63" fmla="*/ 39 h 68"/>
                <a:gd name="T64" fmla="*/ 38 w 168"/>
                <a:gd name="T65" fmla="*/ 52 h 68"/>
                <a:gd name="T66" fmla="*/ 14 w 168"/>
                <a:gd name="T67" fmla="*/ 49 h 68"/>
                <a:gd name="T68" fmla="*/ 0 w 168"/>
                <a:gd name="T69" fmla="*/ 44 h 68"/>
                <a:gd name="T70" fmla="*/ 0 w 168"/>
                <a:gd name="T71" fmla="*/ 44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8"/>
                <a:gd name="T109" fmla="*/ 0 h 68"/>
                <a:gd name="T110" fmla="*/ 168 w 168"/>
                <a:gd name="T111" fmla="*/ 68 h 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8" h="68">
                  <a:moveTo>
                    <a:pt x="0" y="44"/>
                  </a:moveTo>
                  <a:lnTo>
                    <a:pt x="0" y="44"/>
                  </a:lnTo>
                  <a:lnTo>
                    <a:pt x="6" y="38"/>
                  </a:lnTo>
                  <a:lnTo>
                    <a:pt x="34" y="32"/>
                  </a:lnTo>
                  <a:lnTo>
                    <a:pt x="6" y="33"/>
                  </a:lnTo>
                  <a:lnTo>
                    <a:pt x="39" y="27"/>
                  </a:lnTo>
                  <a:lnTo>
                    <a:pt x="12" y="27"/>
                  </a:lnTo>
                  <a:lnTo>
                    <a:pt x="14" y="19"/>
                  </a:lnTo>
                  <a:lnTo>
                    <a:pt x="40" y="19"/>
                  </a:lnTo>
                  <a:lnTo>
                    <a:pt x="22" y="17"/>
                  </a:lnTo>
                  <a:lnTo>
                    <a:pt x="36" y="10"/>
                  </a:lnTo>
                  <a:lnTo>
                    <a:pt x="70" y="19"/>
                  </a:lnTo>
                  <a:lnTo>
                    <a:pt x="87" y="36"/>
                  </a:lnTo>
                  <a:lnTo>
                    <a:pt x="118" y="37"/>
                  </a:lnTo>
                  <a:lnTo>
                    <a:pt x="106" y="27"/>
                  </a:lnTo>
                  <a:lnTo>
                    <a:pt x="113" y="20"/>
                  </a:lnTo>
                  <a:lnTo>
                    <a:pt x="99" y="12"/>
                  </a:lnTo>
                  <a:lnTo>
                    <a:pt x="121" y="0"/>
                  </a:lnTo>
                  <a:lnTo>
                    <a:pt x="131" y="14"/>
                  </a:lnTo>
                  <a:lnTo>
                    <a:pt x="124" y="21"/>
                  </a:lnTo>
                  <a:lnTo>
                    <a:pt x="136" y="23"/>
                  </a:lnTo>
                  <a:lnTo>
                    <a:pt x="132" y="31"/>
                  </a:lnTo>
                  <a:lnTo>
                    <a:pt x="147" y="33"/>
                  </a:lnTo>
                  <a:lnTo>
                    <a:pt x="156" y="23"/>
                  </a:lnTo>
                  <a:lnTo>
                    <a:pt x="167" y="35"/>
                  </a:lnTo>
                  <a:lnTo>
                    <a:pt x="158" y="50"/>
                  </a:lnTo>
                  <a:lnTo>
                    <a:pt x="122" y="49"/>
                  </a:lnTo>
                  <a:lnTo>
                    <a:pt x="67" y="67"/>
                  </a:lnTo>
                  <a:lnTo>
                    <a:pt x="45" y="57"/>
                  </a:lnTo>
                  <a:lnTo>
                    <a:pt x="91" y="42"/>
                  </a:lnTo>
                  <a:lnTo>
                    <a:pt x="51" y="51"/>
                  </a:lnTo>
                  <a:lnTo>
                    <a:pt x="58" y="39"/>
                  </a:lnTo>
                  <a:lnTo>
                    <a:pt x="38" y="52"/>
                  </a:lnTo>
                  <a:lnTo>
                    <a:pt x="14" y="49"/>
                  </a:lnTo>
                  <a:lnTo>
                    <a:pt x="0" y="4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3" name="Freeform 639">
              <a:extLst>
                <a:ext uri="{FF2B5EF4-FFF2-40B4-BE49-F238E27FC236}">
                  <a16:creationId xmlns:a16="http://schemas.microsoft.com/office/drawing/2014/main" id="{D60A68F1-1B93-4388-871C-FEC438998E4C}"/>
                </a:ext>
              </a:extLst>
            </p:cNvPr>
            <p:cNvSpPr>
              <a:spLocks/>
            </p:cNvSpPr>
            <p:nvPr/>
          </p:nvSpPr>
          <p:spPr bwMode="auto">
            <a:xfrm>
              <a:off x="1641" y="2031"/>
              <a:ext cx="87" cy="43"/>
            </a:xfrm>
            <a:custGeom>
              <a:avLst/>
              <a:gdLst>
                <a:gd name="T0" fmla="*/ 0 w 87"/>
                <a:gd name="T1" fmla="*/ 0 h 43"/>
                <a:gd name="T2" fmla="*/ 0 w 87"/>
                <a:gd name="T3" fmla="*/ 0 h 43"/>
                <a:gd name="T4" fmla="*/ 7 w 87"/>
                <a:gd name="T5" fmla="*/ 15 h 43"/>
                <a:gd name="T6" fmla="*/ 28 w 87"/>
                <a:gd name="T7" fmla="*/ 15 h 43"/>
                <a:gd name="T8" fmla="*/ 21 w 87"/>
                <a:gd name="T9" fmla="*/ 18 h 43"/>
                <a:gd name="T10" fmla="*/ 26 w 87"/>
                <a:gd name="T11" fmla="*/ 23 h 43"/>
                <a:gd name="T12" fmla="*/ 8 w 87"/>
                <a:gd name="T13" fmla="*/ 25 h 43"/>
                <a:gd name="T14" fmla="*/ 38 w 87"/>
                <a:gd name="T15" fmla="*/ 31 h 43"/>
                <a:gd name="T16" fmla="*/ 86 w 87"/>
                <a:gd name="T17" fmla="*/ 42 h 43"/>
                <a:gd name="T18" fmla="*/ 79 w 87"/>
                <a:gd name="T19" fmla="*/ 17 h 43"/>
                <a:gd name="T20" fmla="*/ 44 w 87"/>
                <a:gd name="T21" fmla="*/ 3 h 43"/>
                <a:gd name="T22" fmla="*/ 33 w 87"/>
                <a:gd name="T23" fmla="*/ 9 h 43"/>
                <a:gd name="T24" fmla="*/ 30 w 87"/>
                <a:gd name="T25" fmla="*/ 0 h 43"/>
                <a:gd name="T26" fmla="*/ 0 w 87"/>
                <a:gd name="T27" fmla="*/ 0 h 43"/>
                <a:gd name="T28" fmla="*/ 0 w 87"/>
                <a:gd name="T29" fmla="*/ 0 h 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7"/>
                <a:gd name="T46" fmla="*/ 0 h 43"/>
                <a:gd name="T47" fmla="*/ 87 w 87"/>
                <a:gd name="T48" fmla="*/ 43 h 4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7" h="43">
                  <a:moveTo>
                    <a:pt x="0" y="0"/>
                  </a:moveTo>
                  <a:lnTo>
                    <a:pt x="0" y="0"/>
                  </a:lnTo>
                  <a:lnTo>
                    <a:pt x="7" y="15"/>
                  </a:lnTo>
                  <a:lnTo>
                    <a:pt x="28" y="15"/>
                  </a:lnTo>
                  <a:lnTo>
                    <a:pt x="21" y="18"/>
                  </a:lnTo>
                  <a:lnTo>
                    <a:pt x="26" y="23"/>
                  </a:lnTo>
                  <a:lnTo>
                    <a:pt x="8" y="25"/>
                  </a:lnTo>
                  <a:lnTo>
                    <a:pt x="38" y="31"/>
                  </a:lnTo>
                  <a:lnTo>
                    <a:pt x="86" y="42"/>
                  </a:lnTo>
                  <a:lnTo>
                    <a:pt x="79" y="17"/>
                  </a:lnTo>
                  <a:lnTo>
                    <a:pt x="44" y="3"/>
                  </a:lnTo>
                  <a:lnTo>
                    <a:pt x="33" y="9"/>
                  </a:lnTo>
                  <a:lnTo>
                    <a:pt x="30" y="0"/>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4" name="Freeform 640">
              <a:extLst>
                <a:ext uri="{FF2B5EF4-FFF2-40B4-BE49-F238E27FC236}">
                  <a16:creationId xmlns:a16="http://schemas.microsoft.com/office/drawing/2014/main" id="{4887EB1B-0474-493C-B8FC-9AFF74407019}"/>
                </a:ext>
              </a:extLst>
            </p:cNvPr>
            <p:cNvSpPr>
              <a:spLocks/>
            </p:cNvSpPr>
            <p:nvPr/>
          </p:nvSpPr>
          <p:spPr bwMode="auto">
            <a:xfrm>
              <a:off x="1681" y="2110"/>
              <a:ext cx="70" cy="43"/>
            </a:xfrm>
            <a:custGeom>
              <a:avLst/>
              <a:gdLst>
                <a:gd name="T0" fmla="*/ 0 w 70"/>
                <a:gd name="T1" fmla="*/ 28 h 43"/>
                <a:gd name="T2" fmla="*/ 0 w 70"/>
                <a:gd name="T3" fmla="*/ 28 h 43"/>
                <a:gd name="T4" fmla="*/ 8 w 70"/>
                <a:gd name="T5" fmla="*/ 18 h 43"/>
                <a:gd name="T6" fmla="*/ 21 w 70"/>
                <a:gd name="T7" fmla="*/ 19 h 43"/>
                <a:gd name="T8" fmla="*/ 4 w 70"/>
                <a:gd name="T9" fmla="*/ 9 h 43"/>
                <a:gd name="T10" fmla="*/ 8 w 70"/>
                <a:gd name="T11" fmla="*/ 3 h 43"/>
                <a:gd name="T12" fmla="*/ 36 w 70"/>
                <a:gd name="T13" fmla="*/ 17 h 43"/>
                <a:gd name="T14" fmla="*/ 20 w 70"/>
                <a:gd name="T15" fmla="*/ 2 h 43"/>
                <a:gd name="T16" fmla="*/ 62 w 70"/>
                <a:gd name="T17" fmla="*/ 0 h 43"/>
                <a:gd name="T18" fmla="*/ 69 w 70"/>
                <a:gd name="T19" fmla="*/ 31 h 43"/>
                <a:gd name="T20" fmla="*/ 61 w 70"/>
                <a:gd name="T21" fmla="*/ 26 h 43"/>
                <a:gd name="T22" fmla="*/ 60 w 70"/>
                <a:gd name="T23" fmla="*/ 42 h 43"/>
                <a:gd name="T24" fmla="*/ 27 w 70"/>
                <a:gd name="T25" fmla="*/ 41 h 43"/>
                <a:gd name="T26" fmla="*/ 33 w 70"/>
                <a:gd name="T27" fmla="*/ 36 h 43"/>
                <a:gd name="T28" fmla="*/ 24 w 70"/>
                <a:gd name="T29" fmla="*/ 30 h 43"/>
                <a:gd name="T30" fmla="*/ 48 w 70"/>
                <a:gd name="T31" fmla="*/ 22 h 43"/>
                <a:gd name="T32" fmla="*/ 0 w 70"/>
                <a:gd name="T33" fmla="*/ 28 h 43"/>
                <a:gd name="T34" fmla="*/ 0 w 70"/>
                <a:gd name="T35" fmla="*/ 2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0"/>
                <a:gd name="T55" fmla="*/ 0 h 43"/>
                <a:gd name="T56" fmla="*/ 70 w 70"/>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0" h="43">
                  <a:moveTo>
                    <a:pt x="0" y="28"/>
                  </a:moveTo>
                  <a:lnTo>
                    <a:pt x="0" y="28"/>
                  </a:lnTo>
                  <a:lnTo>
                    <a:pt x="8" y="18"/>
                  </a:lnTo>
                  <a:lnTo>
                    <a:pt x="21" y="19"/>
                  </a:lnTo>
                  <a:lnTo>
                    <a:pt x="4" y="9"/>
                  </a:lnTo>
                  <a:lnTo>
                    <a:pt x="8" y="3"/>
                  </a:lnTo>
                  <a:lnTo>
                    <a:pt x="36" y="17"/>
                  </a:lnTo>
                  <a:lnTo>
                    <a:pt x="20" y="2"/>
                  </a:lnTo>
                  <a:lnTo>
                    <a:pt x="62" y="0"/>
                  </a:lnTo>
                  <a:lnTo>
                    <a:pt x="69" y="31"/>
                  </a:lnTo>
                  <a:lnTo>
                    <a:pt x="61" y="26"/>
                  </a:lnTo>
                  <a:lnTo>
                    <a:pt x="60" y="42"/>
                  </a:lnTo>
                  <a:lnTo>
                    <a:pt x="27" y="41"/>
                  </a:lnTo>
                  <a:lnTo>
                    <a:pt x="33" y="36"/>
                  </a:lnTo>
                  <a:lnTo>
                    <a:pt x="24" y="30"/>
                  </a:lnTo>
                  <a:lnTo>
                    <a:pt x="48" y="22"/>
                  </a:lnTo>
                  <a:lnTo>
                    <a:pt x="0" y="2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5" name="Freeform 641">
              <a:extLst>
                <a:ext uri="{FF2B5EF4-FFF2-40B4-BE49-F238E27FC236}">
                  <a16:creationId xmlns:a16="http://schemas.microsoft.com/office/drawing/2014/main" id="{29C4ADEA-05C2-47D4-8A91-E4DF7FCB00DA}"/>
                </a:ext>
              </a:extLst>
            </p:cNvPr>
            <p:cNvSpPr>
              <a:spLocks/>
            </p:cNvSpPr>
            <p:nvPr/>
          </p:nvSpPr>
          <p:spPr bwMode="auto">
            <a:xfrm>
              <a:off x="1683" y="2183"/>
              <a:ext cx="82" cy="67"/>
            </a:xfrm>
            <a:custGeom>
              <a:avLst/>
              <a:gdLst>
                <a:gd name="T0" fmla="*/ 0 w 82"/>
                <a:gd name="T1" fmla="*/ 33 h 67"/>
                <a:gd name="T2" fmla="*/ 0 w 82"/>
                <a:gd name="T3" fmla="*/ 33 h 67"/>
                <a:gd name="T4" fmla="*/ 4 w 82"/>
                <a:gd name="T5" fmla="*/ 24 h 67"/>
                <a:gd name="T6" fmla="*/ 31 w 82"/>
                <a:gd name="T7" fmla="*/ 29 h 67"/>
                <a:gd name="T8" fmla="*/ 27 w 82"/>
                <a:gd name="T9" fmla="*/ 19 h 67"/>
                <a:gd name="T10" fmla="*/ 34 w 82"/>
                <a:gd name="T11" fmla="*/ 19 h 67"/>
                <a:gd name="T12" fmla="*/ 16 w 82"/>
                <a:gd name="T13" fmla="*/ 14 h 67"/>
                <a:gd name="T14" fmla="*/ 25 w 82"/>
                <a:gd name="T15" fmla="*/ 11 h 67"/>
                <a:gd name="T16" fmla="*/ 17 w 82"/>
                <a:gd name="T17" fmla="*/ 5 h 67"/>
                <a:gd name="T18" fmla="*/ 68 w 82"/>
                <a:gd name="T19" fmla="*/ 0 h 67"/>
                <a:gd name="T20" fmla="*/ 70 w 82"/>
                <a:gd name="T21" fmla="*/ 14 h 67"/>
                <a:gd name="T22" fmla="*/ 54 w 82"/>
                <a:gd name="T23" fmla="*/ 26 h 67"/>
                <a:gd name="T24" fmla="*/ 78 w 82"/>
                <a:gd name="T25" fmla="*/ 29 h 67"/>
                <a:gd name="T26" fmla="*/ 81 w 82"/>
                <a:gd name="T27" fmla="*/ 53 h 67"/>
                <a:gd name="T28" fmla="*/ 46 w 82"/>
                <a:gd name="T29" fmla="*/ 66 h 67"/>
                <a:gd name="T30" fmla="*/ 31 w 82"/>
                <a:gd name="T31" fmla="*/ 47 h 67"/>
                <a:gd name="T32" fmla="*/ 0 w 82"/>
                <a:gd name="T33" fmla="*/ 33 h 67"/>
                <a:gd name="T34" fmla="*/ 0 w 82"/>
                <a:gd name="T35" fmla="*/ 33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2"/>
                <a:gd name="T55" fmla="*/ 0 h 67"/>
                <a:gd name="T56" fmla="*/ 82 w 82"/>
                <a:gd name="T57" fmla="*/ 67 h 6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2" h="67">
                  <a:moveTo>
                    <a:pt x="0" y="33"/>
                  </a:moveTo>
                  <a:lnTo>
                    <a:pt x="0" y="33"/>
                  </a:lnTo>
                  <a:lnTo>
                    <a:pt x="4" y="24"/>
                  </a:lnTo>
                  <a:lnTo>
                    <a:pt x="31" y="29"/>
                  </a:lnTo>
                  <a:lnTo>
                    <a:pt x="27" y="19"/>
                  </a:lnTo>
                  <a:lnTo>
                    <a:pt x="34" y="19"/>
                  </a:lnTo>
                  <a:lnTo>
                    <a:pt x="16" y="14"/>
                  </a:lnTo>
                  <a:lnTo>
                    <a:pt x="25" y="11"/>
                  </a:lnTo>
                  <a:lnTo>
                    <a:pt x="17" y="5"/>
                  </a:lnTo>
                  <a:lnTo>
                    <a:pt x="68" y="0"/>
                  </a:lnTo>
                  <a:lnTo>
                    <a:pt x="70" y="14"/>
                  </a:lnTo>
                  <a:lnTo>
                    <a:pt x="54" y="26"/>
                  </a:lnTo>
                  <a:lnTo>
                    <a:pt x="78" y="29"/>
                  </a:lnTo>
                  <a:lnTo>
                    <a:pt x="81" y="53"/>
                  </a:lnTo>
                  <a:lnTo>
                    <a:pt x="46" y="66"/>
                  </a:lnTo>
                  <a:lnTo>
                    <a:pt x="31" y="47"/>
                  </a:lnTo>
                  <a:lnTo>
                    <a:pt x="0" y="3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6" name="Freeform 642">
              <a:extLst>
                <a:ext uri="{FF2B5EF4-FFF2-40B4-BE49-F238E27FC236}">
                  <a16:creationId xmlns:a16="http://schemas.microsoft.com/office/drawing/2014/main" id="{FEEA61E1-3107-42E6-A4FE-66C4C48E7580}"/>
                </a:ext>
              </a:extLst>
            </p:cNvPr>
            <p:cNvSpPr>
              <a:spLocks/>
            </p:cNvSpPr>
            <p:nvPr/>
          </p:nvSpPr>
          <p:spPr bwMode="auto">
            <a:xfrm>
              <a:off x="1740" y="2042"/>
              <a:ext cx="49" cy="34"/>
            </a:xfrm>
            <a:custGeom>
              <a:avLst/>
              <a:gdLst>
                <a:gd name="T0" fmla="*/ 0 w 49"/>
                <a:gd name="T1" fmla="*/ 0 h 34"/>
                <a:gd name="T2" fmla="*/ 0 w 49"/>
                <a:gd name="T3" fmla="*/ 0 h 34"/>
                <a:gd name="T4" fmla="*/ 5 w 49"/>
                <a:gd name="T5" fmla="*/ 20 h 34"/>
                <a:gd name="T6" fmla="*/ 20 w 49"/>
                <a:gd name="T7" fmla="*/ 21 h 34"/>
                <a:gd name="T8" fmla="*/ 7 w 49"/>
                <a:gd name="T9" fmla="*/ 24 h 34"/>
                <a:gd name="T10" fmla="*/ 14 w 49"/>
                <a:gd name="T11" fmla="*/ 33 h 34"/>
                <a:gd name="T12" fmla="*/ 44 w 49"/>
                <a:gd name="T13" fmla="*/ 28 h 34"/>
                <a:gd name="T14" fmla="*/ 48 w 49"/>
                <a:gd name="T15" fmla="*/ 16 h 34"/>
                <a:gd name="T16" fmla="*/ 0 w 49"/>
                <a:gd name="T17" fmla="*/ 0 h 34"/>
                <a:gd name="T18" fmla="*/ 0 w 49"/>
                <a:gd name="T19" fmla="*/ 0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34"/>
                <a:gd name="T32" fmla="*/ 49 w 49"/>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34">
                  <a:moveTo>
                    <a:pt x="0" y="0"/>
                  </a:moveTo>
                  <a:lnTo>
                    <a:pt x="0" y="0"/>
                  </a:lnTo>
                  <a:lnTo>
                    <a:pt x="5" y="20"/>
                  </a:lnTo>
                  <a:lnTo>
                    <a:pt x="20" y="21"/>
                  </a:lnTo>
                  <a:lnTo>
                    <a:pt x="7" y="24"/>
                  </a:lnTo>
                  <a:lnTo>
                    <a:pt x="14" y="33"/>
                  </a:lnTo>
                  <a:lnTo>
                    <a:pt x="44" y="28"/>
                  </a:lnTo>
                  <a:lnTo>
                    <a:pt x="48"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7" name="Freeform 643">
              <a:extLst>
                <a:ext uri="{FF2B5EF4-FFF2-40B4-BE49-F238E27FC236}">
                  <a16:creationId xmlns:a16="http://schemas.microsoft.com/office/drawing/2014/main" id="{08D5FF95-9C8B-4A2E-90AA-F4543DAD75D6}"/>
                </a:ext>
              </a:extLst>
            </p:cNvPr>
            <p:cNvSpPr>
              <a:spLocks/>
            </p:cNvSpPr>
            <p:nvPr/>
          </p:nvSpPr>
          <p:spPr bwMode="auto">
            <a:xfrm>
              <a:off x="1757" y="2093"/>
              <a:ext cx="236" cy="76"/>
            </a:xfrm>
            <a:custGeom>
              <a:avLst/>
              <a:gdLst>
                <a:gd name="T0" fmla="*/ 0 w 236"/>
                <a:gd name="T1" fmla="*/ 12 h 76"/>
                <a:gd name="T2" fmla="*/ 0 w 236"/>
                <a:gd name="T3" fmla="*/ 12 h 76"/>
                <a:gd name="T4" fmla="*/ 15 w 236"/>
                <a:gd name="T5" fmla="*/ 0 h 76"/>
                <a:gd name="T6" fmla="*/ 35 w 236"/>
                <a:gd name="T7" fmla="*/ 7 h 76"/>
                <a:gd name="T8" fmla="*/ 49 w 236"/>
                <a:gd name="T9" fmla="*/ 12 h 76"/>
                <a:gd name="T10" fmla="*/ 45 w 236"/>
                <a:gd name="T11" fmla="*/ 21 h 76"/>
                <a:gd name="T12" fmla="*/ 72 w 236"/>
                <a:gd name="T13" fmla="*/ 13 h 76"/>
                <a:gd name="T14" fmla="*/ 89 w 236"/>
                <a:gd name="T15" fmla="*/ 21 h 76"/>
                <a:gd name="T16" fmla="*/ 75 w 236"/>
                <a:gd name="T17" fmla="*/ 21 h 76"/>
                <a:gd name="T18" fmla="*/ 105 w 236"/>
                <a:gd name="T19" fmla="*/ 26 h 76"/>
                <a:gd name="T20" fmla="*/ 72 w 236"/>
                <a:gd name="T21" fmla="*/ 28 h 76"/>
                <a:gd name="T22" fmla="*/ 89 w 236"/>
                <a:gd name="T23" fmla="*/ 34 h 76"/>
                <a:gd name="T24" fmla="*/ 76 w 236"/>
                <a:gd name="T25" fmla="*/ 40 h 76"/>
                <a:gd name="T26" fmla="*/ 93 w 236"/>
                <a:gd name="T27" fmla="*/ 35 h 76"/>
                <a:gd name="T28" fmla="*/ 107 w 236"/>
                <a:gd name="T29" fmla="*/ 49 h 76"/>
                <a:gd name="T30" fmla="*/ 111 w 236"/>
                <a:gd name="T31" fmla="*/ 43 h 76"/>
                <a:gd name="T32" fmla="*/ 154 w 236"/>
                <a:gd name="T33" fmla="*/ 49 h 76"/>
                <a:gd name="T34" fmla="*/ 199 w 236"/>
                <a:gd name="T35" fmla="*/ 35 h 76"/>
                <a:gd name="T36" fmla="*/ 235 w 236"/>
                <a:gd name="T37" fmla="*/ 52 h 76"/>
                <a:gd name="T38" fmla="*/ 224 w 236"/>
                <a:gd name="T39" fmla="*/ 59 h 76"/>
                <a:gd name="T40" fmla="*/ 228 w 236"/>
                <a:gd name="T41" fmla="*/ 72 h 76"/>
                <a:gd name="T42" fmla="*/ 206 w 236"/>
                <a:gd name="T43" fmla="*/ 75 h 76"/>
                <a:gd name="T44" fmla="*/ 182 w 236"/>
                <a:gd name="T45" fmla="*/ 63 h 76"/>
                <a:gd name="T46" fmla="*/ 182 w 236"/>
                <a:gd name="T47" fmla="*/ 72 h 76"/>
                <a:gd name="T48" fmla="*/ 169 w 236"/>
                <a:gd name="T49" fmla="*/ 73 h 76"/>
                <a:gd name="T50" fmla="*/ 116 w 236"/>
                <a:gd name="T51" fmla="*/ 75 h 76"/>
                <a:gd name="T52" fmla="*/ 111 w 236"/>
                <a:gd name="T53" fmla="*/ 64 h 76"/>
                <a:gd name="T54" fmla="*/ 98 w 236"/>
                <a:gd name="T55" fmla="*/ 73 h 76"/>
                <a:gd name="T56" fmla="*/ 82 w 236"/>
                <a:gd name="T57" fmla="*/ 64 h 76"/>
                <a:gd name="T58" fmla="*/ 71 w 236"/>
                <a:gd name="T59" fmla="*/ 71 h 76"/>
                <a:gd name="T60" fmla="*/ 51 w 236"/>
                <a:gd name="T61" fmla="*/ 22 h 76"/>
                <a:gd name="T62" fmla="*/ 26 w 236"/>
                <a:gd name="T63" fmla="*/ 27 h 76"/>
                <a:gd name="T64" fmla="*/ 0 w 236"/>
                <a:gd name="T65" fmla="*/ 12 h 76"/>
                <a:gd name="T66" fmla="*/ 0 w 236"/>
                <a:gd name="T67" fmla="*/ 12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6"/>
                <a:gd name="T103" fmla="*/ 0 h 76"/>
                <a:gd name="T104" fmla="*/ 236 w 236"/>
                <a:gd name="T105" fmla="*/ 76 h 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6" h="76">
                  <a:moveTo>
                    <a:pt x="0" y="12"/>
                  </a:moveTo>
                  <a:lnTo>
                    <a:pt x="0" y="12"/>
                  </a:lnTo>
                  <a:lnTo>
                    <a:pt x="15" y="0"/>
                  </a:lnTo>
                  <a:lnTo>
                    <a:pt x="35" y="7"/>
                  </a:lnTo>
                  <a:lnTo>
                    <a:pt x="49" y="12"/>
                  </a:lnTo>
                  <a:lnTo>
                    <a:pt x="45" y="21"/>
                  </a:lnTo>
                  <a:lnTo>
                    <a:pt x="72" y="13"/>
                  </a:lnTo>
                  <a:lnTo>
                    <a:pt x="89" y="21"/>
                  </a:lnTo>
                  <a:lnTo>
                    <a:pt x="75" y="21"/>
                  </a:lnTo>
                  <a:lnTo>
                    <a:pt x="105" y="26"/>
                  </a:lnTo>
                  <a:lnTo>
                    <a:pt x="72" y="28"/>
                  </a:lnTo>
                  <a:lnTo>
                    <a:pt x="89" y="34"/>
                  </a:lnTo>
                  <a:lnTo>
                    <a:pt x="76" y="40"/>
                  </a:lnTo>
                  <a:lnTo>
                    <a:pt x="93" y="35"/>
                  </a:lnTo>
                  <a:lnTo>
                    <a:pt x="107" y="49"/>
                  </a:lnTo>
                  <a:lnTo>
                    <a:pt x="111" y="43"/>
                  </a:lnTo>
                  <a:lnTo>
                    <a:pt x="154" y="49"/>
                  </a:lnTo>
                  <a:lnTo>
                    <a:pt x="199" y="35"/>
                  </a:lnTo>
                  <a:lnTo>
                    <a:pt x="235" y="52"/>
                  </a:lnTo>
                  <a:lnTo>
                    <a:pt x="224" y="59"/>
                  </a:lnTo>
                  <a:lnTo>
                    <a:pt x="228" y="72"/>
                  </a:lnTo>
                  <a:lnTo>
                    <a:pt x="206" y="75"/>
                  </a:lnTo>
                  <a:lnTo>
                    <a:pt x="182" y="63"/>
                  </a:lnTo>
                  <a:lnTo>
                    <a:pt x="182" y="72"/>
                  </a:lnTo>
                  <a:lnTo>
                    <a:pt x="169" y="73"/>
                  </a:lnTo>
                  <a:lnTo>
                    <a:pt x="116" y="75"/>
                  </a:lnTo>
                  <a:lnTo>
                    <a:pt x="111" y="64"/>
                  </a:lnTo>
                  <a:lnTo>
                    <a:pt x="98" y="73"/>
                  </a:lnTo>
                  <a:lnTo>
                    <a:pt x="82" y="64"/>
                  </a:lnTo>
                  <a:lnTo>
                    <a:pt x="71" y="71"/>
                  </a:lnTo>
                  <a:lnTo>
                    <a:pt x="51" y="22"/>
                  </a:lnTo>
                  <a:lnTo>
                    <a:pt x="26" y="27"/>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8" name="Freeform 644">
              <a:extLst>
                <a:ext uri="{FF2B5EF4-FFF2-40B4-BE49-F238E27FC236}">
                  <a16:creationId xmlns:a16="http://schemas.microsoft.com/office/drawing/2014/main" id="{452598D8-71D0-4298-B70D-98F0F0DA7BA4}"/>
                </a:ext>
              </a:extLst>
            </p:cNvPr>
            <p:cNvSpPr>
              <a:spLocks/>
            </p:cNvSpPr>
            <p:nvPr/>
          </p:nvSpPr>
          <p:spPr bwMode="auto">
            <a:xfrm>
              <a:off x="1767" y="1966"/>
              <a:ext cx="154" cy="100"/>
            </a:xfrm>
            <a:custGeom>
              <a:avLst/>
              <a:gdLst>
                <a:gd name="T0" fmla="*/ 0 w 154"/>
                <a:gd name="T1" fmla="*/ 31 h 100"/>
                <a:gd name="T2" fmla="*/ 0 w 154"/>
                <a:gd name="T3" fmla="*/ 31 h 100"/>
                <a:gd name="T4" fmla="*/ 37 w 154"/>
                <a:gd name="T5" fmla="*/ 26 h 100"/>
                <a:gd name="T6" fmla="*/ 17 w 154"/>
                <a:gd name="T7" fmla="*/ 12 h 100"/>
                <a:gd name="T8" fmla="*/ 50 w 154"/>
                <a:gd name="T9" fmla="*/ 6 h 100"/>
                <a:gd name="T10" fmla="*/ 24 w 154"/>
                <a:gd name="T11" fmla="*/ 0 h 100"/>
                <a:gd name="T12" fmla="*/ 65 w 154"/>
                <a:gd name="T13" fmla="*/ 8 h 100"/>
                <a:gd name="T14" fmla="*/ 77 w 154"/>
                <a:gd name="T15" fmla="*/ 26 h 100"/>
                <a:gd name="T16" fmla="*/ 98 w 154"/>
                <a:gd name="T17" fmla="*/ 27 h 100"/>
                <a:gd name="T18" fmla="*/ 106 w 154"/>
                <a:gd name="T19" fmla="*/ 40 h 100"/>
                <a:gd name="T20" fmla="*/ 108 w 154"/>
                <a:gd name="T21" fmla="*/ 31 h 100"/>
                <a:gd name="T22" fmla="*/ 118 w 154"/>
                <a:gd name="T23" fmla="*/ 31 h 100"/>
                <a:gd name="T24" fmla="*/ 114 w 154"/>
                <a:gd name="T25" fmla="*/ 40 h 100"/>
                <a:gd name="T26" fmla="*/ 126 w 154"/>
                <a:gd name="T27" fmla="*/ 46 h 100"/>
                <a:gd name="T28" fmla="*/ 118 w 154"/>
                <a:gd name="T29" fmla="*/ 55 h 100"/>
                <a:gd name="T30" fmla="*/ 142 w 154"/>
                <a:gd name="T31" fmla="*/ 54 h 100"/>
                <a:gd name="T32" fmla="*/ 153 w 154"/>
                <a:gd name="T33" fmla="*/ 67 h 100"/>
                <a:gd name="T34" fmla="*/ 124 w 154"/>
                <a:gd name="T35" fmla="*/ 71 h 100"/>
                <a:gd name="T36" fmla="*/ 116 w 154"/>
                <a:gd name="T37" fmla="*/ 83 h 100"/>
                <a:gd name="T38" fmla="*/ 110 w 154"/>
                <a:gd name="T39" fmla="*/ 71 h 100"/>
                <a:gd name="T40" fmla="*/ 102 w 154"/>
                <a:gd name="T41" fmla="*/ 99 h 100"/>
                <a:gd name="T42" fmla="*/ 84 w 154"/>
                <a:gd name="T43" fmla="*/ 84 h 100"/>
                <a:gd name="T44" fmla="*/ 93 w 154"/>
                <a:gd name="T45" fmla="*/ 99 h 100"/>
                <a:gd name="T46" fmla="*/ 57 w 154"/>
                <a:gd name="T47" fmla="*/ 97 h 100"/>
                <a:gd name="T48" fmla="*/ 46 w 154"/>
                <a:gd name="T49" fmla="*/ 89 h 100"/>
                <a:gd name="T50" fmla="*/ 63 w 154"/>
                <a:gd name="T51" fmla="*/ 88 h 100"/>
                <a:gd name="T52" fmla="*/ 45 w 154"/>
                <a:gd name="T53" fmla="*/ 85 h 100"/>
                <a:gd name="T54" fmla="*/ 40 w 154"/>
                <a:gd name="T55" fmla="*/ 81 h 100"/>
                <a:gd name="T56" fmla="*/ 50 w 154"/>
                <a:gd name="T57" fmla="*/ 80 h 100"/>
                <a:gd name="T58" fmla="*/ 34 w 154"/>
                <a:gd name="T59" fmla="*/ 74 h 100"/>
                <a:gd name="T60" fmla="*/ 83 w 154"/>
                <a:gd name="T61" fmla="*/ 65 h 100"/>
                <a:gd name="T62" fmla="*/ 24 w 154"/>
                <a:gd name="T63" fmla="*/ 67 h 100"/>
                <a:gd name="T64" fmla="*/ 13 w 154"/>
                <a:gd name="T65" fmla="*/ 57 h 100"/>
                <a:gd name="T66" fmla="*/ 34 w 154"/>
                <a:gd name="T67" fmla="*/ 53 h 100"/>
                <a:gd name="T68" fmla="*/ 2 w 154"/>
                <a:gd name="T69" fmla="*/ 46 h 100"/>
                <a:gd name="T70" fmla="*/ 9 w 154"/>
                <a:gd name="T71" fmla="*/ 45 h 100"/>
                <a:gd name="T72" fmla="*/ 0 w 154"/>
                <a:gd name="T73" fmla="*/ 38 h 100"/>
                <a:gd name="T74" fmla="*/ 37 w 154"/>
                <a:gd name="T75" fmla="*/ 38 h 100"/>
                <a:gd name="T76" fmla="*/ 0 w 154"/>
                <a:gd name="T77" fmla="*/ 31 h 100"/>
                <a:gd name="T78" fmla="*/ 0 w 154"/>
                <a:gd name="T79" fmla="*/ 31 h 1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4"/>
                <a:gd name="T121" fmla="*/ 0 h 100"/>
                <a:gd name="T122" fmla="*/ 154 w 154"/>
                <a:gd name="T123" fmla="*/ 100 h 1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4" h="100">
                  <a:moveTo>
                    <a:pt x="0" y="31"/>
                  </a:moveTo>
                  <a:lnTo>
                    <a:pt x="0" y="31"/>
                  </a:lnTo>
                  <a:lnTo>
                    <a:pt x="37" y="26"/>
                  </a:lnTo>
                  <a:lnTo>
                    <a:pt x="17" y="12"/>
                  </a:lnTo>
                  <a:lnTo>
                    <a:pt x="50" y="6"/>
                  </a:lnTo>
                  <a:lnTo>
                    <a:pt x="24" y="0"/>
                  </a:lnTo>
                  <a:lnTo>
                    <a:pt x="65" y="8"/>
                  </a:lnTo>
                  <a:lnTo>
                    <a:pt x="77" y="26"/>
                  </a:lnTo>
                  <a:lnTo>
                    <a:pt x="98" y="27"/>
                  </a:lnTo>
                  <a:lnTo>
                    <a:pt x="106" y="40"/>
                  </a:lnTo>
                  <a:lnTo>
                    <a:pt x="108" y="31"/>
                  </a:lnTo>
                  <a:lnTo>
                    <a:pt x="118" y="31"/>
                  </a:lnTo>
                  <a:lnTo>
                    <a:pt x="114" y="40"/>
                  </a:lnTo>
                  <a:lnTo>
                    <a:pt x="126" y="46"/>
                  </a:lnTo>
                  <a:lnTo>
                    <a:pt x="118" y="55"/>
                  </a:lnTo>
                  <a:lnTo>
                    <a:pt x="142" y="54"/>
                  </a:lnTo>
                  <a:lnTo>
                    <a:pt x="153" y="67"/>
                  </a:lnTo>
                  <a:lnTo>
                    <a:pt x="124" y="71"/>
                  </a:lnTo>
                  <a:lnTo>
                    <a:pt x="116" y="83"/>
                  </a:lnTo>
                  <a:lnTo>
                    <a:pt x="110" y="71"/>
                  </a:lnTo>
                  <a:lnTo>
                    <a:pt x="102" y="99"/>
                  </a:lnTo>
                  <a:lnTo>
                    <a:pt x="84" y="84"/>
                  </a:lnTo>
                  <a:lnTo>
                    <a:pt x="93" y="99"/>
                  </a:lnTo>
                  <a:lnTo>
                    <a:pt x="57" y="97"/>
                  </a:lnTo>
                  <a:lnTo>
                    <a:pt x="46" y="89"/>
                  </a:lnTo>
                  <a:lnTo>
                    <a:pt x="63" y="88"/>
                  </a:lnTo>
                  <a:lnTo>
                    <a:pt x="45" y="85"/>
                  </a:lnTo>
                  <a:lnTo>
                    <a:pt x="40" y="81"/>
                  </a:lnTo>
                  <a:lnTo>
                    <a:pt x="50" y="80"/>
                  </a:lnTo>
                  <a:lnTo>
                    <a:pt x="34" y="74"/>
                  </a:lnTo>
                  <a:lnTo>
                    <a:pt x="83" y="65"/>
                  </a:lnTo>
                  <a:lnTo>
                    <a:pt x="24" y="67"/>
                  </a:lnTo>
                  <a:lnTo>
                    <a:pt x="13" y="57"/>
                  </a:lnTo>
                  <a:lnTo>
                    <a:pt x="34" y="53"/>
                  </a:lnTo>
                  <a:lnTo>
                    <a:pt x="2" y="46"/>
                  </a:lnTo>
                  <a:lnTo>
                    <a:pt x="9" y="45"/>
                  </a:lnTo>
                  <a:lnTo>
                    <a:pt x="0" y="38"/>
                  </a:lnTo>
                  <a:lnTo>
                    <a:pt x="37" y="38"/>
                  </a:lnTo>
                  <a:lnTo>
                    <a:pt x="0" y="3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9" name="Freeform 645">
              <a:extLst>
                <a:ext uri="{FF2B5EF4-FFF2-40B4-BE49-F238E27FC236}">
                  <a16:creationId xmlns:a16="http://schemas.microsoft.com/office/drawing/2014/main" id="{AFB61959-8813-4625-8709-EEFA33F4EC0C}"/>
                </a:ext>
              </a:extLst>
            </p:cNvPr>
            <p:cNvSpPr>
              <a:spLocks/>
            </p:cNvSpPr>
            <p:nvPr/>
          </p:nvSpPr>
          <p:spPr bwMode="auto">
            <a:xfrm>
              <a:off x="1767" y="2137"/>
              <a:ext cx="38" cy="26"/>
            </a:xfrm>
            <a:custGeom>
              <a:avLst/>
              <a:gdLst>
                <a:gd name="T0" fmla="*/ 0 w 38"/>
                <a:gd name="T1" fmla="*/ 17 h 26"/>
                <a:gd name="T2" fmla="*/ 0 w 38"/>
                <a:gd name="T3" fmla="*/ 17 h 26"/>
                <a:gd name="T4" fmla="*/ 6 w 38"/>
                <a:gd name="T5" fmla="*/ 0 h 26"/>
                <a:gd name="T6" fmla="*/ 30 w 38"/>
                <a:gd name="T7" fmla="*/ 5 h 26"/>
                <a:gd name="T8" fmla="*/ 37 w 38"/>
                <a:gd name="T9" fmla="*/ 25 h 26"/>
                <a:gd name="T10" fmla="*/ 0 w 38"/>
                <a:gd name="T11" fmla="*/ 17 h 26"/>
                <a:gd name="T12" fmla="*/ 0 w 38"/>
                <a:gd name="T13" fmla="*/ 17 h 26"/>
                <a:gd name="T14" fmla="*/ 0 60000 65536"/>
                <a:gd name="T15" fmla="*/ 0 60000 65536"/>
                <a:gd name="T16" fmla="*/ 0 60000 65536"/>
                <a:gd name="T17" fmla="*/ 0 60000 65536"/>
                <a:gd name="T18" fmla="*/ 0 60000 65536"/>
                <a:gd name="T19" fmla="*/ 0 60000 65536"/>
                <a:gd name="T20" fmla="*/ 0 60000 65536"/>
                <a:gd name="T21" fmla="*/ 0 w 38"/>
                <a:gd name="T22" fmla="*/ 0 h 26"/>
                <a:gd name="T23" fmla="*/ 38 w 3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26">
                  <a:moveTo>
                    <a:pt x="0" y="17"/>
                  </a:moveTo>
                  <a:lnTo>
                    <a:pt x="0" y="17"/>
                  </a:lnTo>
                  <a:lnTo>
                    <a:pt x="6" y="0"/>
                  </a:lnTo>
                  <a:lnTo>
                    <a:pt x="30" y="5"/>
                  </a:lnTo>
                  <a:lnTo>
                    <a:pt x="37" y="25"/>
                  </a:lnTo>
                  <a:lnTo>
                    <a:pt x="0" y="1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0" name="Freeform 646">
              <a:extLst>
                <a:ext uri="{FF2B5EF4-FFF2-40B4-BE49-F238E27FC236}">
                  <a16:creationId xmlns:a16="http://schemas.microsoft.com/office/drawing/2014/main" id="{A79D43BA-E0DC-4B23-8D69-7E0A9859E876}"/>
                </a:ext>
              </a:extLst>
            </p:cNvPr>
            <p:cNvSpPr>
              <a:spLocks/>
            </p:cNvSpPr>
            <p:nvPr/>
          </p:nvSpPr>
          <p:spPr bwMode="auto">
            <a:xfrm>
              <a:off x="1767" y="2075"/>
              <a:ext cx="43" cy="10"/>
            </a:xfrm>
            <a:custGeom>
              <a:avLst/>
              <a:gdLst>
                <a:gd name="T0" fmla="*/ 0 w 43"/>
                <a:gd name="T1" fmla="*/ 4 h 10"/>
                <a:gd name="T2" fmla="*/ 0 w 43"/>
                <a:gd name="T3" fmla="*/ 4 h 10"/>
                <a:gd name="T4" fmla="*/ 10 w 43"/>
                <a:gd name="T5" fmla="*/ 9 h 10"/>
                <a:gd name="T6" fmla="*/ 42 w 43"/>
                <a:gd name="T7" fmla="*/ 4 h 10"/>
                <a:gd name="T8" fmla="*/ 11 w 43"/>
                <a:gd name="T9" fmla="*/ 0 h 10"/>
                <a:gd name="T10" fmla="*/ 0 w 43"/>
                <a:gd name="T11" fmla="*/ 4 h 10"/>
                <a:gd name="T12" fmla="*/ 0 w 43"/>
                <a:gd name="T13" fmla="*/ 4 h 10"/>
                <a:gd name="T14" fmla="*/ 0 60000 65536"/>
                <a:gd name="T15" fmla="*/ 0 60000 65536"/>
                <a:gd name="T16" fmla="*/ 0 60000 65536"/>
                <a:gd name="T17" fmla="*/ 0 60000 65536"/>
                <a:gd name="T18" fmla="*/ 0 60000 65536"/>
                <a:gd name="T19" fmla="*/ 0 60000 65536"/>
                <a:gd name="T20" fmla="*/ 0 60000 65536"/>
                <a:gd name="T21" fmla="*/ 0 w 43"/>
                <a:gd name="T22" fmla="*/ 0 h 10"/>
                <a:gd name="T23" fmla="*/ 43 w 43"/>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0">
                  <a:moveTo>
                    <a:pt x="0" y="4"/>
                  </a:moveTo>
                  <a:lnTo>
                    <a:pt x="0" y="4"/>
                  </a:lnTo>
                  <a:lnTo>
                    <a:pt x="10" y="9"/>
                  </a:lnTo>
                  <a:lnTo>
                    <a:pt x="42" y="4"/>
                  </a:lnTo>
                  <a:lnTo>
                    <a:pt x="11" y="0"/>
                  </a:lnTo>
                  <a:lnTo>
                    <a:pt x="0" y="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1" name="Freeform 647">
              <a:extLst>
                <a:ext uri="{FF2B5EF4-FFF2-40B4-BE49-F238E27FC236}">
                  <a16:creationId xmlns:a16="http://schemas.microsoft.com/office/drawing/2014/main" id="{5CE3C608-4B79-45E1-96E9-1D3DB4FF8383}"/>
                </a:ext>
              </a:extLst>
            </p:cNvPr>
            <p:cNvSpPr>
              <a:spLocks/>
            </p:cNvSpPr>
            <p:nvPr/>
          </p:nvSpPr>
          <p:spPr bwMode="auto">
            <a:xfrm>
              <a:off x="1774" y="2179"/>
              <a:ext cx="75" cy="53"/>
            </a:xfrm>
            <a:custGeom>
              <a:avLst/>
              <a:gdLst>
                <a:gd name="T0" fmla="*/ 0 w 75"/>
                <a:gd name="T1" fmla="*/ 9 h 53"/>
                <a:gd name="T2" fmla="*/ 0 w 75"/>
                <a:gd name="T3" fmla="*/ 9 h 53"/>
                <a:gd name="T4" fmla="*/ 2 w 75"/>
                <a:gd name="T5" fmla="*/ 33 h 53"/>
                <a:gd name="T6" fmla="*/ 10 w 75"/>
                <a:gd name="T7" fmla="*/ 38 h 53"/>
                <a:gd name="T8" fmla="*/ 7 w 75"/>
                <a:gd name="T9" fmla="*/ 52 h 53"/>
                <a:gd name="T10" fmla="*/ 18 w 75"/>
                <a:gd name="T11" fmla="*/ 52 h 53"/>
                <a:gd name="T12" fmla="*/ 30 w 75"/>
                <a:gd name="T13" fmla="*/ 41 h 53"/>
                <a:gd name="T14" fmla="*/ 18 w 75"/>
                <a:gd name="T15" fmla="*/ 33 h 53"/>
                <a:gd name="T16" fmla="*/ 48 w 75"/>
                <a:gd name="T17" fmla="*/ 33 h 53"/>
                <a:gd name="T18" fmla="*/ 74 w 75"/>
                <a:gd name="T19" fmla="*/ 4 h 53"/>
                <a:gd name="T20" fmla="*/ 6 w 75"/>
                <a:gd name="T21" fmla="*/ 0 h 53"/>
                <a:gd name="T22" fmla="*/ 15 w 75"/>
                <a:gd name="T23" fmla="*/ 10 h 53"/>
                <a:gd name="T24" fmla="*/ 0 w 75"/>
                <a:gd name="T25" fmla="*/ 9 h 53"/>
                <a:gd name="T26" fmla="*/ 0 w 75"/>
                <a:gd name="T27" fmla="*/ 9 h 5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5"/>
                <a:gd name="T43" fmla="*/ 0 h 53"/>
                <a:gd name="T44" fmla="*/ 75 w 75"/>
                <a:gd name="T45" fmla="*/ 53 h 5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5" h="53">
                  <a:moveTo>
                    <a:pt x="0" y="9"/>
                  </a:moveTo>
                  <a:lnTo>
                    <a:pt x="0" y="9"/>
                  </a:lnTo>
                  <a:lnTo>
                    <a:pt x="2" y="33"/>
                  </a:lnTo>
                  <a:lnTo>
                    <a:pt x="10" y="38"/>
                  </a:lnTo>
                  <a:lnTo>
                    <a:pt x="7" y="52"/>
                  </a:lnTo>
                  <a:lnTo>
                    <a:pt x="18" y="52"/>
                  </a:lnTo>
                  <a:lnTo>
                    <a:pt x="30" y="41"/>
                  </a:lnTo>
                  <a:lnTo>
                    <a:pt x="18" y="33"/>
                  </a:lnTo>
                  <a:lnTo>
                    <a:pt x="48" y="33"/>
                  </a:lnTo>
                  <a:lnTo>
                    <a:pt x="74" y="4"/>
                  </a:lnTo>
                  <a:lnTo>
                    <a:pt x="6" y="0"/>
                  </a:lnTo>
                  <a:lnTo>
                    <a:pt x="15" y="10"/>
                  </a:lnTo>
                  <a:lnTo>
                    <a:pt x="0" y="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2" name="Freeform 59">
              <a:extLst>
                <a:ext uri="{FF2B5EF4-FFF2-40B4-BE49-F238E27FC236}">
                  <a16:creationId xmlns:a16="http://schemas.microsoft.com/office/drawing/2014/main" id="{FC1B405A-ED9D-4380-ABC7-B538AE14E53B}"/>
                </a:ext>
              </a:extLst>
            </p:cNvPr>
            <p:cNvSpPr>
              <a:spLocks/>
            </p:cNvSpPr>
            <p:nvPr/>
          </p:nvSpPr>
          <p:spPr bwMode="auto">
            <a:xfrm>
              <a:off x="1824" y="1908"/>
              <a:ext cx="421" cy="214"/>
            </a:xfrm>
            <a:custGeom>
              <a:avLst/>
              <a:gdLst>
                <a:gd name="T0" fmla="*/ 37 w 421"/>
                <a:gd name="T1" fmla="*/ 50 h 214"/>
                <a:gd name="T2" fmla="*/ 31 w 421"/>
                <a:gd name="T3" fmla="*/ 58 h 214"/>
                <a:gd name="T4" fmla="*/ 36 w 421"/>
                <a:gd name="T5" fmla="*/ 68 h 214"/>
                <a:gd name="T6" fmla="*/ 66 w 421"/>
                <a:gd name="T7" fmla="*/ 83 h 214"/>
                <a:gd name="T8" fmla="*/ 89 w 421"/>
                <a:gd name="T9" fmla="*/ 71 h 214"/>
                <a:gd name="T10" fmla="*/ 135 w 421"/>
                <a:gd name="T11" fmla="*/ 72 h 214"/>
                <a:gd name="T12" fmla="*/ 166 w 421"/>
                <a:gd name="T13" fmla="*/ 75 h 214"/>
                <a:gd name="T14" fmla="*/ 172 w 421"/>
                <a:gd name="T15" fmla="*/ 74 h 214"/>
                <a:gd name="T16" fmla="*/ 142 w 421"/>
                <a:gd name="T17" fmla="*/ 111 h 214"/>
                <a:gd name="T18" fmla="*/ 111 w 421"/>
                <a:gd name="T19" fmla="*/ 93 h 214"/>
                <a:gd name="T20" fmla="*/ 90 w 421"/>
                <a:gd name="T21" fmla="*/ 103 h 214"/>
                <a:gd name="T22" fmla="*/ 100 w 421"/>
                <a:gd name="T23" fmla="*/ 131 h 214"/>
                <a:gd name="T24" fmla="*/ 132 w 421"/>
                <a:gd name="T25" fmla="*/ 145 h 214"/>
                <a:gd name="T26" fmla="*/ 62 w 421"/>
                <a:gd name="T27" fmla="*/ 157 h 214"/>
                <a:gd name="T28" fmla="*/ 88 w 421"/>
                <a:gd name="T29" fmla="*/ 158 h 214"/>
                <a:gd name="T30" fmla="*/ 109 w 421"/>
                <a:gd name="T31" fmla="*/ 157 h 214"/>
                <a:gd name="T32" fmla="*/ 88 w 421"/>
                <a:gd name="T33" fmla="*/ 167 h 214"/>
                <a:gd name="T34" fmla="*/ 132 w 421"/>
                <a:gd name="T35" fmla="*/ 159 h 214"/>
                <a:gd name="T36" fmla="*/ 51 w 421"/>
                <a:gd name="T37" fmla="*/ 168 h 214"/>
                <a:gd name="T38" fmla="*/ 39 w 421"/>
                <a:gd name="T39" fmla="*/ 207 h 214"/>
                <a:gd name="T40" fmla="*/ 72 w 421"/>
                <a:gd name="T41" fmla="*/ 202 h 214"/>
                <a:gd name="T42" fmla="*/ 93 w 421"/>
                <a:gd name="T43" fmla="*/ 203 h 214"/>
                <a:gd name="T44" fmla="*/ 126 w 421"/>
                <a:gd name="T45" fmla="*/ 207 h 214"/>
                <a:gd name="T46" fmla="*/ 149 w 421"/>
                <a:gd name="T47" fmla="*/ 205 h 214"/>
                <a:gd name="T48" fmla="*/ 191 w 421"/>
                <a:gd name="T49" fmla="*/ 193 h 214"/>
                <a:gd name="T50" fmla="*/ 135 w 421"/>
                <a:gd name="T51" fmla="*/ 184 h 214"/>
                <a:gd name="T52" fmla="*/ 188 w 421"/>
                <a:gd name="T53" fmla="*/ 162 h 214"/>
                <a:gd name="T54" fmla="*/ 204 w 421"/>
                <a:gd name="T55" fmla="*/ 155 h 214"/>
                <a:gd name="T56" fmla="*/ 235 w 421"/>
                <a:gd name="T57" fmla="*/ 142 h 214"/>
                <a:gd name="T58" fmla="*/ 217 w 421"/>
                <a:gd name="T59" fmla="*/ 129 h 214"/>
                <a:gd name="T60" fmla="*/ 237 w 421"/>
                <a:gd name="T61" fmla="*/ 125 h 214"/>
                <a:gd name="T62" fmla="*/ 235 w 421"/>
                <a:gd name="T63" fmla="*/ 108 h 214"/>
                <a:gd name="T64" fmla="*/ 268 w 421"/>
                <a:gd name="T65" fmla="*/ 98 h 214"/>
                <a:gd name="T66" fmla="*/ 305 w 421"/>
                <a:gd name="T67" fmla="*/ 90 h 214"/>
                <a:gd name="T68" fmla="*/ 341 w 421"/>
                <a:gd name="T69" fmla="*/ 53 h 214"/>
                <a:gd name="T70" fmla="*/ 357 w 421"/>
                <a:gd name="T71" fmla="*/ 50 h 214"/>
                <a:gd name="T72" fmla="*/ 393 w 421"/>
                <a:gd name="T73" fmla="*/ 23 h 214"/>
                <a:gd name="T74" fmla="*/ 345 w 421"/>
                <a:gd name="T75" fmla="*/ 6 h 214"/>
                <a:gd name="T76" fmla="*/ 249 w 421"/>
                <a:gd name="T77" fmla="*/ 11 h 214"/>
                <a:gd name="T78" fmla="*/ 219 w 421"/>
                <a:gd name="T79" fmla="*/ 19 h 214"/>
                <a:gd name="T80" fmla="*/ 154 w 421"/>
                <a:gd name="T81" fmla="*/ 7 h 214"/>
                <a:gd name="T82" fmla="*/ 147 w 421"/>
                <a:gd name="T83" fmla="*/ 21 h 214"/>
                <a:gd name="T84" fmla="*/ 117 w 421"/>
                <a:gd name="T85" fmla="*/ 23 h 214"/>
                <a:gd name="T86" fmla="*/ 65 w 421"/>
                <a:gd name="T87" fmla="*/ 33 h 214"/>
                <a:gd name="T88" fmla="*/ 0 w 421"/>
                <a:gd name="T89" fmla="*/ 50 h 21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21"/>
                <a:gd name="T136" fmla="*/ 0 h 214"/>
                <a:gd name="T137" fmla="*/ 421 w 421"/>
                <a:gd name="T138" fmla="*/ 214 h 21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21" h="214">
                  <a:moveTo>
                    <a:pt x="0" y="50"/>
                  </a:moveTo>
                  <a:lnTo>
                    <a:pt x="0" y="50"/>
                  </a:lnTo>
                  <a:lnTo>
                    <a:pt x="37" y="50"/>
                  </a:lnTo>
                  <a:lnTo>
                    <a:pt x="24" y="58"/>
                  </a:lnTo>
                  <a:lnTo>
                    <a:pt x="76" y="53"/>
                  </a:lnTo>
                  <a:lnTo>
                    <a:pt x="31" y="58"/>
                  </a:lnTo>
                  <a:lnTo>
                    <a:pt x="45" y="62"/>
                  </a:lnTo>
                  <a:lnTo>
                    <a:pt x="30" y="63"/>
                  </a:lnTo>
                  <a:lnTo>
                    <a:pt x="36" y="68"/>
                  </a:lnTo>
                  <a:lnTo>
                    <a:pt x="103" y="60"/>
                  </a:lnTo>
                  <a:lnTo>
                    <a:pt x="37" y="73"/>
                  </a:lnTo>
                  <a:lnTo>
                    <a:pt x="66" y="83"/>
                  </a:lnTo>
                  <a:lnTo>
                    <a:pt x="92" y="68"/>
                  </a:lnTo>
                  <a:lnTo>
                    <a:pt x="135" y="66"/>
                  </a:lnTo>
                  <a:lnTo>
                    <a:pt x="89" y="71"/>
                  </a:lnTo>
                  <a:lnTo>
                    <a:pt x="78" y="83"/>
                  </a:lnTo>
                  <a:lnTo>
                    <a:pt x="106" y="85"/>
                  </a:lnTo>
                  <a:lnTo>
                    <a:pt x="135" y="72"/>
                  </a:lnTo>
                  <a:lnTo>
                    <a:pt x="115" y="84"/>
                  </a:lnTo>
                  <a:lnTo>
                    <a:pt x="135" y="84"/>
                  </a:lnTo>
                  <a:lnTo>
                    <a:pt x="166" y="75"/>
                  </a:lnTo>
                  <a:lnTo>
                    <a:pt x="162" y="63"/>
                  </a:lnTo>
                  <a:lnTo>
                    <a:pt x="197" y="54"/>
                  </a:lnTo>
                  <a:lnTo>
                    <a:pt x="172" y="74"/>
                  </a:lnTo>
                  <a:lnTo>
                    <a:pt x="225" y="70"/>
                  </a:lnTo>
                  <a:lnTo>
                    <a:pt x="117" y="90"/>
                  </a:lnTo>
                  <a:lnTo>
                    <a:pt x="142" y="111"/>
                  </a:lnTo>
                  <a:lnTo>
                    <a:pt x="163" y="111"/>
                  </a:lnTo>
                  <a:lnTo>
                    <a:pt x="152" y="115"/>
                  </a:lnTo>
                  <a:lnTo>
                    <a:pt x="111" y="93"/>
                  </a:lnTo>
                  <a:lnTo>
                    <a:pt x="75" y="90"/>
                  </a:lnTo>
                  <a:lnTo>
                    <a:pt x="74" y="99"/>
                  </a:lnTo>
                  <a:lnTo>
                    <a:pt x="90" y="103"/>
                  </a:lnTo>
                  <a:lnTo>
                    <a:pt x="75" y="107"/>
                  </a:lnTo>
                  <a:lnTo>
                    <a:pt x="117" y="130"/>
                  </a:lnTo>
                  <a:lnTo>
                    <a:pt x="100" y="131"/>
                  </a:lnTo>
                  <a:lnTo>
                    <a:pt x="143" y="132"/>
                  </a:lnTo>
                  <a:lnTo>
                    <a:pt x="119" y="138"/>
                  </a:lnTo>
                  <a:lnTo>
                    <a:pt x="132" y="145"/>
                  </a:lnTo>
                  <a:lnTo>
                    <a:pt x="93" y="133"/>
                  </a:lnTo>
                  <a:lnTo>
                    <a:pt x="71" y="138"/>
                  </a:lnTo>
                  <a:lnTo>
                    <a:pt x="62" y="157"/>
                  </a:lnTo>
                  <a:lnTo>
                    <a:pt x="84" y="151"/>
                  </a:lnTo>
                  <a:lnTo>
                    <a:pt x="80" y="158"/>
                  </a:lnTo>
                  <a:lnTo>
                    <a:pt x="88" y="158"/>
                  </a:lnTo>
                  <a:lnTo>
                    <a:pt x="101" y="143"/>
                  </a:lnTo>
                  <a:lnTo>
                    <a:pt x="97" y="155"/>
                  </a:lnTo>
                  <a:lnTo>
                    <a:pt x="109" y="157"/>
                  </a:lnTo>
                  <a:lnTo>
                    <a:pt x="85" y="162"/>
                  </a:lnTo>
                  <a:lnTo>
                    <a:pt x="100" y="163"/>
                  </a:lnTo>
                  <a:lnTo>
                    <a:pt x="88" y="167"/>
                  </a:lnTo>
                  <a:lnTo>
                    <a:pt x="98" y="175"/>
                  </a:lnTo>
                  <a:lnTo>
                    <a:pt x="115" y="175"/>
                  </a:lnTo>
                  <a:lnTo>
                    <a:pt x="132" y="159"/>
                  </a:lnTo>
                  <a:lnTo>
                    <a:pt x="103" y="181"/>
                  </a:lnTo>
                  <a:lnTo>
                    <a:pt x="75" y="165"/>
                  </a:lnTo>
                  <a:lnTo>
                    <a:pt x="51" y="168"/>
                  </a:lnTo>
                  <a:lnTo>
                    <a:pt x="71" y="185"/>
                  </a:lnTo>
                  <a:lnTo>
                    <a:pt x="36" y="194"/>
                  </a:lnTo>
                  <a:lnTo>
                    <a:pt x="39" y="207"/>
                  </a:lnTo>
                  <a:lnTo>
                    <a:pt x="46" y="195"/>
                  </a:lnTo>
                  <a:lnTo>
                    <a:pt x="47" y="207"/>
                  </a:lnTo>
                  <a:lnTo>
                    <a:pt x="72" y="202"/>
                  </a:lnTo>
                  <a:lnTo>
                    <a:pt x="89" y="212"/>
                  </a:lnTo>
                  <a:lnTo>
                    <a:pt x="102" y="211"/>
                  </a:lnTo>
                  <a:lnTo>
                    <a:pt x="93" y="203"/>
                  </a:lnTo>
                  <a:lnTo>
                    <a:pt x="117" y="206"/>
                  </a:lnTo>
                  <a:lnTo>
                    <a:pt x="115" y="198"/>
                  </a:lnTo>
                  <a:lnTo>
                    <a:pt x="126" y="207"/>
                  </a:lnTo>
                  <a:lnTo>
                    <a:pt x="133" y="205"/>
                  </a:lnTo>
                  <a:lnTo>
                    <a:pt x="129" y="199"/>
                  </a:lnTo>
                  <a:lnTo>
                    <a:pt x="149" y="205"/>
                  </a:lnTo>
                  <a:lnTo>
                    <a:pt x="149" y="213"/>
                  </a:lnTo>
                  <a:lnTo>
                    <a:pt x="185" y="205"/>
                  </a:lnTo>
                  <a:lnTo>
                    <a:pt x="191" y="193"/>
                  </a:lnTo>
                  <a:lnTo>
                    <a:pt x="175" y="195"/>
                  </a:lnTo>
                  <a:lnTo>
                    <a:pt x="175" y="184"/>
                  </a:lnTo>
                  <a:lnTo>
                    <a:pt x="135" y="184"/>
                  </a:lnTo>
                  <a:lnTo>
                    <a:pt x="188" y="181"/>
                  </a:lnTo>
                  <a:lnTo>
                    <a:pt x="196" y="172"/>
                  </a:lnTo>
                  <a:lnTo>
                    <a:pt x="188" y="162"/>
                  </a:lnTo>
                  <a:lnTo>
                    <a:pt x="218" y="162"/>
                  </a:lnTo>
                  <a:lnTo>
                    <a:pt x="225" y="158"/>
                  </a:lnTo>
                  <a:lnTo>
                    <a:pt x="204" y="155"/>
                  </a:lnTo>
                  <a:lnTo>
                    <a:pt x="231" y="154"/>
                  </a:lnTo>
                  <a:lnTo>
                    <a:pt x="213" y="147"/>
                  </a:lnTo>
                  <a:lnTo>
                    <a:pt x="235" y="142"/>
                  </a:lnTo>
                  <a:lnTo>
                    <a:pt x="234" y="136"/>
                  </a:lnTo>
                  <a:lnTo>
                    <a:pt x="194" y="133"/>
                  </a:lnTo>
                  <a:lnTo>
                    <a:pt x="217" y="129"/>
                  </a:lnTo>
                  <a:lnTo>
                    <a:pt x="193" y="127"/>
                  </a:lnTo>
                  <a:lnTo>
                    <a:pt x="235" y="131"/>
                  </a:lnTo>
                  <a:lnTo>
                    <a:pt x="237" y="125"/>
                  </a:lnTo>
                  <a:lnTo>
                    <a:pt x="193" y="123"/>
                  </a:lnTo>
                  <a:lnTo>
                    <a:pt x="250" y="115"/>
                  </a:lnTo>
                  <a:lnTo>
                    <a:pt x="235" y="108"/>
                  </a:lnTo>
                  <a:lnTo>
                    <a:pt x="276" y="111"/>
                  </a:lnTo>
                  <a:lnTo>
                    <a:pt x="289" y="99"/>
                  </a:lnTo>
                  <a:lnTo>
                    <a:pt x="268" y="98"/>
                  </a:lnTo>
                  <a:lnTo>
                    <a:pt x="295" y="96"/>
                  </a:lnTo>
                  <a:lnTo>
                    <a:pt x="292" y="88"/>
                  </a:lnTo>
                  <a:lnTo>
                    <a:pt x="305" y="90"/>
                  </a:lnTo>
                  <a:lnTo>
                    <a:pt x="375" y="55"/>
                  </a:lnTo>
                  <a:lnTo>
                    <a:pt x="297" y="67"/>
                  </a:lnTo>
                  <a:lnTo>
                    <a:pt x="341" y="53"/>
                  </a:lnTo>
                  <a:lnTo>
                    <a:pt x="314" y="54"/>
                  </a:lnTo>
                  <a:lnTo>
                    <a:pt x="308" y="47"/>
                  </a:lnTo>
                  <a:lnTo>
                    <a:pt x="357" y="50"/>
                  </a:lnTo>
                  <a:lnTo>
                    <a:pt x="420" y="32"/>
                  </a:lnTo>
                  <a:lnTo>
                    <a:pt x="419" y="23"/>
                  </a:lnTo>
                  <a:lnTo>
                    <a:pt x="393" y="23"/>
                  </a:lnTo>
                  <a:lnTo>
                    <a:pt x="386" y="9"/>
                  </a:lnTo>
                  <a:lnTo>
                    <a:pt x="314" y="16"/>
                  </a:lnTo>
                  <a:lnTo>
                    <a:pt x="345" y="6"/>
                  </a:lnTo>
                  <a:lnTo>
                    <a:pt x="250" y="0"/>
                  </a:lnTo>
                  <a:lnTo>
                    <a:pt x="242" y="7"/>
                  </a:lnTo>
                  <a:lnTo>
                    <a:pt x="249" y="11"/>
                  </a:lnTo>
                  <a:lnTo>
                    <a:pt x="231" y="4"/>
                  </a:lnTo>
                  <a:lnTo>
                    <a:pt x="189" y="4"/>
                  </a:lnTo>
                  <a:lnTo>
                    <a:pt x="219" y="19"/>
                  </a:lnTo>
                  <a:lnTo>
                    <a:pt x="208" y="23"/>
                  </a:lnTo>
                  <a:lnTo>
                    <a:pt x="193" y="8"/>
                  </a:lnTo>
                  <a:lnTo>
                    <a:pt x="154" y="7"/>
                  </a:lnTo>
                  <a:lnTo>
                    <a:pt x="162" y="13"/>
                  </a:lnTo>
                  <a:lnTo>
                    <a:pt x="132" y="11"/>
                  </a:lnTo>
                  <a:lnTo>
                    <a:pt x="147" y="21"/>
                  </a:lnTo>
                  <a:lnTo>
                    <a:pt x="124" y="15"/>
                  </a:lnTo>
                  <a:lnTo>
                    <a:pt x="131" y="21"/>
                  </a:lnTo>
                  <a:lnTo>
                    <a:pt x="117" y="23"/>
                  </a:lnTo>
                  <a:lnTo>
                    <a:pt x="147" y="37"/>
                  </a:lnTo>
                  <a:lnTo>
                    <a:pt x="81" y="22"/>
                  </a:lnTo>
                  <a:lnTo>
                    <a:pt x="65" y="33"/>
                  </a:lnTo>
                  <a:lnTo>
                    <a:pt x="91" y="38"/>
                  </a:lnTo>
                  <a:lnTo>
                    <a:pt x="47" y="34"/>
                  </a:lnTo>
                  <a:lnTo>
                    <a:pt x="0" y="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3" name="Freeform 649">
              <a:extLst>
                <a:ext uri="{FF2B5EF4-FFF2-40B4-BE49-F238E27FC236}">
                  <a16:creationId xmlns:a16="http://schemas.microsoft.com/office/drawing/2014/main" id="{EF082037-E064-42AF-98F0-9FE133DC1D09}"/>
                </a:ext>
              </a:extLst>
            </p:cNvPr>
            <p:cNvSpPr>
              <a:spLocks/>
            </p:cNvSpPr>
            <p:nvPr/>
          </p:nvSpPr>
          <p:spPr bwMode="auto">
            <a:xfrm>
              <a:off x="1851" y="2184"/>
              <a:ext cx="392" cy="278"/>
            </a:xfrm>
            <a:custGeom>
              <a:avLst/>
              <a:gdLst>
                <a:gd name="T0" fmla="*/ 0 w 392"/>
                <a:gd name="T1" fmla="*/ 61 h 278"/>
                <a:gd name="T2" fmla="*/ 19 w 392"/>
                <a:gd name="T3" fmla="*/ 10 h 278"/>
                <a:gd name="T4" fmla="*/ 69 w 392"/>
                <a:gd name="T5" fmla="*/ 4 h 278"/>
                <a:gd name="T6" fmla="*/ 51 w 392"/>
                <a:gd name="T7" fmla="*/ 49 h 278"/>
                <a:gd name="T8" fmla="*/ 47 w 392"/>
                <a:gd name="T9" fmla="*/ 72 h 278"/>
                <a:gd name="T10" fmla="*/ 73 w 392"/>
                <a:gd name="T11" fmla="*/ 56 h 278"/>
                <a:gd name="T12" fmla="*/ 70 w 392"/>
                <a:gd name="T13" fmla="*/ 38 h 278"/>
                <a:gd name="T14" fmla="*/ 82 w 392"/>
                <a:gd name="T15" fmla="*/ 28 h 278"/>
                <a:gd name="T16" fmla="*/ 85 w 392"/>
                <a:gd name="T17" fmla="*/ 23 h 278"/>
                <a:gd name="T18" fmla="*/ 88 w 392"/>
                <a:gd name="T19" fmla="*/ 14 h 278"/>
                <a:gd name="T20" fmla="*/ 116 w 392"/>
                <a:gd name="T21" fmla="*/ 3 h 278"/>
                <a:gd name="T22" fmla="*/ 128 w 392"/>
                <a:gd name="T23" fmla="*/ 21 h 278"/>
                <a:gd name="T24" fmla="*/ 139 w 392"/>
                <a:gd name="T25" fmla="*/ 36 h 278"/>
                <a:gd name="T26" fmla="*/ 170 w 392"/>
                <a:gd name="T27" fmla="*/ 28 h 278"/>
                <a:gd name="T28" fmla="*/ 215 w 392"/>
                <a:gd name="T29" fmla="*/ 49 h 278"/>
                <a:gd name="T30" fmla="*/ 225 w 392"/>
                <a:gd name="T31" fmla="*/ 53 h 278"/>
                <a:gd name="T32" fmla="*/ 231 w 392"/>
                <a:gd name="T33" fmla="*/ 65 h 278"/>
                <a:gd name="T34" fmla="*/ 254 w 392"/>
                <a:gd name="T35" fmla="*/ 60 h 278"/>
                <a:gd name="T36" fmla="*/ 246 w 392"/>
                <a:gd name="T37" fmla="*/ 71 h 278"/>
                <a:gd name="T38" fmla="*/ 262 w 392"/>
                <a:gd name="T39" fmla="*/ 82 h 278"/>
                <a:gd name="T40" fmla="*/ 267 w 392"/>
                <a:gd name="T41" fmla="*/ 85 h 278"/>
                <a:gd name="T42" fmla="*/ 279 w 392"/>
                <a:gd name="T43" fmla="*/ 92 h 278"/>
                <a:gd name="T44" fmla="*/ 287 w 392"/>
                <a:gd name="T45" fmla="*/ 98 h 278"/>
                <a:gd name="T46" fmla="*/ 312 w 392"/>
                <a:gd name="T47" fmla="*/ 99 h 278"/>
                <a:gd name="T48" fmla="*/ 322 w 392"/>
                <a:gd name="T49" fmla="*/ 114 h 278"/>
                <a:gd name="T50" fmla="*/ 305 w 392"/>
                <a:gd name="T51" fmla="*/ 120 h 278"/>
                <a:gd name="T52" fmla="*/ 329 w 392"/>
                <a:gd name="T53" fmla="*/ 146 h 278"/>
                <a:gd name="T54" fmla="*/ 353 w 392"/>
                <a:gd name="T55" fmla="*/ 162 h 278"/>
                <a:gd name="T56" fmla="*/ 367 w 392"/>
                <a:gd name="T57" fmla="*/ 169 h 278"/>
                <a:gd name="T58" fmla="*/ 388 w 392"/>
                <a:gd name="T59" fmla="*/ 184 h 278"/>
                <a:gd name="T60" fmla="*/ 381 w 392"/>
                <a:gd name="T61" fmla="*/ 189 h 278"/>
                <a:gd name="T62" fmla="*/ 364 w 392"/>
                <a:gd name="T63" fmla="*/ 195 h 278"/>
                <a:gd name="T64" fmla="*/ 317 w 392"/>
                <a:gd name="T65" fmla="*/ 178 h 278"/>
                <a:gd name="T66" fmla="*/ 312 w 392"/>
                <a:gd name="T67" fmla="*/ 190 h 278"/>
                <a:gd name="T68" fmla="*/ 310 w 392"/>
                <a:gd name="T69" fmla="*/ 198 h 278"/>
                <a:gd name="T70" fmla="*/ 341 w 392"/>
                <a:gd name="T71" fmla="*/ 220 h 278"/>
                <a:gd name="T72" fmla="*/ 351 w 392"/>
                <a:gd name="T73" fmla="*/ 240 h 278"/>
                <a:gd name="T74" fmla="*/ 290 w 392"/>
                <a:gd name="T75" fmla="*/ 239 h 278"/>
                <a:gd name="T76" fmla="*/ 256 w 392"/>
                <a:gd name="T77" fmla="*/ 256 h 278"/>
                <a:gd name="T78" fmla="*/ 256 w 392"/>
                <a:gd name="T79" fmla="*/ 242 h 278"/>
                <a:gd name="T80" fmla="*/ 227 w 392"/>
                <a:gd name="T81" fmla="*/ 219 h 278"/>
                <a:gd name="T82" fmla="*/ 208 w 392"/>
                <a:gd name="T83" fmla="*/ 224 h 278"/>
                <a:gd name="T84" fmla="*/ 182 w 392"/>
                <a:gd name="T85" fmla="*/ 229 h 278"/>
                <a:gd name="T86" fmla="*/ 173 w 392"/>
                <a:gd name="T87" fmla="*/ 202 h 278"/>
                <a:gd name="T88" fmla="*/ 213 w 392"/>
                <a:gd name="T89" fmla="*/ 186 h 278"/>
                <a:gd name="T90" fmla="*/ 221 w 392"/>
                <a:gd name="T91" fmla="*/ 128 h 278"/>
                <a:gd name="T92" fmla="*/ 215 w 392"/>
                <a:gd name="T93" fmla="*/ 120 h 278"/>
                <a:gd name="T94" fmla="*/ 182 w 392"/>
                <a:gd name="T95" fmla="*/ 119 h 278"/>
                <a:gd name="T96" fmla="*/ 170 w 392"/>
                <a:gd name="T97" fmla="*/ 101 h 278"/>
                <a:gd name="T98" fmla="*/ 148 w 392"/>
                <a:gd name="T99" fmla="*/ 86 h 278"/>
                <a:gd name="T100" fmla="*/ 115 w 392"/>
                <a:gd name="T101" fmla="*/ 95 h 278"/>
                <a:gd name="T102" fmla="*/ 26 w 392"/>
                <a:gd name="T103" fmla="*/ 89 h 278"/>
                <a:gd name="T104" fmla="*/ 39 w 392"/>
                <a:gd name="T105" fmla="*/ 72 h 278"/>
                <a:gd name="T106" fmla="*/ 0 w 392"/>
                <a:gd name="T107" fmla="*/ 61 h 2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2"/>
                <a:gd name="T163" fmla="*/ 0 h 278"/>
                <a:gd name="T164" fmla="*/ 392 w 392"/>
                <a:gd name="T165" fmla="*/ 278 h 2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2" h="278">
                  <a:moveTo>
                    <a:pt x="0" y="61"/>
                  </a:moveTo>
                  <a:lnTo>
                    <a:pt x="0" y="61"/>
                  </a:lnTo>
                  <a:lnTo>
                    <a:pt x="3" y="32"/>
                  </a:lnTo>
                  <a:lnTo>
                    <a:pt x="19" y="10"/>
                  </a:lnTo>
                  <a:lnTo>
                    <a:pt x="47" y="0"/>
                  </a:lnTo>
                  <a:lnTo>
                    <a:pt x="69" y="4"/>
                  </a:lnTo>
                  <a:lnTo>
                    <a:pt x="45" y="32"/>
                  </a:lnTo>
                  <a:lnTo>
                    <a:pt x="51" y="49"/>
                  </a:lnTo>
                  <a:lnTo>
                    <a:pt x="69" y="65"/>
                  </a:lnTo>
                  <a:lnTo>
                    <a:pt x="47" y="72"/>
                  </a:lnTo>
                  <a:lnTo>
                    <a:pt x="70" y="71"/>
                  </a:lnTo>
                  <a:lnTo>
                    <a:pt x="73" y="56"/>
                  </a:lnTo>
                  <a:lnTo>
                    <a:pt x="56" y="47"/>
                  </a:lnTo>
                  <a:lnTo>
                    <a:pt x="70" y="38"/>
                  </a:lnTo>
                  <a:lnTo>
                    <a:pt x="59" y="25"/>
                  </a:lnTo>
                  <a:lnTo>
                    <a:pt x="82" y="28"/>
                  </a:lnTo>
                  <a:lnTo>
                    <a:pt x="61" y="21"/>
                  </a:lnTo>
                  <a:lnTo>
                    <a:pt x="85" y="23"/>
                  </a:lnTo>
                  <a:lnTo>
                    <a:pt x="69" y="13"/>
                  </a:lnTo>
                  <a:lnTo>
                    <a:pt x="88" y="14"/>
                  </a:lnTo>
                  <a:lnTo>
                    <a:pt x="100" y="4"/>
                  </a:lnTo>
                  <a:lnTo>
                    <a:pt x="116" y="3"/>
                  </a:lnTo>
                  <a:lnTo>
                    <a:pt x="117" y="16"/>
                  </a:lnTo>
                  <a:lnTo>
                    <a:pt x="128" y="21"/>
                  </a:lnTo>
                  <a:lnTo>
                    <a:pt x="124" y="49"/>
                  </a:lnTo>
                  <a:lnTo>
                    <a:pt x="139" y="36"/>
                  </a:lnTo>
                  <a:lnTo>
                    <a:pt x="148" y="41"/>
                  </a:lnTo>
                  <a:lnTo>
                    <a:pt x="170" y="28"/>
                  </a:lnTo>
                  <a:lnTo>
                    <a:pt x="202" y="36"/>
                  </a:lnTo>
                  <a:lnTo>
                    <a:pt x="215" y="49"/>
                  </a:lnTo>
                  <a:lnTo>
                    <a:pt x="206" y="56"/>
                  </a:lnTo>
                  <a:lnTo>
                    <a:pt x="225" y="53"/>
                  </a:lnTo>
                  <a:lnTo>
                    <a:pt x="219" y="61"/>
                  </a:lnTo>
                  <a:lnTo>
                    <a:pt x="231" y="65"/>
                  </a:lnTo>
                  <a:lnTo>
                    <a:pt x="240" y="55"/>
                  </a:lnTo>
                  <a:lnTo>
                    <a:pt x="254" y="60"/>
                  </a:lnTo>
                  <a:lnTo>
                    <a:pt x="258" y="69"/>
                  </a:lnTo>
                  <a:lnTo>
                    <a:pt x="246" y="71"/>
                  </a:lnTo>
                  <a:lnTo>
                    <a:pt x="265" y="71"/>
                  </a:lnTo>
                  <a:lnTo>
                    <a:pt x="262" y="82"/>
                  </a:lnTo>
                  <a:lnTo>
                    <a:pt x="276" y="76"/>
                  </a:lnTo>
                  <a:lnTo>
                    <a:pt x="267" y="85"/>
                  </a:lnTo>
                  <a:lnTo>
                    <a:pt x="295" y="83"/>
                  </a:lnTo>
                  <a:lnTo>
                    <a:pt x="279" y="92"/>
                  </a:lnTo>
                  <a:lnTo>
                    <a:pt x="292" y="92"/>
                  </a:lnTo>
                  <a:lnTo>
                    <a:pt x="287" y="98"/>
                  </a:lnTo>
                  <a:lnTo>
                    <a:pt x="300" y="89"/>
                  </a:lnTo>
                  <a:lnTo>
                    <a:pt x="312" y="99"/>
                  </a:lnTo>
                  <a:lnTo>
                    <a:pt x="290" y="107"/>
                  </a:lnTo>
                  <a:lnTo>
                    <a:pt x="322" y="114"/>
                  </a:lnTo>
                  <a:lnTo>
                    <a:pt x="294" y="116"/>
                  </a:lnTo>
                  <a:lnTo>
                    <a:pt x="305" y="120"/>
                  </a:lnTo>
                  <a:lnTo>
                    <a:pt x="296" y="129"/>
                  </a:lnTo>
                  <a:lnTo>
                    <a:pt x="329" y="146"/>
                  </a:lnTo>
                  <a:lnTo>
                    <a:pt x="345" y="143"/>
                  </a:lnTo>
                  <a:lnTo>
                    <a:pt x="353" y="162"/>
                  </a:lnTo>
                  <a:lnTo>
                    <a:pt x="369" y="161"/>
                  </a:lnTo>
                  <a:lnTo>
                    <a:pt x="367" y="169"/>
                  </a:lnTo>
                  <a:lnTo>
                    <a:pt x="391" y="174"/>
                  </a:lnTo>
                  <a:lnTo>
                    <a:pt x="388" y="184"/>
                  </a:lnTo>
                  <a:lnTo>
                    <a:pt x="376" y="183"/>
                  </a:lnTo>
                  <a:lnTo>
                    <a:pt x="381" y="189"/>
                  </a:lnTo>
                  <a:lnTo>
                    <a:pt x="375" y="199"/>
                  </a:lnTo>
                  <a:lnTo>
                    <a:pt x="364" y="195"/>
                  </a:lnTo>
                  <a:lnTo>
                    <a:pt x="362" y="214"/>
                  </a:lnTo>
                  <a:lnTo>
                    <a:pt x="317" y="178"/>
                  </a:lnTo>
                  <a:lnTo>
                    <a:pt x="300" y="182"/>
                  </a:lnTo>
                  <a:lnTo>
                    <a:pt x="312" y="190"/>
                  </a:lnTo>
                  <a:lnTo>
                    <a:pt x="303" y="199"/>
                  </a:lnTo>
                  <a:lnTo>
                    <a:pt x="310" y="198"/>
                  </a:lnTo>
                  <a:lnTo>
                    <a:pt x="320" y="216"/>
                  </a:lnTo>
                  <a:lnTo>
                    <a:pt x="341" y="220"/>
                  </a:lnTo>
                  <a:lnTo>
                    <a:pt x="340" y="231"/>
                  </a:lnTo>
                  <a:lnTo>
                    <a:pt x="351" y="240"/>
                  </a:lnTo>
                  <a:lnTo>
                    <a:pt x="345" y="264"/>
                  </a:lnTo>
                  <a:lnTo>
                    <a:pt x="290" y="239"/>
                  </a:lnTo>
                  <a:lnTo>
                    <a:pt x="327" y="277"/>
                  </a:lnTo>
                  <a:lnTo>
                    <a:pt x="256" y="256"/>
                  </a:lnTo>
                  <a:lnTo>
                    <a:pt x="246" y="243"/>
                  </a:lnTo>
                  <a:lnTo>
                    <a:pt x="256" y="242"/>
                  </a:lnTo>
                  <a:lnTo>
                    <a:pt x="233" y="234"/>
                  </a:lnTo>
                  <a:lnTo>
                    <a:pt x="227" y="219"/>
                  </a:lnTo>
                  <a:lnTo>
                    <a:pt x="209" y="214"/>
                  </a:lnTo>
                  <a:lnTo>
                    <a:pt x="208" y="224"/>
                  </a:lnTo>
                  <a:lnTo>
                    <a:pt x="198" y="219"/>
                  </a:lnTo>
                  <a:lnTo>
                    <a:pt x="182" y="229"/>
                  </a:lnTo>
                  <a:lnTo>
                    <a:pt x="163" y="219"/>
                  </a:lnTo>
                  <a:lnTo>
                    <a:pt x="173" y="202"/>
                  </a:lnTo>
                  <a:lnTo>
                    <a:pt x="225" y="202"/>
                  </a:lnTo>
                  <a:lnTo>
                    <a:pt x="213" y="186"/>
                  </a:lnTo>
                  <a:lnTo>
                    <a:pt x="242" y="161"/>
                  </a:lnTo>
                  <a:lnTo>
                    <a:pt x="221" y="128"/>
                  </a:lnTo>
                  <a:lnTo>
                    <a:pt x="207" y="125"/>
                  </a:lnTo>
                  <a:lnTo>
                    <a:pt x="215" y="120"/>
                  </a:lnTo>
                  <a:lnTo>
                    <a:pt x="183" y="129"/>
                  </a:lnTo>
                  <a:lnTo>
                    <a:pt x="182" y="119"/>
                  </a:lnTo>
                  <a:lnTo>
                    <a:pt x="194" y="114"/>
                  </a:lnTo>
                  <a:lnTo>
                    <a:pt x="170" y="101"/>
                  </a:lnTo>
                  <a:lnTo>
                    <a:pt x="170" y="91"/>
                  </a:lnTo>
                  <a:lnTo>
                    <a:pt x="148" y="86"/>
                  </a:lnTo>
                  <a:lnTo>
                    <a:pt x="153" y="100"/>
                  </a:lnTo>
                  <a:lnTo>
                    <a:pt x="115" y="95"/>
                  </a:lnTo>
                  <a:lnTo>
                    <a:pt x="125" y="102"/>
                  </a:lnTo>
                  <a:lnTo>
                    <a:pt x="26" y="89"/>
                  </a:lnTo>
                  <a:lnTo>
                    <a:pt x="8" y="71"/>
                  </a:lnTo>
                  <a:lnTo>
                    <a:pt x="39" y="72"/>
                  </a:lnTo>
                  <a:lnTo>
                    <a:pt x="0" y="6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4" name="Freeform 650">
              <a:extLst>
                <a:ext uri="{FF2B5EF4-FFF2-40B4-BE49-F238E27FC236}">
                  <a16:creationId xmlns:a16="http://schemas.microsoft.com/office/drawing/2014/main" id="{98B4C2FA-6767-429D-A4F4-A6C69BD8FB7F}"/>
                </a:ext>
              </a:extLst>
            </p:cNvPr>
            <p:cNvSpPr>
              <a:spLocks/>
            </p:cNvSpPr>
            <p:nvPr/>
          </p:nvSpPr>
          <p:spPr bwMode="auto">
            <a:xfrm>
              <a:off x="1890" y="2375"/>
              <a:ext cx="92" cy="62"/>
            </a:xfrm>
            <a:custGeom>
              <a:avLst/>
              <a:gdLst>
                <a:gd name="T0" fmla="*/ 0 w 92"/>
                <a:gd name="T1" fmla="*/ 50 h 62"/>
                <a:gd name="T2" fmla="*/ 0 w 92"/>
                <a:gd name="T3" fmla="*/ 50 h 62"/>
                <a:gd name="T4" fmla="*/ 14 w 92"/>
                <a:gd name="T5" fmla="*/ 38 h 62"/>
                <a:gd name="T6" fmla="*/ 22 w 92"/>
                <a:gd name="T7" fmla="*/ 0 h 62"/>
                <a:gd name="T8" fmla="*/ 30 w 92"/>
                <a:gd name="T9" fmla="*/ 14 h 62"/>
                <a:gd name="T10" fmla="*/ 51 w 92"/>
                <a:gd name="T11" fmla="*/ 17 h 62"/>
                <a:gd name="T12" fmla="*/ 91 w 92"/>
                <a:gd name="T13" fmla="*/ 45 h 62"/>
                <a:gd name="T14" fmla="*/ 86 w 92"/>
                <a:gd name="T15" fmla="*/ 54 h 62"/>
                <a:gd name="T16" fmla="*/ 49 w 92"/>
                <a:gd name="T17" fmla="*/ 41 h 62"/>
                <a:gd name="T18" fmla="*/ 27 w 92"/>
                <a:gd name="T19" fmla="*/ 61 h 62"/>
                <a:gd name="T20" fmla="*/ 21 w 92"/>
                <a:gd name="T21" fmla="*/ 45 h 62"/>
                <a:gd name="T22" fmla="*/ 0 w 92"/>
                <a:gd name="T23" fmla="*/ 50 h 62"/>
                <a:gd name="T24" fmla="*/ 0 w 92"/>
                <a:gd name="T25" fmla="*/ 5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62"/>
                <a:gd name="T41" fmla="*/ 92 w 92"/>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62">
                  <a:moveTo>
                    <a:pt x="0" y="50"/>
                  </a:moveTo>
                  <a:lnTo>
                    <a:pt x="0" y="50"/>
                  </a:lnTo>
                  <a:lnTo>
                    <a:pt x="14" y="38"/>
                  </a:lnTo>
                  <a:lnTo>
                    <a:pt x="22" y="0"/>
                  </a:lnTo>
                  <a:lnTo>
                    <a:pt x="30" y="14"/>
                  </a:lnTo>
                  <a:lnTo>
                    <a:pt x="51" y="17"/>
                  </a:lnTo>
                  <a:lnTo>
                    <a:pt x="91" y="45"/>
                  </a:lnTo>
                  <a:lnTo>
                    <a:pt x="86" y="54"/>
                  </a:lnTo>
                  <a:lnTo>
                    <a:pt x="49" y="41"/>
                  </a:lnTo>
                  <a:lnTo>
                    <a:pt x="27" y="61"/>
                  </a:lnTo>
                  <a:lnTo>
                    <a:pt x="21" y="45"/>
                  </a:lnTo>
                  <a:lnTo>
                    <a:pt x="0" y="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5" name="Freeform 651">
              <a:extLst>
                <a:ext uri="{FF2B5EF4-FFF2-40B4-BE49-F238E27FC236}">
                  <a16:creationId xmlns:a16="http://schemas.microsoft.com/office/drawing/2014/main" id="{A1A87950-40EA-4DE8-8CE6-D33F454687B7}"/>
                </a:ext>
              </a:extLst>
            </p:cNvPr>
            <p:cNvSpPr>
              <a:spLocks/>
            </p:cNvSpPr>
            <p:nvPr/>
          </p:nvSpPr>
          <p:spPr bwMode="auto">
            <a:xfrm>
              <a:off x="2271" y="2661"/>
              <a:ext cx="92" cy="89"/>
            </a:xfrm>
            <a:custGeom>
              <a:avLst/>
              <a:gdLst>
                <a:gd name="T0" fmla="*/ 0 w 92"/>
                <a:gd name="T1" fmla="*/ 69 h 89"/>
                <a:gd name="T2" fmla="*/ 0 w 92"/>
                <a:gd name="T3" fmla="*/ 69 h 89"/>
                <a:gd name="T4" fmla="*/ 37 w 92"/>
                <a:gd name="T5" fmla="*/ 4 h 89"/>
                <a:gd name="T6" fmla="*/ 52 w 92"/>
                <a:gd name="T7" fmla="*/ 0 h 89"/>
                <a:gd name="T8" fmla="*/ 34 w 92"/>
                <a:gd name="T9" fmla="*/ 34 h 89"/>
                <a:gd name="T10" fmla="*/ 46 w 92"/>
                <a:gd name="T11" fmla="*/ 26 h 89"/>
                <a:gd name="T12" fmla="*/ 54 w 92"/>
                <a:gd name="T13" fmla="*/ 41 h 89"/>
                <a:gd name="T14" fmla="*/ 78 w 92"/>
                <a:gd name="T15" fmla="*/ 41 h 89"/>
                <a:gd name="T16" fmla="*/ 73 w 92"/>
                <a:gd name="T17" fmla="*/ 54 h 89"/>
                <a:gd name="T18" fmla="*/ 85 w 92"/>
                <a:gd name="T19" fmla="*/ 53 h 89"/>
                <a:gd name="T20" fmla="*/ 77 w 92"/>
                <a:gd name="T21" fmla="*/ 67 h 89"/>
                <a:gd name="T22" fmla="*/ 88 w 92"/>
                <a:gd name="T23" fmla="*/ 60 h 89"/>
                <a:gd name="T24" fmla="*/ 91 w 92"/>
                <a:gd name="T25" fmla="*/ 73 h 89"/>
                <a:gd name="T26" fmla="*/ 79 w 92"/>
                <a:gd name="T27" fmla="*/ 88 h 89"/>
                <a:gd name="T28" fmla="*/ 78 w 92"/>
                <a:gd name="T29" fmla="*/ 77 h 89"/>
                <a:gd name="T30" fmla="*/ 73 w 92"/>
                <a:gd name="T31" fmla="*/ 83 h 89"/>
                <a:gd name="T32" fmla="*/ 73 w 92"/>
                <a:gd name="T33" fmla="*/ 66 h 89"/>
                <a:gd name="T34" fmla="*/ 50 w 92"/>
                <a:gd name="T35" fmla="*/ 83 h 89"/>
                <a:gd name="T36" fmla="*/ 63 w 92"/>
                <a:gd name="T37" fmla="*/ 71 h 89"/>
                <a:gd name="T38" fmla="*/ 45 w 92"/>
                <a:gd name="T39" fmla="*/ 73 h 89"/>
                <a:gd name="T40" fmla="*/ 49 w 92"/>
                <a:gd name="T41" fmla="*/ 66 h 89"/>
                <a:gd name="T42" fmla="*/ 0 w 92"/>
                <a:gd name="T43" fmla="*/ 69 h 89"/>
                <a:gd name="T44" fmla="*/ 0 w 92"/>
                <a:gd name="T45" fmla="*/ 69 h 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2"/>
                <a:gd name="T70" fmla="*/ 0 h 89"/>
                <a:gd name="T71" fmla="*/ 92 w 92"/>
                <a:gd name="T72" fmla="*/ 89 h 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2" h="89">
                  <a:moveTo>
                    <a:pt x="0" y="69"/>
                  </a:moveTo>
                  <a:lnTo>
                    <a:pt x="0" y="69"/>
                  </a:lnTo>
                  <a:lnTo>
                    <a:pt x="37" y="4"/>
                  </a:lnTo>
                  <a:lnTo>
                    <a:pt x="52" y="0"/>
                  </a:lnTo>
                  <a:lnTo>
                    <a:pt x="34" y="34"/>
                  </a:lnTo>
                  <a:lnTo>
                    <a:pt x="46" y="26"/>
                  </a:lnTo>
                  <a:lnTo>
                    <a:pt x="54" y="41"/>
                  </a:lnTo>
                  <a:lnTo>
                    <a:pt x="78" y="41"/>
                  </a:lnTo>
                  <a:lnTo>
                    <a:pt x="73" y="54"/>
                  </a:lnTo>
                  <a:lnTo>
                    <a:pt x="85" y="53"/>
                  </a:lnTo>
                  <a:lnTo>
                    <a:pt x="77" y="67"/>
                  </a:lnTo>
                  <a:lnTo>
                    <a:pt x="88" y="60"/>
                  </a:lnTo>
                  <a:lnTo>
                    <a:pt x="91" y="73"/>
                  </a:lnTo>
                  <a:lnTo>
                    <a:pt x="79" y="88"/>
                  </a:lnTo>
                  <a:lnTo>
                    <a:pt x="78" y="77"/>
                  </a:lnTo>
                  <a:lnTo>
                    <a:pt x="73" y="83"/>
                  </a:lnTo>
                  <a:lnTo>
                    <a:pt x="73" y="66"/>
                  </a:lnTo>
                  <a:lnTo>
                    <a:pt x="50" y="83"/>
                  </a:lnTo>
                  <a:lnTo>
                    <a:pt x="63" y="71"/>
                  </a:lnTo>
                  <a:lnTo>
                    <a:pt x="45" y="73"/>
                  </a:lnTo>
                  <a:lnTo>
                    <a:pt x="49" y="66"/>
                  </a:lnTo>
                  <a:lnTo>
                    <a:pt x="0" y="6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66" name="Freeform 652">
            <a:extLst>
              <a:ext uri="{FF2B5EF4-FFF2-40B4-BE49-F238E27FC236}">
                <a16:creationId xmlns:a16="http://schemas.microsoft.com/office/drawing/2014/main" id="{90B134E2-230D-4E83-9B2B-2B5C0A7635AE}"/>
              </a:ext>
            </a:extLst>
          </p:cNvPr>
          <p:cNvSpPr>
            <a:spLocks/>
          </p:cNvSpPr>
          <p:nvPr/>
        </p:nvSpPr>
        <p:spPr bwMode="auto">
          <a:xfrm>
            <a:off x="2920127" y="3659924"/>
            <a:ext cx="950468" cy="673324"/>
          </a:xfrm>
          <a:custGeom>
            <a:avLst/>
            <a:gdLst>
              <a:gd name="T0" fmla="*/ 91471449 w 830"/>
              <a:gd name="T1" fmla="*/ 245076928 h 606"/>
              <a:gd name="T2" fmla="*/ 182942897 w 830"/>
              <a:gd name="T3" fmla="*/ 205933045 h 606"/>
              <a:gd name="T4" fmla="*/ 148834854 w 830"/>
              <a:gd name="T5" fmla="*/ 199125753 h 606"/>
              <a:gd name="T6" fmla="*/ 243406691 w 830"/>
              <a:gd name="T7" fmla="*/ 132750054 h 606"/>
              <a:gd name="T8" fmla="*/ 275964501 w 830"/>
              <a:gd name="T9" fmla="*/ 88500049 h 606"/>
              <a:gd name="T10" fmla="*/ 410846402 w 830"/>
              <a:gd name="T11" fmla="*/ 86798879 h 606"/>
              <a:gd name="T12" fmla="*/ 455807010 w 830"/>
              <a:gd name="T13" fmla="*/ 76586617 h 606"/>
              <a:gd name="T14" fmla="*/ 576735842 w 830"/>
              <a:gd name="T15" fmla="*/ 86798879 h 606"/>
              <a:gd name="T16" fmla="*/ 561231411 w 830"/>
              <a:gd name="T17" fmla="*/ 44250025 h 606"/>
              <a:gd name="T18" fmla="*/ 607742213 w 830"/>
              <a:gd name="T19" fmla="*/ 39143894 h 606"/>
              <a:gd name="T20" fmla="*/ 617044622 w 830"/>
              <a:gd name="T21" fmla="*/ 15317063 h 606"/>
              <a:gd name="T22" fmla="*/ 702315412 w 830"/>
              <a:gd name="T23" fmla="*/ 20423184 h 606"/>
              <a:gd name="T24" fmla="*/ 976729641 w 830"/>
              <a:gd name="T25" fmla="*/ 15317063 h 606"/>
              <a:gd name="T26" fmla="*/ 767429787 w 830"/>
              <a:gd name="T27" fmla="*/ 39143894 h 606"/>
              <a:gd name="T28" fmla="*/ 1021690249 w 830"/>
              <a:gd name="T29" fmla="*/ 39143894 h 606"/>
              <a:gd name="T30" fmla="*/ 883708037 w 830"/>
              <a:gd name="T31" fmla="*/ 85096383 h 606"/>
              <a:gd name="T32" fmla="*/ 992232826 w 830"/>
              <a:gd name="T33" fmla="*/ 97009816 h 606"/>
              <a:gd name="T34" fmla="*/ 1017038421 w 830"/>
              <a:gd name="T35" fmla="*/ 171893978 h 606"/>
              <a:gd name="T36" fmla="*/ 1172075258 w 830"/>
              <a:gd name="T37" fmla="*/ 97009816 h 606"/>
              <a:gd name="T38" fmla="*/ 1227888469 w 830"/>
              <a:gd name="T39" fmla="*/ 151472062 h 606"/>
              <a:gd name="T40" fmla="*/ 1114711852 w 830"/>
              <a:gd name="T41" fmla="*/ 209336691 h 606"/>
              <a:gd name="T42" fmla="*/ 1141067641 w 830"/>
              <a:gd name="T43" fmla="*/ 234865991 h 606"/>
              <a:gd name="T44" fmla="*/ 1137967253 w 830"/>
              <a:gd name="T45" fmla="*/ 311452587 h 606"/>
              <a:gd name="T46" fmla="*/ 1158122266 w 830"/>
              <a:gd name="T47" fmla="*/ 354000198 h 606"/>
              <a:gd name="T48" fmla="*/ 1085254430 w 830"/>
              <a:gd name="T49" fmla="*/ 384635619 h 606"/>
              <a:gd name="T50" fmla="*/ 1128664844 w 830"/>
              <a:gd name="T51" fmla="*/ 437395390 h 606"/>
              <a:gd name="T52" fmla="*/ 1105409443 w 830"/>
              <a:gd name="T53" fmla="*/ 442501511 h 606"/>
              <a:gd name="T54" fmla="*/ 1066650856 w 830"/>
              <a:gd name="T55" fmla="*/ 473135628 h 606"/>
              <a:gd name="T56" fmla="*/ 1030992658 w 830"/>
              <a:gd name="T57" fmla="*/ 496962453 h 606"/>
              <a:gd name="T58" fmla="*/ 1018589860 w 830"/>
              <a:gd name="T59" fmla="*/ 546318578 h 606"/>
              <a:gd name="T60" fmla="*/ 1052696620 w 830"/>
              <a:gd name="T61" fmla="*/ 595674703 h 606"/>
              <a:gd name="T62" fmla="*/ 1086804624 w 830"/>
              <a:gd name="T63" fmla="*/ 641625878 h 606"/>
              <a:gd name="T64" fmla="*/ 1021690249 w 830"/>
              <a:gd name="T65" fmla="*/ 604184470 h 606"/>
              <a:gd name="T66" fmla="*/ 930218839 w 830"/>
              <a:gd name="T67" fmla="*/ 641625878 h 606"/>
              <a:gd name="T68" fmla="*/ 1071301438 w 830"/>
              <a:gd name="T69" fmla="*/ 662049057 h 606"/>
              <a:gd name="T70" fmla="*/ 855800809 w 830"/>
              <a:gd name="T71" fmla="*/ 714808992 h 606"/>
              <a:gd name="T72" fmla="*/ 786034606 w 830"/>
              <a:gd name="T73" fmla="*/ 805011475 h 606"/>
              <a:gd name="T74" fmla="*/ 759678817 w 830"/>
              <a:gd name="T75" fmla="*/ 806712646 h 606"/>
              <a:gd name="T76" fmla="*/ 696113390 w 830"/>
              <a:gd name="T77" fmla="*/ 857771246 h 606"/>
              <a:gd name="T78" fmla="*/ 686810981 w 830"/>
              <a:gd name="T79" fmla="*/ 900318776 h 606"/>
              <a:gd name="T80" fmla="*/ 654253171 w 830"/>
              <a:gd name="T81" fmla="*/ 924146905 h 606"/>
              <a:gd name="T82" fmla="*/ 638749829 w 830"/>
              <a:gd name="T83" fmla="*/ 1014348084 h 606"/>
              <a:gd name="T84" fmla="*/ 586037006 w 830"/>
              <a:gd name="T85" fmla="*/ 1002434672 h 606"/>
              <a:gd name="T86" fmla="*/ 524023019 w 830"/>
              <a:gd name="T87" fmla="*/ 982011493 h 606"/>
              <a:gd name="T88" fmla="*/ 455807010 w 830"/>
              <a:gd name="T89" fmla="*/ 905424897 h 606"/>
              <a:gd name="T90" fmla="*/ 443404213 w 830"/>
              <a:gd name="T91" fmla="*/ 885001717 h 606"/>
              <a:gd name="T92" fmla="*/ 406195820 w 830"/>
              <a:gd name="T93" fmla="*/ 769271238 h 606"/>
              <a:gd name="T94" fmla="*/ 462009031 w 830"/>
              <a:gd name="T95" fmla="*/ 723318758 h 606"/>
              <a:gd name="T96" fmla="*/ 479062411 w 830"/>
              <a:gd name="T97" fmla="*/ 658645412 h 606"/>
              <a:gd name="T98" fmla="*/ 458907398 w 830"/>
              <a:gd name="T99" fmla="*/ 636521062 h 606"/>
              <a:gd name="T100" fmla="*/ 434101803 w 830"/>
              <a:gd name="T101" fmla="*/ 610991761 h 606"/>
              <a:gd name="T102" fmla="*/ 410846402 w 830"/>
              <a:gd name="T103" fmla="*/ 575251524 h 606"/>
              <a:gd name="T104" fmla="*/ 386040807 w 830"/>
              <a:gd name="T105" fmla="*/ 575251524 h 606"/>
              <a:gd name="T106" fmla="*/ 378288592 w 830"/>
              <a:gd name="T107" fmla="*/ 513981986 h 606"/>
              <a:gd name="T108" fmla="*/ 306972117 w 830"/>
              <a:gd name="T109" fmla="*/ 410164919 h 606"/>
              <a:gd name="T110" fmla="*/ 128679841 w 830"/>
              <a:gd name="T111" fmla="*/ 384635619 h 606"/>
              <a:gd name="T112" fmla="*/ 103874246 w 830"/>
              <a:gd name="T113" fmla="*/ 364212440 h 606"/>
              <a:gd name="T114" fmla="*/ 155036875 w 830"/>
              <a:gd name="T115" fmla="*/ 335279412 h 606"/>
              <a:gd name="T116" fmla="*/ 0 w 830"/>
              <a:gd name="T117" fmla="*/ 289326933 h 6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30"/>
              <a:gd name="T178" fmla="*/ 0 h 606"/>
              <a:gd name="T179" fmla="*/ 830 w 830"/>
              <a:gd name="T180" fmla="*/ 606 h 60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30" h="606">
                <a:moveTo>
                  <a:pt x="0" y="170"/>
                </a:moveTo>
                <a:lnTo>
                  <a:pt x="0" y="170"/>
                </a:lnTo>
                <a:lnTo>
                  <a:pt x="5" y="161"/>
                </a:lnTo>
                <a:lnTo>
                  <a:pt x="59" y="144"/>
                </a:lnTo>
                <a:lnTo>
                  <a:pt x="93" y="144"/>
                </a:lnTo>
                <a:lnTo>
                  <a:pt x="112" y="130"/>
                </a:lnTo>
                <a:lnTo>
                  <a:pt x="107" y="126"/>
                </a:lnTo>
                <a:lnTo>
                  <a:pt x="118" y="121"/>
                </a:lnTo>
                <a:lnTo>
                  <a:pt x="108" y="118"/>
                </a:lnTo>
                <a:lnTo>
                  <a:pt x="127" y="112"/>
                </a:lnTo>
                <a:lnTo>
                  <a:pt x="120" y="108"/>
                </a:lnTo>
                <a:lnTo>
                  <a:pt x="96" y="117"/>
                </a:lnTo>
                <a:lnTo>
                  <a:pt x="72" y="105"/>
                </a:lnTo>
                <a:lnTo>
                  <a:pt x="103" y="98"/>
                </a:lnTo>
                <a:lnTo>
                  <a:pt x="120" y="79"/>
                </a:lnTo>
                <a:lnTo>
                  <a:pt x="157" y="78"/>
                </a:lnTo>
                <a:lnTo>
                  <a:pt x="155" y="57"/>
                </a:lnTo>
                <a:lnTo>
                  <a:pt x="183" y="57"/>
                </a:lnTo>
                <a:lnTo>
                  <a:pt x="211" y="72"/>
                </a:lnTo>
                <a:lnTo>
                  <a:pt x="178" y="52"/>
                </a:lnTo>
                <a:lnTo>
                  <a:pt x="240" y="40"/>
                </a:lnTo>
                <a:lnTo>
                  <a:pt x="255" y="49"/>
                </a:lnTo>
                <a:lnTo>
                  <a:pt x="257" y="67"/>
                </a:lnTo>
                <a:lnTo>
                  <a:pt x="265" y="51"/>
                </a:lnTo>
                <a:lnTo>
                  <a:pt x="305" y="63"/>
                </a:lnTo>
                <a:lnTo>
                  <a:pt x="291" y="54"/>
                </a:lnTo>
                <a:lnTo>
                  <a:pt x="311" y="55"/>
                </a:lnTo>
                <a:lnTo>
                  <a:pt x="294" y="45"/>
                </a:lnTo>
                <a:lnTo>
                  <a:pt x="289" y="36"/>
                </a:lnTo>
                <a:lnTo>
                  <a:pt x="298" y="35"/>
                </a:lnTo>
                <a:lnTo>
                  <a:pt x="378" y="60"/>
                </a:lnTo>
                <a:lnTo>
                  <a:pt x="372" y="51"/>
                </a:lnTo>
                <a:lnTo>
                  <a:pt x="389" y="50"/>
                </a:lnTo>
                <a:lnTo>
                  <a:pt x="378" y="43"/>
                </a:lnTo>
                <a:lnTo>
                  <a:pt x="405" y="45"/>
                </a:lnTo>
                <a:lnTo>
                  <a:pt x="362" y="26"/>
                </a:lnTo>
                <a:lnTo>
                  <a:pt x="440" y="36"/>
                </a:lnTo>
                <a:lnTo>
                  <a:pt x="422" y="26"/>
                </a:lnTo>
                <a:lnTo>
                  <a:pt x="377" y="24"/>
                </a:lnTo>
                <a:lnTo>
                  <a:pt x="392" y="23"/>
                </a:lnTo>
                <a:lnTo>
                  <a:pt x="364" y="14"/>
                </a:lnTo>
                <a:lnTo>
                  <a:pt x="397" y="16"/>
                </a:lnTo>
                <a:lnTo>
                  <a:pt x="383" y="12"/>
                </a:lnTo>
                <a:lnTo>
                  <a:pt x="398" y="9"/>
                </a:lnTo>
                <a:lnTo>
                  <a:pt x="455" y="26"/>
                </a:lnTo>
                <a:lnTo>
                  <a:pt x="449" y="20"/>
                </a:lnTo>
                <a:lnTo>
                  <a:pt x="474" y="14"/>
                </a:lnTo>
                <a:lnTo>
                  <a:pt x="453" y="12"/>
                </a:lnTo>
                <a:lnTo>
                  <a:pt x="452" y="4"/>
                </a:lnTo>
                <a:lnTo>
                  <a:pt x="466" y="0"/>
                </a:lnTo>
                <a:lnTo>
                  <a:pt x="619" y="4"/>
                </a:lnTo>
                <a:lnTo>
                  <a:pt x="630" y="9"/>
                </a:lnTo>
                <a:lnTo>
                  <a:pt x="626" y="12"/>
                </a:lnTo>
                <a:lnTo>
                  <a:pt x="523" y="13"/>
                </a:lnTo>
                <a:lnTo>
                  <a:pt x="535" y="18"/>
                </a:lnTo>
                <a:lnTo>
                  <a:pt x="495" y="23"/>
                </a:lnTo>
                <a:lnTo>
                  <a:pt x="640" y="14"/>
                </a:lnTo>
                <a:lnTo>
                  <a:pt x="645" y="22"/>
                </a:lnTo>
                <a:lnTo>
                  <a:pt x="626" y="27"/>
                </a:lnTo>
                <a:lnTo>
                  <a:pt x="659" y="23"/>
                </a:lnTo>
                <a:lnTo>
                  <a:pt x="697" y="33"/>
                </a:lnTo>
                <a:lnTo>
                  <a:pt x="640" y="49"/>
                </a:lnTo>
                <a:lnTo>
                  <a:pt x="548" y="47"/>
                </a:lnTo>
                <a:lnTo>
                  <a:pt x="570" y="50"/>
                </a:lnTo>
                <a:lnTo>
                  <a:pt x="531" y="57"/>
                </a:lnTo>
                <a:lnTo>
                  <a:pt x="531" y="65"/>
                </a:lnTo>
                <a:lnTo>
                  <a:pt x="632" y="52"/>
                </a:lnTo>
                <a:lnTo>
                  <a:pt x="640" y="57"/>
                </a:lnTo>
                <a:lnTo>
                  <a:pt x="619" y="70"/>
                </a:lnTo>
                <a:lnTo>
                  <a:pt x="684" y="50"/>
                </a:lnTo>
                <a:lnTo>
                  <a:pt x="688" y="69"/>
                </a:lnTo>
                <a:lnTo>
                  <a:pt x="656" y="101"/>
                </a:lnTo>
                <a:lnTo>
                  <a:pt x="718" y="64"/>
                </a:lnTo>
                <a:lnTo>
                  <a:pt x="718" y="70"/>
                </a:lnTo>
                <a:lnTo>
                  <a:pt x="747" y="69"/>
                </a:lnTo>
                <a:lnTo>
                  <a:pt x="756" y="57"/>
                </a:lnTo>
                <a:lnTo>
                  <a:pt x="789" y="55"/>
                </a:lnTo>
                <a:lnTo>
                  <a:pt x="829" y="66"/>
                </a:lnTo>
                <a:lnTo>
                  <a:pt x="790" y="82"/>
                </a:lnTo>
                <a:lnTo>
                  <a:pt x="792" y="89"/>
                </a:lnTo>
                <a:lnTo>
                  <a:pt x="702" y="98"/>
                </a:lnTo>
                <a:lnTo>
                  <a:pt x="774" y="99"/>
                </a:lnTo>
                <a:lnTo>
                  <a:pt x="715" y="113"/>
                </a:lnTo>
                <a:lnTo>
                  <a:pt x="719" y="123"/>
                </a:lnTo>
                <a:lnTo>
                  <a:pt x="759" y="113"/>
                </a:lnTo>
                <a:lnTo>
                  <a:pt x="730" y="126"/>
                </a:lnTo>
                <a:lnTo>
                  <a:pt x="726" y="142"/>
                </a:lnTo>
                <a:lnTo>
                  <a:pt x="736" y="138"/>
                </a:lnTo>
                <a:lnTo>
                  <a:pt x="708" y="153"/>
                </a:lnTo>
                <a:lnTo>
                  <a:pt x="698" y="183"/>
                </a:lnTo>
                <a:lnTo>
                  <a:pt x="713" y="177"/>
                </a:lnTo>
                <a:lnTo>
                  <a:pt x="734" y="183"/>
                </a:lnTo>
                <a:lnTo>
                  <a:pt x="715" y="183"/>
                </a:lnTo>
                <a:lnTo>
                  <a:pt x="715" y="192"/>
                </a:lnTo>
                <a:lnTo>
                  <a:pt x="746" y="196"/>
                </a:lnTo>
                <a:lnTo>
                  <a:pt x="747" y="208"/>
                </a:lnTo>
                <a:lnTo>
                  <a:pt x="700" y="205"/>
                </a:lnTo>
                <a:lnTo>
                  <a:pt x="713" y="210"/>
                </a:lnTo>
                <a:lnTo>
                  <a:pt x="687" y="214"/>
                </a:lnTo>
                <a:lnTo>
                  <a:pt x="700" y="226"/>
                </a:lnTo>
                <a:lnTo>
                  <a:pt x="724" y="227"/>
                </a:lnTo>
                <a:lnTo>
                  <a:pt x="710" y="234"/>
                </a:lnTo>
                <a:lnTo>
                  <a:pt x="729" y="241"/>
                </a:lnTo>
                <a:lnTo>
                  <a:pt x="728" y="257"/>
                </a:lnTo>
                <a:lnTo>
                  <a:pt x="693" y="247"/>
                </a:lnTo>
                <a:lnTo>
                  <a:pt x="714" y="255"/>
                </a:lnTo>
                <a:lnTo>
                  <a:pt x="701" y="261"/>
                </a:lnTo>
                <a:lnTo>
                  <a:pt x="713" y="260"/>
                </a:lnTo>
                <a:lnTo>
                  <a:pt x="710" y="270"/>
                </a:lnTo>
                <a:lnTo>
                  <a:pt x="735" y="275"/>
                </a:lnTo>
                <a:lnTo>
                  <a:pt x="695" y="272"/>
                </a:lnTo>
                <a:lnTo>
                  <a:pt x="688" y="278"/>
                </a:lnTo>
                <a:lnTo>
                  <a:pt x="718" y="290"/>
                </a:lnTo>
                <a:lnTo>
                  <a:pt x="714" y="301"/>
                </a:lnTo>
                <a:lnTo>
                  <a:pt x="689" y="307"/>
                </a:lnTo>
                <a:lnTo>
                  <a:pt x="665" y="292"/>
                </a:lnTo>
                <a:lnTo>
                  <a:pt x="629" y="305"/>
                </a:lnTo>
                <a:lnTo>
                  <a:pt x="655" y="313"/>
                </a:lnTo>
                <a:lnTo>
                  <a:pt x="630" y="320"/>
                </a:lnTo>
                <a:lnTo>
                  <a:pt x="657" y="321"/>
                </a:lnTo>
                <a:lnTo>
                  <a:pt x="648" y="336"/>
                </a:lnTo>
                <a:lnTo>
                  <a:pt x="659" y="327"/>
                </a:lnTo>
                <a:lnTo>
                  <a:pt x="688" y="340"/>
                </a:lnTo>
                <a:lnTo>
                  <a:pt x="679" y="350"/>
                </a:lnTo>
                <a:lnTo>
                  <a:pt x="695" y="346"/>
                </a:lnTo>
                <a:lnTo>
                  <a:pt x="688" y="356"/>
                </a:lnTo>
                <a:lnTo>
                  <a:pt x="699" y="351"/>
                </a:lnTo>
                <a:lnTo>
                  <a:pt x="701" y="377"/>
                </a:lnTo>
                <a:lnTo>
                  <a:pt x="688" y="368"/>
                </a:lnTo>
                <a:lnTo>
                  <a:pt x="688" y="377"/>
                </a:lnTo>
                <a:lnTo>
                  <a:pt x="675" y="377"/>
                </a:lnTo>
                <a:lnTo>
                  <a:pt x="659" y="355"/>
                </a:lnTo>
                <a:lnTo>
                  <a:pt x="619" y="344"/>
                </a:lnTo>
                <a:lnTo>
                  <a:pt x="647" y="358"/>
                </a:lnTo>
                <a:lnTo>
                  <a:pt x="611" y="365"/>
                </a:lnTo>
                <a:lnTo>
                  <a:pt x="600" y="377"/>
                </a:lnTo>
                <a:lnTo>
                  <a:pt x="634" y="380"/>
                </a:lnTo>
                <a:lnTo>
                  <a:pt x="605" y="387"/>
                </a:lnTo>
                <a:lnTo>
                  <a:pt x="649" y="378"/>
                </a:lnTo>
                <a:lnTo>
                  <a:pt x="691" y="389"/>
                </a:lnTo>
                <a:lnTo>
                  <a:pt x="636" y="419"/>
                </a:lnTo>
                <a:lnTo>
                  <a:pt x="584" y="432"/>
                </a:lnTo>
                <a:lnTo>
                  <a:pt x="565" y="433"/>
                </a:lnTo>
                <a:lnTo>
                  <a:pt x="552" y="420"/>
                </a:lnTo>
                <a:lnTo>
                  <a:pt x="558" y="433"/>
                </a:lnTo>
                <a:lnTo>
                  <a:pt x="543" y="441"/>
                </a:lnTo>
                <a:lnTo>
                  <a:pt x="523" y="473"/>
                </a:lnTo>
                <a:lnTo>
                  <a:pt x="507" y="473"/>
                </a:lnTo>
                <a:lnTo>
                  <a:pt x="503" y="482"/>
                </a:lnTo>
                <a:lnTo>
                  <a:pt x="487" y="484"/>
                </a:lnTo>
                <a:lnTo>
                  <a:pt x="480" y="480"/>
                </a:lnTo>
                <a:lnTo>
                  <a:pt x="490" y="474"/>
                </a:lnTo>
                <a:lnTo>
                  <a:pt x="479" y="473"/>
                </a:lnTo>
                <a:lnTo>
                  <a:pt x="473" y="489"/>
                </a:lnTo>
                <a:lnTo>
                  <a:pt x="448" y="491"/>
                </a:lnTo>
                <a:lnTo>
                  <a:pt x="449" y="504"/>
                </a:lnTo>
                <a:lnTo>
                  <a:pt x="433" y="505"/>
                </a:lnTo>
                <a:lnTo>
                  <a:pt x="447" y="515"/>
                </a:lnTo>
                <a:lnTo>
                  <a:pt x="429" y="518"/>
                </a:lnTo>
                <a:lnTo>
                  <a:pt x="443" y="529"/>
                </a:lnTo>
                <a:lnTo>
                  <a:pt x="431" y="529"/>
                </a:lnTo>
                <a:lnTo>
                  <a:pt x="440" y="532"/>
                </a:lnTo>
                <a:lnTo>
                  <a:pt x="431" y="545"/>
                </a:lnTo>
                <a:lnTo>
                  <a:pt x="422" y="543"/>
                </a:lnTo>
                <a:lnTo>
                  <a:pt x="429" y="549"/>
                </a:lnTo>
                <a:lnTo>
                  <a:pt x="412" y="554"/>
                </a:lnTo>
                <a:lnTo>
                  <a:pt x="422" y="572"/>
                </a:lnTo>
                <a:lnTo>
                  <a:pt x="412" y="596"/>
                </a:lnTo>
                <a:lnTo>
                  <a:pt x="400" y="597"/>
                </a:lnTo>
                <a:lnTo>
                  <a:pt x="409" y="605"/>
                </a:lnTo>
                <a:lnTo>
                  <a:pt x="381" y="605"/>
                </a:lnTo>
                <a:lnTo>
                  <a:pt x="378" y="589"/>
                </a:lnTo>
                <a:lnTo>
                  <a:pt x="339" y="591"/>
                </a:lnTo>
                <a:lnTo>
                  <a:pt x="348" y="587"/>
                </a:lnTo>
                <a:lnTo>
                  <a:pt x="328" y="580"/>
                </a:lnTo>
                <a:lnTo>
                  <a:pt x="338" y="577"/>
                </a:lnTo>
                <a:lnTo>
                  <a:pt x="323" y="577"/>
                </a:lnTo>
                <a:lnTo>
                  <a:pt x="328" y="564"/>
                </a:lnTo>
                <a:lnTo>
                  <a:pt x="320" y="567"/>
                </a:lnTo>
                <a:lnTo>
                  <a:pt x="294" y="532"/>
                </a:lnTo>
                <a:lnTo>
                  <a:pt x="294" y="522"/>
                </a:lnTo>
                <a:lnTo>
                  <a:pt x="313" y="510"/>
                </a:lnTo>
                <a:lnTo>
                  <a:pt x="305" y="507"/>
                </a:lnTo>
                <a:lnTo>
                  <a:pt x="286" y="520"/>
                </a:lnTo>
                <a:lnTo>
                  <a:pt x="286" y="494"/>
                </a:lnTo>
                <a:lnTo>
                  <a:pt x="268" y="480"/>
                </a:lnTo>
                <a:lnTo>
                  <a:pt x="273" y="460"/>
                </a:lnTo>
                <a:lnTo>
                  <a:pt x="262" y="452"/>
                </a:lnTo>
                <a:lnTo>
                  <a:pt x="277" y="434"/>
                </a:lnTo>
                <a:lnTo>
                  <a:pt x="268" y="432"/>
                </a:lnTo>
                <a:lnTo>
                  <a:pt x="301" y="432"/>
                </a:lnTo>
                <a:lnTo>
                  <a:pt x="298" y="425"/>
                </a:lnTo>
                <a:lnTo>
                  <a:pt x="275" y="426"/>
                </a:lnTo>
                <a:lnTo>
                  <a:pt x="309" y="410"/>
                </a:lnTo>
                <a:lnTo>
                  <a:pt x="301" y="405"/>
                </a:lnTo>
                <a:lnTo>
                  <a:pt x="309" y="387"/>
                </a:lnTo>
                <a:lnTo>
                  <a:pt x="281" y="387"/>
                </a:lnTo>
                <a:lnTo>
                  <a:pt x="251" y="372"/>
                </a:lnTo>
                <a:lnTo>
                  <a:pt x="305" y="380"/>
                </a:lnTo>
                <a:lnTo>
                  <a:pt x="296" y="374"/>
                </a:lnTo>
                <a:lnTo>
                  <a:pt x="305" y="371"/>
                </a:lnTo>
                <a:lnTo>
                  <a:pt x="284" y="360"/>
                </a:lnTo>
                <a:lnTo>
                  <a:pt x="291" y="355"/>
                </a:lnTo>
                <a:lnTo>
                  <a:pt x="280" y="359"/>
                </a:lnTo>
                <a:lnTo>
                  <a:pt x="288" y="352"/>
                </a:lnTo>
                <a:lnTo>
                  <a:pt x="274" y="352"/>
                </a:lnTo>
                <a:lnTo>
                  <a:pt x="289" y="347"/>
                </a:lnTo>
                <a:lnTo>
                  <a:pt x="265" y="338"/>
                </a:lnTo>
                <a:lnTo>
                  <a:pt x="260" y="352"/>
                </a:lnTo>
                <a:lnTo>
                  <a:pt x="240" y="352"/>
                </a:lnTo>
                <a:lnTo>
                  <a:pt x="236" y="347"/>
                </a:lnTo>
                <a:lnTo>
                  <a:pt x="249" y="338"/>
                </a:lnTo>
                <a:lnTo>
                  <a:pt x="239" y="338"/>
                </a:lnTo>
                <a:lnTo>
                  <a:pt x="251" y="316"/>
                </a:lnTo>
                <a:lnTo>
                  <a:pt x="237" y="312"/>
                </a:lnTo>
                <a:lnTo>
                  <a:pt x="244" y="302"/>
                </a:lnTo>
                <a:lnTo>
                  <a:pt x="221" y="275"/>
                </a:lnTo>
                <a:lnTo>
                  <a:pt x="229" y="274"/>
                </a:lnTo>
                <a:lnTo>
                  <a:pt x="198" y="250"/>
                </a:lnTo>
                <a:lnTo>
                  <a:pt x="198" y="241"/>
                </a:lnTo>
                <a:lnTo>
                  <a:pt x="165" y="229"/>
                </a:lnTo>
                <a:lnTo>
                  <a:pt x="134" y="222"/>
                </a:lnTo>
                <a:lnTo>
                  <a:pt x="106" y="234"/>
                </a:lnTo>
                <a:lnTo>
                  <a:pt x="83" y="226"/>
                </a:lnTo>
                <a:lnTo>
                  <a:pt x="91" y="235"/>
                </a:lnTo>
                <a:lnTo>
                  <a:pt x="67" y="231"/>
                </a:lnTo>
                <a:lnTo>
                  <a:pt x="46" y="222"/>
                </a:lnTo>
                <a:lnTo>
                  <a:pt x="67" y="214"/>
                </a:lnTo>
                <a:lnTo>
                  <a:pt x="21" y="205"/>
                </a:lnTo>
                <a:lnTo>
                  <a:pt x="38" y="198"/>
                </a:lnTo>
                <a:lnTo>
                  <a:pt x="93" y="200"/>
                </a:lnTo>
                <a:lnTo>
                  <a:pt x="100" y="197"/>
                </a:lnTo>
                <a:lnTo>
                  <a:pt x="90" y="192"/>
                </a:lnTo>
                <a:lnTo>
                  <a:pt x="99" y="187"/>
                </a:lnTo>
                <a:lnTo>
                  <a:pt x="50" y="191"/>
                </a:lnTo>
                <a:lnTo>
                  <a:pt x="0" y="17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7" name="Freeform 653">
            <a:extLst>
              <a:ext uri="{FF2B5EF4-FFF2-40B4-BE49-F238E27FC236}">
                <a16:creationId xmlns:a16="http://schemas.microsoft.com/office/drawing/2014/main" id="{42F516B0-83CB-401D-9D4F-5EFC00BB80FF}"/>
              </a:ext>
            </a:extLst>
          </p:cNvPr>
          <p:cNvSpPr>
            <a:spLocks/>
          </p:cNvSpPr>
          <p:nvPr/>
        </p:nvSpPr>
        <p:spPr bwMode="auto">
          <a:xfrm>
            <a:off x="3679334" y="4181819"/>
            <a:ext cx="173742" cy="77068"/>
          </a:xfrm>
          <a:custGeom>
            <a:avLst/>
            <a:gdLst>
              <a:gd name="T0" fmla="*/ 0 w 151"/>
              <a:gd name="T1" fmla="*/ 40104274 h 70"/>
              <a:gd name="T2" fmla="*/ 0 w 151"/>
              <a:gd name="T3" fmla="*/ 40104274 h 70"/>
              <a:gd name="T4" fmla="*/ 15652254 w 151"/>
              <a:gd name="T5" fmla="*/ 35091241 h 70"/>
              <a:gd name="T6" fmla="*/ 6260402 w 151"/>
              <a:gd name="T7" fmla="*/ 25065175 h 70"/>
              <a:gd name="T8" fmla="*/ 26607957 w 151"/>
              <a:gd name="T9" fmla="*/ 31749650 h 70"/>
              <a:gd name="T10" fmla="*/ 17217354 w 151"/>
              <a:gd name="T11" fmla="*/ 13367662 h 70"/>
              <a:gd name="T12" fmla="*/ 40695106 w 151"/>
              <a:gd name="T13" fmla="*/ 23395026 h 70"/>
              <a:gd name="T14" fmla="*/ 29739408 w 151"/>
              <a:gd name="T15" fmla="*/ 1671443 h 70"/>
              <a:gd name="T16" fmla="*/ 65737964 w 151"/>
              <a:gd name="T17" fmla="*/ 18381988 h 70"/>
              <a:gd name="T18" fmla="*/ 68868163 w 151"/>
              <a:gd name="T19" fmla="*/ 48460201 h 70"/>
              <a:gd name="T20" fmla="*/ 87650631 w 151"/>
              <a:gd name="T21" fmla="*/ 15039104 h 70"/>
              <a:gd name="T22" fmla="*/ 106433080 w 151"/>
              <a:gd name="T23" fmla="*/ 28408059 h 70"/>
              <a:gd name="T24" fmla="*/ 122085329 w 151"/>
              <a:gd name="T25" fmla="*/ 11697513 h 70"/>
              <a:gd name="T26" fmla="*/ 134607378 w 151"/>
              <a:gd name="T27" fmla="*/ 31749650 h 70"/>
              <a:gd name="T28" fmla="*/ 131477179 w 151"/>
              <a:gd name="T29" fmla="*/ 13367662 h 70"/>
              <a:gd name="T30" fmla="*/ 170607214 w 151"/>
              <a:gd name="T31" fmla="*/ 13367662 h 70"/>
              <a:gd name="T32" fmla="*/ 175302514 w 151"/>
              <a:gd name="T33" fmla="*/ 0 h 70"/>
              <a:gd name="T34" fmla="*/ 192519862 w 151"/>
              <a:gd name="T35" fmla="*/ 11697513 h 70"/>
              <a:gd name="T36" fmla="*/ 214432511 w 151"/>
              <a:gd name="T37" fmla="*/ 6684477 h 70"/>
              <a:gd name="T38" fmla="*/ 198780262 w 151"/>
              <a:gd name="T39" fmla="*/ 15039104 h 70"/>
              <a:gd name="T40" fmla="*/ 234780059 w 151"/>
              <a:gd name="T41" fmla="*/ 51801792 h 70"/>
              <a:gd name="T42" fmla="*/ 203475561 w 151"/>
              <a:gd name="T43" fmla="*/ 83551432 h 70"/>
              <a:gd name="T44" fmla="*/ 117390029 w 151"/>
              <a:gd name="T45" fmla="*/ 115301092 h 70"/>
              <a:gd name="T46" fmla="*/ 39130007 w 151"/>
              <a:gd name="T47" fmla="*/ 100261993 h 70"/>
              <a:gd name="T48" fmla="*/ 57912465 w 151"/>
              <a:gd name="T49" fmla="*/ 70183775 h 70"/>
              <a:gd name="T50" fmla="*/ 12522054 w 151"/>
              <a:gd name="T51" fmla="*/ 60157709 h 70"/>
              <a:gd name="T52" fmla="*/ 56347365 w 151"/>
              <a:gd name="T53" fmla="*/ 58486267 h 70"/>
              <a:gd name="T54" fmla="*/ 40695106 w 151"/>
              <a:gd name="T55" fmla="*/ 48460201 h 70"/>
              <a:gd name="T56" fmla="*/ 56347365 w 151"/>
              <a:gd name="T57" fmla="*/ 40104274 h 70"/>
              <a:gd name="T58" fmla="*/ 0 w 151"/>
              <a:gd name="T59" fmla="*/ 40104274 h 70"/>
              <a:gd name="T60" fmla="*/ 0 w 151"/>
              <a:gd name="T61" fmla="*/ 40104274 h 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1"/>
              <a:gd name="T94" fmla="*/ 0 h 70"/>
              <a:gd name="T95" fmla="*/ 151 w 151"/>
              <a:gd name="T96" fmla="*/ 70 h 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1" h="70">
                <a:moveTo>
                  <a:pt x="0" y="24"/>
                </a:moveTo>
                <a:lnTo>
                  <a:pt x="0" y="24"/>
                </a:lnTo>
                <a:lnTo>
                  <a:pt x="10" y="21"/>
                </a:lnTo>
                <a:lnTo>
                  <a:pt x="4" y="15"/>
                </a:lnTo>
                <a:lnTo>
                  <a:pt x="17" y="19"/>
                </a:lnTo>
                <a:lnTo>
                  <a:pt x="11" y="8"/>
                </a:lnTo>
                <a:lnTo>
                  <a:pt x="26" y="14"/>
                </a:lnTo>
                <a:lnTo>
                  <a:pt x="19" y="1"/>
                </a:lnTo>
                <a:lnTo>
                  <a:pt x="42" y="11"/>
                </a:lnTo>
                <a:lnTo>
                  <a:pt x="44" y="29"/>
                </a:lnTo>
                <a:lnTo>
                  <a:pt x="56" y="9"/>
                </a:lnTo>
                <a:lnTo>
                  <a:pt x="68" y="17"/>
                </a:lnTo>
                <a:lnTo>
                  <a:pt x="78" y="7"/>
                </a:lnTo>
                <a:lnTo>
                  <a:pt x="86" y="19"/>
                </a:lnTo>
                <a:lnTo>
                  <a:pt x="84" y="8"/>
                </a:lnTo>
                <a:lnTo>
                  <a:pt x="109" y="8"/>
                </a:lnTo>
                <a:lnTo>
                  <a:pt x="112" y="0"/>
                </a:lnTo>
                <a:lnTo>
                  <a:pt x="123" y="7"/>
                </a:lnTo>
                <a:lnTo>
                  <a:pt x="137" y="4"/>
                </a:lnTo>
                <a:lnTo>
                  <a:pt x="127" y="9"/>
                </a:lnTo>
                <a:lnTo>
                  <a:pt x="150" y="31"/>
                </a:lnTo>
                <a:lnTo>
                  <a:pt x="130" y="50"/>
                </a:lnTo>
                <a:lnTo>
                  <a:pt x="75" y="69"/>
                </a:lnTo>
                <a:lnTo>
                  <a:pt x="25" y="60"/>
                </a:lnTo>
                <a:lnTo>
                  <a:pt x="37" y="42"/>
                </a:lnTo>
                <a:lnTo>
                  <a:pt x="8" y="36"/>
                </a:lnTo>
                <a:lnTo>
                  <a:pt x="36" y="35"/>
                </a:lnTo>
                <a:lnTo>
                  <a:pt x="26" y="29"/>
                </a:lnTo>
                <a:lnTo>
                  <a:pt x="36" y="24"/>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8" name="Freeform 654">
            <a:extLst>
              <a:ext uri="{FF2B5EF4-FFF2-40B4-BE49-F238E27FC236}">
                <a16:creationId xmlns:a16="http://schemas.microsoft.com/office/drawing/2014/main" id="{AEDBB3BA-B9B5-4529-80D6-07A47E3580D4}"/>
              </a:ext>
            </a:extLst>
          </p:cNvPr>
          <p:cNvSpPr>
            <a:spLocks/>
          </p:cNvSpPr>
          <p:nvPr/>
        </p:nvSpPr>
        <p:spPr bwMode="auto">
          <a:xfrm>
            <a:off x="2229542" y="4859199"/>
            <a:ext cx="474503" cy="289340"/>
          </a:xfrm>
          <a:custGeom>
            <a:avLst/>
            <a:gdLst>
              <a:gd name="T0" fmla="*/ 0 w 412"/>
              <a:gd name="T1" fmla="*/ 5082858 h 261"/>
              <a:gd name="T2" fmla="*/ 0 w 412"/>
              <a:gd name="T3" fmla="*/ 5082858 h 261"/>
              <a:gd name="T4" fmla="*/ 29795363 w 412"/>
              <a:gd name="T5" fmla="*/ 72852125 h 261"/>
              <a:gd name="T6" fmla="*/ 65864618 w 412"/>
              <a:gd name="T7" fmla="*/ 105042701 h 261"/>
              <a:gd name="T8" fmla="*/ 64295518 w 412"/>
              <a:gd name="T9" fmla="*/ 123679407 h 261"/>
              <a:gd name="T10" fmla="*/ 45477599 w 412"/>
              <a:gd name="T11" fmla="*/ 127067544 h 261"/>
              <a:gd name="T12" fmla="*/ 86250404 w 412"/>
              <a:gd name="T13" fmla="*/ 142316113 h 261"/>
              <a:gd name="T14" fmla="*/ 108205270 w 412"/>
              <a:gd name="T15" fmla="*/ 174506710 h 261"/>
              <a:gd name="T16" fmla="*/ 106637423 w 412"/>
              <a:gd name="T17" fmla="*/ 199919690 h 261"/>
              <a:gd name="T18" fmla="*/ 152115002 w 412"/>
              <a:gd name="T19" fmla="*/ 242275958 h 261"/>
              <a:gd name="T20" fmla="*/ 163092435 w 412"/>
              <a:gd name="T21" fmla="*/ 228722108 h 261"/>
              <a:gd name="T22" fmla="*/ 53318085 w 412"/>
              <a:gd name="T23" fmla="*/ 62686412 h 261"/>
              <a:gd name="T24" fmla="*/ 47045445 w 412"/>
              <a:gd name="T25" fmla="*/ 18636711 h 261"/>
              <a:gd name="T26" fmla="*/ 70568158 w 412"/>
              <a:gd name="T27" fmla="*/ 28802429 h 261"/>
              <a:gd name="T28" fmla="*/ 111340964 w 412"/>
              <a:gd name="T29" fmla="*/ 101654564 h 261"/>
              <a:gd name="T30" fmla="*/ 169365114 w 412"/>
              <a:gd name="T31" fmla="*/ 155869963 h 261"/>
              <a:gd name="T32" fmla="*/ 166228168 w 412"/>
              <a:gd name="T33" fmla="*/ 176200127 h 261"/>
              <a:gd name="T34" fmla="*/ 246205893 w 412"/>
              <a:gd name="T35" fmla="*/ 250746952 h 261"/>
              <a:gd name="T36" fmla="*/ 255615479 w 412"/>
              <a:gd name="T37" fmla="*/ 282937507 h 261"/>
              <a:gd name="T38" fmla="*/ 246205893 w 412"/>
              <a:gd name="T39" fmla="*/ 303267631 h 261"/>
              <a:gd name="T40" fmla="*/ 265023813 w 412"/>
              <a:gd name="T41" fmla="*/ 332070050 h 261"/>
              <a:gd name="T42" fmla="*/ 417138854 w 412"/>
              <a:gd name="T43" fmla="*/ 410005092 h 261"/>
              <a:gd name="T44" fmla="*/ 484571299 w 412"/>
              <a:gd name="T45" fmla="*/ 403227517 h 261"/>
              <a:gd name="T46" fmla="*/ 528479779 w 412"/>
              <a:gd name="T47" fmla="*/ 440500929 h 261"/>
              <a:gd name="T48" fmla="*/ 545729852 w 412"/>
              <a:gd name="T49" fmla="*/ 404922236 h 261"/>
              <a:gd name="T50" fmla="*/ 567684718 w 412"/>
              <a:gd name="T51" fmla="*/ 403227517 h 261"/>
              <a:gd name="T52" fmla="*/ 545729852 w 412"/>
              <a:gd name="T53" fmla="*/ 372731680 h 261"/>
              <a:gd name="T54" fmla="*/ 594344377 w 412"/>
              <a:gd name="T55" fmla="*/ 360872550 h 261"/>
              <a:gd name="T56" fmla="*/ 613162297 w 412"/>
              <a:gd name="T57" fmla="*/ 347318700 h 261"/>
              <a:gd name="T58" fmla="*/ 617867090 w 412"/>
              <a:gd name="T59" fmla="*/ 340541043 h 261"/>
              <a:gd name="T60" fmla="*/ 624139730 w 412"/>
              <a:gd name="T61" fmla="*/ 357484413 h 261"/>
              <a:gd name="T62" fmla="*/ 644526749 w 412"/>
              <a:gd name="T63" fmla="*/ 282937507 h 261"/>
              <a:gd name="T64" fmla="*/ 617867090 w 412"/>
              <a:gd name="T65" fmla="*/ 272771795 h 261"/>
              <a:gd name="T66" fmla="*/ 569253817 w 412"/>
              <a:gd name="T67" fmla="*/ 282937507 h 261"/>
              <a:gd name="T68" fmla="*/ 544162005 w 412"/>
              <a:gd name="T69" fmla="*/ 347318700 h 261"/>
              <a:gd name="T70" fmla="*/ 481434353 w 412"/>
              <a:gd name="T71" fmla="*/ 354094974 h 261"/>
              <a:gd name="T72" fmla="*/ 454775946 w 412"/>
              <a:gd name="T73" fmla="*/ 338847625 h 261"/>
              <a:gd name="T74" fmla="*/ 414001908 w 412"/>
              <a:gd name="T75" fmla="*/ 259217945 h 261"/>
              <a:gd name="T76" fmla="*/ 412434061 w 412"/>
              <a:gd name="T77" fmla="*/ 199919690 h 261"/>
              <a:gd name="T78" fmla="*/ 426548440 w 412"/>
              <a:gd name="T79" fmla="*/ 171117271 h 261"/>
              <a:gd name="T80" fmla="*/ 384206555 w 412"/>
              <a:gd name="T81" fmla="*/ 155869963 h 261"/>
              <a:gd name="T82" fmla="*/ 330888489 w 412"/>
              <a:gd name="T83" fmla="*/ 72852125 h 261"/>
              <a:gd name="T84" fmla="*/ 285410832 w 412"/>
              <a:gd name="T85" fmla="*/ 89794132 h 261"/>
              <a:gd name="T86" fmla="*/ 227387973 w 412"/>
              <a:gd name="T87" fmla="*/ 22024853 h 261"/>
              <a:gd name="T88" fmla="*/ 130160136 w 412"/>
              <a:gd name="T89" fmla="*/ 35578703 h 261"/>
              <a:gd name="T90" fmla="*/ 48614545 w 412"/>
              <a:gd name="T91" fmla="*/ 0 h 261"/>
              <a:gd name="T92" fmla="*/ 0 w 412"/>
              <a:gd name="T93" fmla="*/ 5082858 h 261"/>
              <a:gd name="T94" fmla="*/ 0 w 412"/>
              <a:gd name="T95" fmla="*/ 5082858 h 2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12"/>
              <a:gd name="T145" fmla="*/ 0 h 261"/>
              <a:gd name="T146" fmla="*/ 412 w 412"/>
              <a:gd name="T147" fmla="*/ 261 h 2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12" h="261">
                <a:moveTo>
                  <a:pt x="0" y="3"/>
                </a:moveTo>
                <a:lnTo>
                  <a:pt x="0" y="3"/>
                </a:lnTo>
                <a:lnTo>
                  <a:pt x="19" y="43"/>
                </a:lnTo>
                <a:lnTo>
                  <a:pt x="42" y="62"/>
                </a:lnTo>
                <a:lnTo>
                  <a:pt x="41" y="73"/>
                </a:lnTo>
                <a:lnTo>
                  <a:pt x="29" y="75"/>
                </a:lnTo>
                <a:lnTo>
                  <a:pt x="55" y="84"/>
                </a:lnTo>
                <a:lnTo>
                  <a:pt x="69" y="103"/>
                </a:lnTo>
                <a:lnTo>
                  <a:pt x="68" y="118"/>
                </a:lnTo>
                <a:lnTo>
                  <a:pt x="97" y="143"/>
                </a:lnTo>
                <a:lnTo>
                  <a:pt x="104" y="135"/>
                </a:lnTo>
                <a:lnTo>
                  <a:pt x="34" y="37"/>
                </a:lnTo>
                <a:lnTo>
                  <a:pt x="30" y="11"/>
                </a:lnTo>
                <a:lnTo>
                  <a:pt x="45" y="17"/>
                </a:lnTo>
                <a:lnTo>
                  <a:pt x="71" y="60"/>
                </a:lnTo>
                <a:lnTo>
                  <a:pt x="108" y="92"/>
                </a:lnTo>
                <a:lnTo>
                  <a:pt x="106" y="104"/>
                </a:lnTo>
                <a:lnTo>
                  <a:pt x="157" y="148"/>
                </a:lnTo>
                <a:lnTo>
                  <a:pt x="163" y="167"/>
                </a:lnTo>
                <a:lnTo>
                  <a:pt x="157" y="179"/>
                </a:lnTo>
                <a:lnTo>
                  <a:pt x="169" y="196"/>
                </a:lnTo>
                <a:lnTo>
                  <a:pt x="266" y="242"/>
                </a:lnTo>
                <a:lnTo>
                  <a:pt x="309" y="238"/>
                </a:lnTo>
                <a:lnTo>
                  <a:pt x="337" y="260"/>
                </a:lnTo>
                <a:lnTo>
                  <a:pt x="348" y="239"/>
                </a:lnTo>
                <a:lnTo>
                  <a:pt x="362" y="238"/>
                </a:lnTo>
                <a:lnTo>
                  <a:pt x="348" y="220"/>
                </a:lnTo>
                <a:lnTo>
                  <a:pt x="379" y="213"/>
                </a:lnTo>
                <a:lnTo>
                  <a:pt x="391" y="205"/>
                </a:lnTo>
                <a:lnTo>
                  <a:pt x="394" y="201"/>
                </a:lnTo>
                <a:lnTo>
                  <a:pt x="398" y="211"/>
                </a:lnTo>
                <a:lnTo>
                  <a:pt x="411" y="167"/>
                </a:lnTo>
                <a:lnTo>
                  <a:pt x="394" y="161"/>
                </a:lnTo>
                <a:lnTo>
                  <a:pt x="363" y="167"/>
                </a:lnTo>
                <a:lnTo>
                  <a:pt x="347" y="205"/>
                </a:lnTo>
                <a:lnTo>
                  <a:pt x="307" y="209"/>
                </a:lnTo>
                <a:lnTo>
                  <a:pt x="290" y="200"/>
                </a:lnTo>
                <a:lnTo>
                  <a:pt x="264" y="153"/>
                </a:lnTo>
                <a:lnTo>
                  <a:pt x="263" y="118"/>
                </a:lnTo>
                <a:lnTo>
                  <a:pt x="272" y="101"/>
                </a:lnTo>
                <a:lnTo>
                  <a:pt x="245" y="92"/>
                </a:lnTo>
                <a:lnTo>
                  <a:pt x="211" y="43"/>
                </a:lnTo>
                <a:lnTo>
                  <a:pt x="182" y="53"/>
                </a:lnTo>
                <a:lnTo>
                  <a:pt x="145" y="13"/>
                </a:lnTo>
                <a:lnTo>
                  <a:pt x="83" y="21"/>
                </a:lnTo>
                <a:lnTo>
                  <a:pt x="31" y="0"/>
                </a:lnTo>
                <a:lnTo>
                  <a:pt x="0" y="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9" name="Freeform 655">
            <a:extLst>
              <a:ext uri="{FF2B5EF4-FFF2-40B4-BE49-F238E27FC236}">
                <a16:creationId xmlns:a16="http://schemas.microsoft.com/office/drawing/2014/main" id="{103CE0F2-1959-4FB4-9DEB-710314E74D8F}"/>
              </a:ext>
            </a:extLst>
          </p:cNvPr>
          <p:cNvSpPr>
            <a:spLocks/>
          </p:cNvSpPr>
          <p:nvPr/>
        </p:nvSpPr>
        <p:spPr bwMode="auto">
          <a:xfrm>
            <a:off x="5435729" y="4464485"/>
            <a:ext cx="497864" cy="276999"/>
          </a:xfrm>
          <a:custGeom>
            <a:avLst/>
            <a:gdLst>
              <a:gd name="T0" fmla="*/ 0 w 434"/>
              <a:gd name="T1" fmla="*/ 97804222 h 183"/>
              <a:gd name="T2" fmla="*/ 0 w 434"/>
              <a:gd name="T3" fmla="*/ 97804222 h 183"/>
              <a:gd name="T4" fmla="*/ 21780710 w 434"/>
              <a:gd name="T5" fmla="*/ 130405179 h 183"/>
              <a:gd name="T6" fmla="*/ 51342202 w 434"/>
              <a:gd name="T7" fmla="*/ 140699736 h 183"/>
              <a:gd name="T8" fmla="*/ 63787960 w 434"/>
              <a:gd name="T9" fmla="*/ 207618979 h 183"/>
              <a:gd name="T10" fmla="*/ 157136156 w 434"/>
              <a:gd name="T11" fmla="*/ 233356025 h 183"/>
              <a:gd name="T12" fmla="*/ 197588027 w 434"/>
              <a:gd name="T13" fmla="*/ 279684804 h 183"/>
              <a:gd name="T14" fmla="*/ 273821727 w 434"/>
              <a:gd name="T15" fmla="*/ 276252848 h 183"/>
              <a:gd name="T16" fmla="*/ 360947101 w 434"/>
              <a:gd name="T17" fmla="*/ 312285761 h 183"/>
              <a:gd name="T18" fmla="*/ 477632633 w 434"/>
              <a:gd name="T19" fmla="*/ 279684804 h 183"/>
              <a:gd name="T20" fmla="*/ 513416994 w 434"/>
              <a:gd name="T21" fmla="*/ 253946448 h 183"/>
              <a:gd name="T22" fmla="*/ 513416994 w 434"/>
              <a:gd name="T23" fmla="*/ 217913535 h 183"/>
              <a:gd name="T24" fmla="*/ 546088045 w 434"/>
              <a:gd name="T25" fmla="*/ 221345491 h 183"/>
              <a:gd name="T26" fmla="*/ 616100113 w 434"/>
              <a:gd name="T27" fmla="*/ 169870047 h 183"/>
              <a:gd name="T28" fmla="*/ 673665330 w 434"/>
              <a:gd name="T29" fmla="*/ 166438092 h 183"/>
              <a:gd name="T30" fmla="*/ 645660348 w 434"/>
              <a:gd name="T31" fmla="*/ 126973224 h 183"/>
              <a:gd name="T32" fmla="*/ 591207349 w 434"/>
              <a:gd name="T33" fmla="*/ 137269090 h 183"/>
              <a:gd name="T34" fmla="*/ 591207349 w 434"/>
              <a:gd name="T35" fmla="*/ 92656289 h 183"/>
              <a:gd name="T36" fmla="*/ 605209762 w 434"/>
              <a:gd name="T37" fmla="*/ 68633890 h 183"/>
              <a:gd name="T38" fmla="*/ 566314585 w 434"/>
              <a:gd name="T39" fmla="*/ 61771289 h 183"/>
              <a:gd name="T40" fmla="*/ 465186875 w 434"/>
              <a:gd name="T41" fmla="*/ 89224334 h 183"/>
              <a:gd name="T42" fmla="*/ 378061578 w 434"/>
              <a:gd name="T43" fmla="*/ 49759445 h 183"/>
              <a:gd name="T44" fmla="*/ 320496438 w 434"/>
              <a:gd name="T45" fmla="*/ 54907378 h 183"/>
              <a:gd name="T46" fmla="*/ 300271146 w 434"/>
              <a:gd name="T47" fmla="*/ 22306411 h 183"/>
              <a:gd name="T48" fmla="*/ 244261492 w 434"/>
              <a:gd name="T49" fmla="*/ 0 h 183"/>
              <a:gd name="T50" fmla="*/ 214701257 w 434"/>
              <a:gd name="T51" fmla="*/ 24022389 h 183"/>
              <a:gd name="T52" fmla="*/ 213145849 w 434"/>
              <a:gd name="T53" fmla="*/ 68633890 h 183"/>
              <a:gd name="T54" fmla="*/ 85569928 w 434"/>
              <a:gd name="T55" fmla="*/ 48043467 h 183"/>
              <a:gd name="T56" fmla="*/ 0 w 434"/>
              <a:gd name="T57" fmla="*/ 97804222 h 183"/>
              <a:gd name="T58" fmla="*/ 0 w 434"/>
              <a:gd name="T59" fmla="*/ 97804222 h 18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34"/>
              <a:gd name="T91" fmla="*/ 0 h 183"/>
              <a:gd name="T92" fmla="*/ 434 w 434"/>
              <a:gd name="T93" fmla="*/ 183 h 18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34" h="183">
                <a:moveTo>
                  <a:pt x="0" y="57"/>
                </a:moveTo>
                <a:lnTo>
                  <a:pt x="0" y="57"/>
                </a:lnTo>
                <a:lnTo>
                  <a:pt x="14" y="76"/>
                </a:lnTo>
                <a:lnTo>
                  <a:pt x="33" y="82"/>
                </a:lnTo>
                <a:lnTo>
                  <a:pt x="41" y="121"/>
                </a:lnTo>
                <a:lnTo>
                  <a:pt x="101" y="136"/>
                </a:lnTo>
                <a:lnTo>
                  <a:pt x="127" y="163"/>
                </a:lnTo>
                <a:lnTo>
                  <a:pt x="176" y="161"/>
                </a:lnTo>
                <a:lnTo>
                  <a:pt x="232" y="182"/>
                </a:lnTo>
                <a:lnTo>
                  <a:pt x="307" y="163"/>
                </a:lnTo>
                <a:lnTo>
                  <a:pt x="330" y="148"/>
                </a:lnTo>
                <a:lnTo>
                  <a:pt x="330" y="127"/>
                </a:lnTo>
                <a:lnTo>
                  <a:pt x="351" y="129"/>
                </a:lnTo>
                <a:lnTo>
                  <a:pt x="396" y="99"/>
                </a:lnTo>
                <a:lnTo>
                  <a:pt x="433" y="97"/>
                </a:lnTo>
                <a:lnTo>
                  <a:pt x="415" y="74"/>
                </a:lnTo>
                <a:lnTo>
                  <a:pt x="380" y="80"/>
                </a:lnTo>
                <a:lnTo>
                  <a:pt x="380" y="54"/>
                </a:lnTo>
                <a:lnTo>
                  <a:pt x="389" y="40"/>
                </a:lnTo>
                <a:lnTo>
                  <a:pt x="364" y="36"/>
                </a:lnTo>
                <a:lnTo>
                  <a:pt x="299" y="52"/>
                </a:lnTo>
                <a:lnTo>
                  <a:pt x="243" y="29"/>
                </a:lnTo>
                <a:lnTo>
                  <a:pt x="206" y="32"/>
                </a:lnTo>
                <a:lnTo>
                  <a:pt x="193" y="13"/>
                </a:lnTo>
                <a:lnTo>
                  <a:pt x="157" y="0"/>
                </a:lnTo>
                <a:lnTo>
                  <a:pt x="138" y="14"/>
                </a:lnTo>
                <a:lnTo>
                  <a:pt x="137" y="40"/>
                </a:lnTo>
                <a:lnTo>
                  <a:pt x="55" y="28"/>
                </a:lnTo>
                <a:lnTo>
                  <a:pt x="0" y="57"/>
                </a:lnTo>
              </a:path>
            </a:pathLst>
          </a:custGeom>
          <a:solidFill>
            <a:schemeClr val="bg1">
              <a:lumMod val="65000"/>
            </a:schemeClr>
          </a:solidFill>
          <a:ln w="12700">
            <a:solidFill>
              <a:srgbClr val="FFFFFF"/>
            </a:solidFill>
            <a:round/>
            <a:headEnd/>
            <a:tailEnd/>
          </a:ln>
        </p:spPr>
        <p:txBody>
          <a:bodyPr lIns="0" tIns="0" rIns="0" bIns="0" anchor="ctr">
            <a:spAutoFit/>
          </a:bodyPr>
          <a:lstStyle/>
          <a:p>
            <a:endParaRPr lang="en-GB" kern="0" dirty="0">
              <a:solidFill>
                <a:sysClr val="windowText" lastClr="000000"/>
              </a:solidFill>
            </a:endParaRPr>
          </a:p>
        </p:txBody>
      </p:sp>
      <p:sp>
        <p:nvSpPr>
          <p:cNvPr id="70" name="Freeform 656">
            <a:extLst>
              <a:ext uri="{FF2B5EF4-FFF2-40B4-BE49-F238E27FC236}">
                <a16:creationId xmlns:a16="http://schemas.microsoft.com/office/drawing/2014/main" id="{4F08ECD2-B0A3-418F-849F-235D1C7B0112}"/>
              </a:ext>
            </a:extLst>
          </p:cNvPr>
          <p:cNvSpPr>
            <a:spLocks/>
          </p:cNvSpPr>
          <p:nvPr/>
        </p:nvSpPr>
        <p:spPr bwMode="auto">
          <a:xfrm>
            <a:off x="4876544" y="4986293"/>
            <a:ext cx="116801" cy="132501"/>
          </a:xfrm>
          <a:custGeom>
            <a:avLst/>
            <a:gdLst>
              <a:gd name="T0" fmla="*/ 0 w 105"/>
              <a:gd name="T1" fmla="*/ 143570889 h 119"/>
              <a:gd name="T2" fmla="*/ 0 w 105"/>
              <a:gd name="T3" fmla="*/ 143570889 h 119"/>
              <a:gd name="T4" fmla="*/ 20480870 w 105"/>
              <a:gd name="T5" fmla="*/ 201682754 h 119"/>
              <a:gd name="T6" fmla="*/ 57054450 w 105"/>
              <a:gd name="T7" fmla="*/ 193136590 h 119"/>
              <a:gd name="T8" fmla="*/ 114110109 w 105"/>
              <a:gd name="T9" fmla="*/ 141860872 h 119"/>
              <a:gd name="T10" fmla="*/ 112646586 w 105"/>
              <a:gd name="T11" fmla="*/ 117932397 h 119"/>
              <a:gd name="T12" fmla="*/ 150683680 w 105"/>
              <a:gd name="T13" fmla="*/ 73494155 h 119"/>
              <a:gd name="T14" fmla="*/ 152145994 w 105"/>
              <a:gd name="T15" fmla="*/ 59820554 h 119"/>
              <a:gd name="T16" fmla="*/ 131665133 w 105"/>
              <a:gd name="T17" fmla="*/ 34183359 h 119"/>
              <a:gd name="T18" fmla="*/ 84850527 w 105"/>
              <a:gd name="T19" fmla="*/ 0 h 119"/>
              <a:gd name="T20" fmla="*/ 73147160 w 105"/>
              <a:gd name="T21" fmla="*/ 1708710 h 119"/>
              <a:gd name="T22" fmla="*/ 78998834 w 105"/>
              <a:gd name="T23" fmla="*/ 18801043 h 119"/>
              <a:gd name="T24" fmla="*/ 62907334 w 105"/>
              <a:gd name="T25" fmla="*/ 54693117 h 119"/>
              <a:gd name="T26" fmla="*/ 73147160 w 105"/>
              <a:gd name="T27" fmla="*/ 71785445 h 119"/>
              <a:gd name="T28" fmla="*/ 58517973 w 105"/>
              <a:gd name="T29" fmla="*/ 119642415 h 119"/>
              <a:gd name="T30" fmla="*/ 0 w 105"/>
              <a:gd name="T31" fmla="*/ 143570889 h 119"/>
              <a:gd name="T32" fmla="*/ 0 w 105"/>
              <a:gd name="T33" fmla="*/ 143570889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5"/>
              <a:gd name="T52" fmla="*/ 0 h 119"/>
              <a:gd name="T53" fmla="*/ 105 w 105"/>
              <a:gd name="T54" fmla="*/ 119 h 1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5" h="119">
                <a:moveTo>
                  <a:pt x="0" y="84"/>
                </a:moveTo>
                <a:lnTo>
                  <a:pt x="0" y="84"/>
                </a:lnTo>
                <a:lnTo>
                  <a:pt x="14" y="118"/>
                </a:lnTo>
                <a:lnTo>
                  <a:pt x="39" y="113"/>
                </a:lnTo>
                <a:lnTo>
                  <a:pt x="78" y="83"/>
                </a:lnTo>
                <a:lnTo>
                  <a:pt x="77" y="69"/>
                </a:lnTo>
                <a:lnTo>
                  <a:pt x="103" y="43"/>
                </a:lnTo>
                <a:lnTo>
                  <a:pt x="104" y="35"/>
                </a:lnTo>
                <a:lnTo>
                  <a:pt x="90" y="20"/>
                </a:lnTo>
                <a:lnTo>
                  <a:pt x="58" y="0"/>
                </a:lnTo>
                <a:lnTo>
                  <a:pt x="50" y="1"/>
                </a:lnTo>
                <a:lnTo>
                  <a:pt x="54" y="11"/>
                </a:lnTo>
                <a:lnTo>
                  <a:pt x="43" y="32"/>
                </a:lnTo>
                <a:lnTo>
                  <a:pt x="50" y="42"/>
                </a:lnTo>
                <a:lnTo>
                  <a:pt x="40" y="70"/>
                </a:lnTo>
                <a:lnTo>
                  <a:pt x="0" y="8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1" name="Freeform 657">
            <a:extLst>
              <a:ext uri="{FF2B5EF4-FFF2-40B4-BE49-F238E27FC236}">
                <a16:creationId xmlns:a16="http://schemas.microsoft.com/office/drawing/2014/main" id="{5E649382-9C23-4795-BBF9-46D64A38F33F}"/>
              </a:ext>
            </a:extLst>
          </p:cNvPr>
          <p:cNvSpPr>
            <a:spLocks/>
          </p:cNvSpPr>
          <p:nvPr/>
        </p:nvSpPr>
        <p:spPr bwMode="auto">
          <a:xfrm>
            <a:off x="5314547" y="4898408"/>
            <a:ext cx="127022" cy="64899"/>
          </a:xfrm>
          <a:custGeom>
            <a:avLst/>
            <a:gdLst>
              <a:gd name="T0" fmla="*/ 0 w 111"/>
              <a:gd name="T1" fmla="*/ 39317863 h 57"/>
              <a:gd name="T2" fmla="*/ 0 w 111"/>
              <a:gd name="T3" fmla="*/ 39317863 h 57"/>
              <a:gd name="T4" fmla="*/ 21675035 w 111"/>
              <a:gd name="T5" fmla="*/ 0 h 57"/>
              <a:gd name="T6" fmla="*/ 88246756 w 111"/>
              <a:gd name="T7" fmla="*/ 25020341 h 57"/>
              <a:gd name="T8" fmla="*/ 123855015 w 111"/>
              <a:gd name="T9" fmla="*/ 62549509 h 57"/>
              <a:gd name="T10" fmla="*/ 170300826 w 111"/>
              <a:gd name="T11" fmla="*/ 62549509 h 57"/>
              <a:gd name="T12" fmla="*/ 167203860 w 111"/>
              <a:gd name="T13" fmla="*/ 100080026 h 57"/>
              <a:gd name="T14" fmla="*/ 57283304 w 111"/>
              <a:gd name="T15" fmla="*/ 76847032 h 57"/>
              <a:gd name="T16" fmla="*/ 0 w 111"/>
              <a:gd name="T17" fmla="*/ 39317863 h 57"/>
              <a:gd name="T18" fmla="*/ 0 w 111"/>
              <a:gd name="T19" fmla="*/ 39317863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
              <a:gd name="T31" fmla="*/ 0 h 57"/>
              <a:gd name="T32" fmla="*/ 111 w 111"/>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 h="57">
                <a:moveTo>
                  <a:pt x="0" y="22"/>
                </a:moveTo>
                <a:lnTo>
                  <a:pt x="0" y="22"/>
                </a:lnTo>
                <a:lnTo>
                  <a:pt x="14" y="0"/>
                </a:lnTo>
                <a:lnTo>
                  <a:pt x="57" y="14"/>
                </a:lnTo>
                <a:lnTo>
                  <a:pt x="80" y="35"/>
                </a:lnTo>
                <a:lnTo>
                  <a:pt x="110" y="35"/>
                </a:lnTo>
                <a:lnTo>
                  <a:pt x="108" y="56"/>
                </a:lnTo>
                <a:lnTo>
                  <a:pt x="37" y="43"/>
                </a:lnTo>
                <a:lnTo>
                  <a:pt x="0" y="2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72" name="Group 69">
            <a:extLst>
              <a:ext uri="{FF2B5EF4-FFF2-40B4-BE49-F238E27FC236}">
                <a16:creationId xmlns:a16="http://schemas.microsoft.com/office/drawing/2014/main" id="{A36B7DC4-1B53-4416-8305-AD78F046273A}"/>
              </a:ext>
            </a:extLst>
          </p:cNvPr>
          <p:cNvGrpSpPr>
            <a:grpSpLocks/>
          </p:cNvGrpSpPr>
          <p:nvPr/>
        </p:nvGrpSpPr>
        <p:grpSpPr bwMode="auto">
          <a:xfrm>
            <a:off x="6666457" y="5909764"/>
            <a:ext cx="186879" cy="219035"/>
            <a:chOff x="5352" y="3915"/>
            <a:chExt cx="163" cy="197"/>
          </a:xfrm>
          <a:solidFill>
            <a:srgbClr val="00B050"/>
          </a:solidFill>
        </p:grpSpPr>
        <p:sp>
          <p:nvSpPr>
            <p:cNvPr id="275" name="Freeform 659">
              <a:extLst>
                <a:ext uri="{FF2B5EF4-FFF2-40B4-BE49-F238E27FC236}">
                  <a16:creationId xmlns:a16="http://schemas.microsoft.com/office/drawing/2014/main" id="{AAA97107-21AF-4370-995C-0E31C43B175B}"/>
                </a:ext>
              </a:extLst>
            </p:cNvPr>
            <p:cNvSpPr>
              <a:spLocks/>
            </p:cNvSpPr>
            <p:nvPr/>
          </p:nvSpPr>
          <p:spPr bwMode="auto">
            <a:xfrm>
              <a:off x="5352" y="4012"/>
              <a:ext cx="106" cy="100"/>
            </a:xfrm>
            <a:custGeom>
              <a:avLst/>
              <a:gdLst>
                <a:gd name="T0" fmla="*/ 0 w 106"/>
                <a:gd name="T1" fmla="*/ 87 h 100"/>
                <a:gd name="T2" fmla="*/ 0 w 106"/>
                <a:gd name="T3" fmla="*/ 87 h 100"/>
                <a:gd name="T4" fmla="*/ 22 w 106"/>
                <a:gd name="T5" fmla="*/ 56 h 100"/>
                <a:gd name="T6" fmla="*/ 60 w 106"/>
                <a:gd name="T7" fmla="*/ 34 h 100"/>
                <a:gd name="T8" fmla="*/ 79 w 106"/>
                <a:gd name="T9" fmla="*/ 0 h 100"/>
                <a:gd name="T10" fmla="*/ 91 w 106"/>
                <a:gd name="T11" fmla="*/ 10 h 100"/>
                <a:gd name="T12" fmla="*/ 104 w 106"/>
                <a:gd name="T13" fmla="*/ 6 h 100"/>
                <a:gd name="T14" fmla="*/ 105 w 106"/>
                <a:gd name="T15" fmla="*/ 18 h 100"/>
                <a:gd name="T16" fmla="*/ 85 w 106"/>
                <a:gd name="T17" fmla="*/ 41 h 100"/>
                <a:gd name="T18" fmla="*/ 90 w 106"/>
                <a:gd name="T19" fmla="*/ 52 h 100"/>
                <a:gd name="T20" fmla="*/ 67 w 106"/>
                <a:gd name="T21" fmla="*/ 56 h 100"/>
                <a:gd name="T22" fmla="*/ 57 w 106"/>
                <a:gd name="T23" fmla="*/ 89 h 100"/>
                <a:gd name="T24" fmla="*/ 34 w 106"/>
                <a:gd name="T25" fmla="*/ 99 h 100"/>
                <a:gd name="T26" fmla="*/ 0 w 106"/>
                <a:gd name="T27" fmla="*/ 87 h 100"/>
                <a:gd name="T28" fmla="*/ 0 w 106"/>
                <a:gd name="T29" fmla="*/ 87 h 1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6"/>
                <a:gd name="T46" fmla="*/ 0 h 100"/>
                <a:gd name="T47" fmla="*/ 106 w 106"/>
                <a:gd name="T48" fmla="*/ 100 h 1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6" h="100">
                  <a:moveTo>
                    <a:pt x="0" y="87"/>
                  </a:moveTo>
                  <a:lnTo>
                    <a:pt x="0" y="87"/>
                  </a:lnTo>
                  <a:lnTo>
                    <a:pt x="22" y="56"/>
                  </a:lnTo>
                  <a:lnTo>
                    <a:pt x="60" y="34"/>
                  </a:lnTo>
                  <a:lnTo>
                    <a:pt x="79" y="0"/>
                  </a:lnTo>
                  <a:lnTo>
                    <a:pt x="91" y="10"/>
                  </a:lnTo>
                  <a:lnTo>
                    <a:pt x="104" y="6"/>
                  </a:lnTo>
                  <a:lnTo>
                    <a:pt x="105" y="18"/>
                  </a:lnTo>
                  <a:lnTo>
                    <a:pt x="85" y="41"/>
                  </a:lnTo>
                  <a:lnTo>
                    <a:pt x="90" y="52"/>
                  </a:lnTo>
                  <a:lnTo>
                    <a:pt x="67" y="56"/>
                  </a:lnTo>
                  <a:lnTo>
                    <a:pt x="57" y="89"/>
                  </a:lnTo>
                  <a:lnTo>
                    <a:pt x="34" y="99"/>
                  </a:lnTo>
                  <a:lnTo>
                    <a:pt x="0" y="8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6" name="Freeform 660">
              <a:extLst>
                <a:ext uri="{FF2B5EF4-FFF2-40B4-BE49-F238E27FC236}">
                  <a16:creationId xmlns:a16="http://schemas.microsoft.com/office/drawing/2014/main" id="{28698661-DF5F-4315-8BCF-342C6DAABF32}"/>
                </a:ext>
              </a:extLst>
            </p:cNvPr>
            <p:cNvSpPr>
              <a:spLocks/>
            </p:cNvSpPr>
            <p:nvPr/>
          </p:nvSpPr>
          <p:spPr bwMode="auto">
            <a:xfrm>
              <a:off x="5435" y="3915"/>
              <a:ext cx="80" cy="110"/>
            </a:xfrm>
            <a:custGeom>
              <a:avLst/>
              <a:gdLst>
                <a:gd name="T0" fmla="*/ 0 w 80"/>
                <a:gd name="T1" fmla="*/ 0 h 110"/>
                <a:gd name="T2" fmla="*/ 0 w 80"/>
                <a:gd name="T3" fmla="*/ 0 h 110"/>
                <a:gd name="T4" fmla="*/ 22 w 80"/>
                <a:gd name="T5" fmla="*/ 13 h 110"/>
                <a:gd name="T6" fmla="*/ 28 w 80"/>
                <a:gd name="T7" fmla="*/ 37 h 110"/>
                <a:gd name="T8" fmla="*/ 37 w 80"/>
                <a:gd name="T9" fmla="*/ 43 h 110"/>
                <a:gd name="T10" fmla="*/ 43 w 80"/>
                <a:gd name="T11" fmla="*/ 33 h 110"/>
                <a:gd name="T12" fmla="*/ 47 w 80"/>
                <a:gd name="T13" fmla="*/ 50 h 110"/>
                <a:gd name="T14" fmla="*/ 79 w 80"/>
                <a:gd name="T15" fmla="*/ 50 h 110"/>
                <a:gd name="T16" fmla="*/ 73 w 80"/>
                <a:gd name="T17" fmla="*/ 74 h 110"/>
                <a:gd name="T18" fmla="*/ 57 w 80"/>
                <a:gd name="T19" fmla="*/ 77 h 110"/>
                <a:gd name="T20" fmla="*/ 43 w 80"/>
                <a:gd name="T21" fmla="*/ 108 h 110"/>
                <a:gd name="T22" fmla="*/ 28 w 80"/>
                <a:gd name="T23" fmla="*/ 109 h 110"/>
                <a:gd name="T24" fmla="*/ 35 w 80"/>
                <a:gd name="T25" fmla="*/ 98 h 110"/>
                <a:gd name="T26" fmla="*/ 15 w 80"/>
                <a:gd name="T27" fmla="*/ 75 h 110"/>
                <a:gd name="T28" fmla="*/ 31 w 80"/>
                <a:gd name="T29" fmla="*/ 56 h 110"/>
                <a:gd name="T30" fmla="*/ 28 w 80"/>
                <a:gd name="T31" fmla="*/ 40 h 110"/>
                <a:gd name="T32" fmla="*/ 0 w 80"/>
                <a:gd name="T33" fmla="*/ 0 h 110"/>
                <a:gd name="T34" fmla="*/ 0 w 80"/>
                <a:gd name="T35" fmla="*/ 0 h 1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0"/>
                <a:gd name="T55" fmla="*/ 0 h 110"/>
                <a:gd name="T56" fmla="*/ 80 w 80"/>
                <a:gd name="T57" fmla="*/ 110 h 1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0" h="110">
                  <a:moveTo>
                    <a:pt x="0" y="0"/>
                  </a:moveTo>
                  <a:lnTo>
                    <a:pt x="0" y="0"/>
                  </a:lnTo>
                  <a:lnTo>
                    <a:pt x="22" y="13"/>
                  </a:lnTo>
                  <a:lnTo>
                    <a:pt x="28" y="37"/>
                  </a:lnTo>
                  <a:lnTo>
                    <a:pt x="37" y="43"/>
                  </a:lnTo>
                  <a:lnTo>
                    <a:pt x="43" y="33"/>
                  </a:lnTo>
                  <a:lnTo>
                    <a:pt x="47" y="50"/>
                  </a:lnTo>
                  <a:lnTo>
                    <a:pt x="79" y="50"/>
                  </a:lnTo>
                  <a:lnTo>
                    <a:pt x="73" y="74"/>
                  </a:lnTo>
                  <a:lnTo>
                    <a:pt x="57" y="77"/>
                  </a:lnTo>
                  <a:lnTo>
                    <a:pt x="43" y="108"/>
                  </a:lnTo>
                  <a:lnTo>
                    <a:pt x="28" y="109"/>
                  </a:lnTo>
                  <a:lnTo>
                    <a:pt x="35" y="98"/>
                  </a:lnTo>
                  <a:lnTo>
                    <a:pt x="15" y="75"/>
                  </a:lnTo>
                  <a:lnTo>
                    <a:pt x="31" y="56"/>
                  </a:lnTo>
                  <a:lnTo>
                    <a:pt x="28" y="40"/>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73" name="Freeform 661">
            <a:extLst>
              <a:ext uri="{FF2B5EF4-FFF2-40B4-BE49-F238E27FC236}">
                <a16:creationId xmlns:a16="http://schemas.microsoft.com/office/drawing/2014/main" id="{98ADAE93-D5E4-4A59-9C44-F3321359FCDF}"/>
              </a:ext>
            </a:extLst>
          </p:cNvPr>
          <p:cNvSpPr>
            <a:spLocks/>
          </p:cNvSpPr>
          <p:nvPr/>
        </p:nvSpPr>
        <p:spPr bwMode="auto">
          <a:xfrm>
            <a:off x="5013784" y="4783484"/>
            <a:ext cx="264263" cy="221737"/>
          </a:xfrm>
          <a:custGeom>
            <a:avLst/>
            <a:gdLst>
              <a:gd name="T0" fmla="*/ 0 w 230"/>
              <a:gd name="T1" fmla="*/ 184855067 h 199"/>
              <a:gd name="T2" fmla="*/ 0 w 230"/>
              <a:gd name="T3" fmla="*/ 184855067 h 199"/>
              <a:gd name="T4" fmla="*/ 34336892 w 230"/>
              <a:gd name="T5" fmla="*/ 196837704 h 199"/>
              <a:gd name="T6" fmla="*/ 112372904 w 230"/>
              <a:gd name="T7" fmla="*/ 184855067 h 199"/>
              <a:gd name="T8" fmla="*/ 126419980 w 230"/>
              <a:gd name="T9" fmla="*/ 150623590 h 199"/>
              <a:gd name="T10" fmla="*/ 179485088 w 230"/>
              <a:gd name="T11" fmla="*/ 131794665 h 199"/>
              <a:gd name="T12" fmla="*/ 184167446 w 230"/>
              <a:gd name="T13" fmla="*/ 102696964 h 199"/>
              <a:gd name="T14" fmla="*/ 202895633 w 230"/>
              <a:gd name="T15" fmla="*/ 95850677 h 199"/>
              <a:gd name="T16" fmla="*/ 195092534 w 230"/>
              <a:gd name="T17" fmla="*/ 80446837 h 199"/>
              <a:gd name="T18" fmla="*/ 213821969 w 230"/>
              <a:gd name="T19" fmla="*/ 78734284 h 199"/>
              <a:gd name="T20" fmla="*/ 227867797 w 230"/>
              <a:gd name="T21" fmla="*/ 49636583 h 199"/>
              <a:gd name="T22" fmla="*/ 221625068 w 230"/>
              <a:gd name="T23" fmla="*/ 20538866 h 199"/>
              <a:gd name="T24" fmla="*/ 293419571 w 230"/>
              <a:gd name="T25" fmla="*/ 0 h 199"/>
              <a:gd name="T26" fmla="*/ 357409805 w 230"/>
              <a:gd name="T27" fmla="*/ 42790286 h 199"/>
              <a:gd name="T28" fmla="*/ 340240740 w 230"/>
              <a:gd name="T29" fmla="*/ 61617913 h 199"/>
              <a:gd name="T30" fmla="*/ 279372495 w 230"/>
              <a:gd name="T31" fmla="*/ 61617913 h 199"/>
              <a:gd name="T32" fmla="*/ 279372495 w 230"/>
              <a:gd name="T33" fmla="*/ 99274475 h 199"/>
              <a:gd name="T34" fmla="*/ 307465399 w 230"/>
              <a:gd name="T35" fmla="*/ 123237133 h 199"/>
              <a:gd name="T36" fmla="*/ 290297582 w 230"/>
              <a:gd name="T37" fmla="*/ 135218463 h 199"/>
              <a:gd name="T38" fmla="*/ 294979941 w 230"/>
              <a:gd name="T39" fmla="*/ 157469877 h 199"/>
              <a:gd name="T40" fmla="*/ 232550156 w 230"/>
              <a:gd name="T41" fmla="*/ 234492937 h 199"/>
              <a:gd name="T42" fmla="*/ 204457252 w 230"/>
              <a:gd name="T43" fmla="*/ 232781693 h 199"/>
              <a:gd name="T44" fmla="*/ 184167446 w 230"/>
              <a:gd name="T45" fmla="*/ 251609309 h 199"/>
              <a:gd name="T46" fmla="*/ 218503079 w 230"/>
              <a:gd name="T47" fmla="*/ 323497286 h 199"/>
              <a:gd name="T48" fmla="*/ 170120370 w 230"/>
              <a:gd name="T49" fmla="*/ 323497286 h 199"/>
              <a:gd name="T50" fmla="*/ 152952514 w 230"/>
              <a:gd name="T51" fmla="*/ 338902414 h 199"/>
              <a:gd name="T52" fmla="*/ 117055263 w 230"/>
              <a:gd name="T53" fmla="*/ 296110830 h 199"/>
              <a:gd name="T54" fmla="*/ 17167821 w 230"/>
              <a:gd name="T55" fmla="*/ 304669670 h 199"/>
              <a:gd name="T56" fmla="*/ 49943099 w 230"/>
              <a:gd name="T57" fmla="*/ 255031799 h 199"/>
              <a:gd name="T58" fmla="*/ 0 w 230"/>
              <a:gd name="T59" fmla="*/ 184855067 h 199"/>
              <a:gd name="T60" fmla="*/ 0 w 230"/>
              <a:gd name="T61" fmla="*/ 184855067 h 19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0"/>
              <a:gd name="T94" fmla="*/ 0 h 199"/>
              <a:gd name="T95" fmla="*/ 230 w 230"/>
              <a:gd name="T96" fmla="*/ 199 h 19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0" h="199">
                <a:moveTo>
                  <a:pt x="0" y="108"/>
                </a:moveTo>
                <a:lnTo>
                  <a:pt x="0" y="108"/>
                </a:lnTo>
                <a:lnTo>
                  <a:pt x="22" y="115"/>
                </a:lnTo>
                <a:lnTo>
                  <a:pt x="72" y="108"/>
                </a:lnTo>
                <a:lnTo>
                  <a:pt x="81" y="88"/>
                </a:lnTo>
                <a:lnTo>
                  <a:pt x="115" y="77"/>
                </a:lnTo>
                <a:lnTo>
                  <a:pt x="118" y="60"/>
                </a:lnTo>
                <a:lnTo>
                  <a:pt x="130" y="56"/>
                </a:lnTo>
                <a:lnTo>
                  <a:pt x="125" y="47"/>
                </a:lnTo>
                <a:lnTo>
                  <a:pt x="137" y="46"/>
                </a:lnTo>
                <a:lnTo>
                  <a:pt x="146" y="29"/>
                </a:lnTo>
                <a:lnTo>
                  <a:pt x="142" y="12"/>
                </a:lnTo>
                <a:lnTo>
                  <a:pt x="188" y="0"/>
                </a:lnTo>
                <a:lnTo>
                  <a:pt x="229" y="25"/>
                </a:lnTo>
                <a:lnTo>
                  <a:pt x="218" y="36"/>
                </a:lnTo>
                <a:lnTo>
                  <a:pt x="179" y="36"/>
                </a:lnTo>
                <a:lnTo>
                  <a:pt x="179" y="58"/>
                </a:lnTo>
                <a:lnTo>
                  <a:pt x="197" y="72"/>
                </a:lnTo>
                <a:lnTo>
                  <a:pt x="186" y="79"/>
                </a:lnTo>
                <a:lnTo>
                  <a:pt x="189" y="92"/>
                </a:lnTo>
                <a:lnTo>
                  <a:pt x="149" y="137"/>
                </a:lnTo>
                <a:lnTo>
                  <a:pt x="131" y="136"/>
                </a:lnTo>
                <a:lnTo>
                  <a:pt x="118" y="147"/>
                </a:lnTo>
                <a:lnTo>
                  <a:pt x="140" y="189"/>
                </a:lnTo>
                <a:lnTo>
                  <a:pt x="109" y="189"/>
                </a:lnTo>
                <a:lnTo>
                  <a:pt x="98" y="198"/>
                </a:lnTo>
                <a:lnTo>
                  <a:pt x="75" y="173"/>
                </a:lnTo>
                <a:lnTo>
                  <a:pt x="11" y="178"/>
                </a:lnTo>
                <a:lnTo>
                  <a:pt x="32" y="149"/>
                </a:lnTo>
                <a:lnTo>
                  <a:pt x="0" y="10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74" name="Group 73">
            <a:extLst>
              <a:ext uri="{FF2B5EF4-FFF2-40B4-BE49-F238E27FC236}">
                <a16:creationId xmlns:a16="http://schemas.microsoft.com/office/drawing/2014/main" id="{9BD7B3BD-D790-4305-84E7-5A72B29158D7}"/>
              </a:ext>
            </a:extLst>
          </p:cNvPr>
          <p:cNvGrpSpPr>
            <a:grpSpLocks/>
          </p:cNvGrpSpPr>
          <p:nvPr/>
        </p:nvGrpSpPr>
        <p:grpSpPr bwMode="auto">
          <a:xfrm>
            <a:off x="6270798" y="5408134"/>
            <a:ext cx="186880" cy="116277"/>
            <a:chOff x="5006" y="3464"/>
            <a:chExt cx="164" cy="107"/>
          </a:xfrm>
          <a:solidFill>
            <a:srgbClr val="00B050"/>
          </a:solidFill>
        </p:grpSpPr>
        <p:sp>
          <p:nvSpPr>
            <p:cNvPr id="272" name="Freeform 663">
              <a:extLst>
                <a:ext uri="{FF2B5EF4-FFF2-40B4-BE49-F238E27FC236}">
                  <a16:creationId xmlns:a16="http://schemas.microsoft.com/office/drawing/2014/main" id="{37313F0F-7032-46C5-AB40-4833F09656C9}"/>
                </a:ext>
              </a:extLst>
            </p:cNvPr>
            <p:cNvSpPr>
              <a:spLocks/>
            </p:cNvSpPr>
            <p:nvPr/>
          </p:nvSpPr>
          <p:spPr bwMode="auto">
            <a:xfrm>
              <a:off x="5006" y="3464"/>
              <a:ext cx="136" cy="107"/>
            </a:xfrm>
            <a:custGeom>
              <a:avLst/>
              <a:gdLst>
                <a:gd name="T0" fmla="*/ 0 w 136"/>
                <a:gd name="T1" fmla="*/ 0 h 107"/>
                <a:gd name="T2" fmla="*/ 0 w 136"/>
                <a:gd name="T3" fmla="*/ 0 h 107"/>
                <a:gd name="T4" fmla="*/ 2 w 136"/>
                <a:gd name="T5" fmla="*/ 88 h 107"/>
                <a:gd name="T6" fmla="*/ 24 w 136"/>
                <a:gd name="T7" fmla="*/ 91 h 107"/>
                <a:gd name="T8" fmla="*/ 46 w 136"/>
                <a:gd name="T9" fmla="*/ 67 h 107"/>
                <a:gd name="T10" fmla="*/ 70 w 136"/>
                <a:gd name="T11" fmla="*/ 78 h 107"/>
                <a:gd name="T12" fmla="*/ 93 w 136"/>
                <a:gd name="T13" fmla="*/ 101 h 107"/>
                <a:gd name="T14" fmla="*/ 135 w 136"/>
                <a:gd name="T15" fmla="*/ 106 h 107"/>
                <a:gd name="T16" fmla="*/ 87 w 136"/>
                <a:gd name="T17" fmla="*/ 67 h 107"/>
                <a:gd name="T18" fmla="*/ 90 w 136"/>
                <a:gd name="T19" fmla="*/ 47 h 107"/>
                <a:gd name="T20" fmla="*/ 67 w 136"/>
                <a:gd name="T21" fmla="*/ 41 h 107"/>
                <a:gd name="T22" fmla="*/ 46 w 136"/>
                <a:gd name="T23" fmla="*/ 16 h 107"/>
                <a:gd name="T24" fmla="*/ 0 w 136"/>
                <a:gd name="T25" fmla="*/ 0 h 107"/>
                <a:gd name="T26" fmla="*/ 0 w 136"/>
                <a:gd name="T27" fmla="*/ 0 h 1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6"/>
                <a:gd name="T43" fmla="*/ 0 h 107"/>
                <a:gd name="T44" fmla="*/ 136 w 136"/>
                <a:gd name="T45" fmla="*/ 107 h 10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6" h="107">
                  <a:moveTo>
                    <a:pt x="0" y="0"/>
                  </a:moveTo>
                  <a:lnTo>
                    <a:pt x="0" y="0"/>
                  </a:lnTo>
                  <a:lnTo>
                    <a:pt x="2" y="88"/>
                  </a:lnTo>
                  <a:lnTo>
                    <a:pt x="24" y="91"/>
                  </a:lnTo>
                  <a:lnTo>
                    <a:pt x="46" y="67"/>
                  </a:lnTo>
                  <a:lnTo>
                    <a:pt x="70" y="78"/>
                  </a:lnTo>
                  <a:lnTo>
                    <a:pt x="93" y="101"/>
                  </a:lnTo>
                  <a:lnTo>
                    <a:pt x="135" y="106"/>
                  </a:lnTo>
                  <a:lnTo>
                    <a:pt x="87" y="67"/>
                  </a:lnTo>
                  <a:lnTo>
                    <a:pt x="90" y="47"/>
                  </a:lnTo>
                  <a:lnTo>
                    <a:pt x="67" y="41"/>
                  </a:lnTo>
                  <a:lnTo>
                    <a:pt x="46"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3" name="Freeform 75">
              <a:extLst>
                <a:ext uri="{FF2B5EF4-FFF2-40B4-BE49-F238E27FC236}">
                  <a16:creationId xmlns:a16="http://schemas.microsoft.com/office/drawing/2014/main" id="{6E3F9E2E-887E-4711-8692-BB936FDF937E}"/>
                </a:ext>
              </a:extLst>
            </p:cNvPr>
            <p:cNvSpPr>
              <a:spLocks/>
            </p:cNvSpPr>
            <p:nvPr/>
          </p:nvSpPr>
          <p:spPr bwMode="auto">
            <a:xfrm>
              <a:off x="5105" y="3487"/>
              <a:ext cx="57" cy="28"/>
            </a:xfrm>
            <a:custGeom>
              <a:avLst/>
              <a:gdLst>
                <a:gd name="T0" fmla="*/ 0 w 57"/>
                <a:gd name="T1" fmla="*/ 18 h 28"/>
                <a:gd name="T2" fmla="*/ 0 w 57"/>
                <a:gd name="T3" fmla="*/ 18 h 28"/>
                <a:gd name="T4" fmla="*/ 33 w 57"/>
                <a:gd name="T5" fmla="*/ 27 h 28"/>
                <a:gd name="T6" fmla="*/ 56 w 57"/>
                <a:gd name="T7" fmla="*/ 8 h 28"/>
                <a:gd name="T8" fmla="*/ 47 w 57"/>
                <a:gd name="T9" fmla="*/ 0 h 28"/>
                <a:gd name="T10" fmla="*/ 40 w 57"/>
                <a:gd name="T11" fmla="*/ 10 h 28"/>
                <a:gd name="T12" fmla="*/ 0 w 57"/>
                <a:gd name="T13" fmla="*/ 18 h 28"/>
                <a:gd name="T14" fmla="*/ 0 w 57"/>
                <a:gd name="T15" fmla="*/ 18 h 28"/>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28"/>
                <a:gd name="T26" fmla="*/ 57 w 57"/>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28">
                  <a:moveTo>
                    <a:pt x="0" y="18"/>
                  </a:moveTo>
                  <a:lnTo>
                    <a:pt x="0" y="18"/>
                  </a:lnTo>
                  <a:lnTo>
                    <a:pt x="33" y="27"/>
                  </a:lnTo>
                  <a:lnTo>
                    <a:pt x="56" y="8"/>
                  </a:lnTo>
                  <a:lnTo>
                    <a:pt x="47" y="0"/>
                  </a:lnTo>
                  <a:lnTo>
                    <a:pt x="40" y="10"/>
                  </a:lnTo>
                  <a:lnTo>
                    <a:pt x="0" y="1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4" name="Freeform 665">
              <a:extLst>
                <a:ext uri="{FF2B5EF4-FFF2-40B4-BE49-F238E27FC236}">
                  <a16:creationId xmlns:a16="http://schemas.microsoft.com/office/drawing/2014/main" id="{90E3737C-0897-45B0-80D4-8986F7FC090B}"/>
                </a:ext>
              </a:extLst>
            </p:cNvPr>
            <p:cNvSpPr>
              <a:spLocks/>
            </p:cNvSpPr>
            <p:nvPr/>
          </p:nvSpPr>
          <p:spPr bwMode="auto">
            <a:xfrm>
              <a:off x="5139" y="3466"/>
              <a:ext cx="31" cy="28"/>
            </a:xfrm>
            <a:custGeom>
              <a:avLst/>
              <a:gdLst>
                <a:gd name="T0" fmla="*/ 0 w 31"/>
                <a:gd name="T1" fmla="*/ 0 h 28"/>
                <a:gd name="T2" fmla="*/ 0 w 31"/>
                <a:gd name="T3" fmla="*/ 0 h 28"/>
                <a:gd name="T4" fmla="*/ 23 w 31"/>
                <a:gd name="T5" fmla="*/ 12 h 28"/>
                <a:gd name="T6" fmla="*/ 30 w 31"/>
                <a:gd name="T7" fmla="*/ 27 h 28"/>
                <a:gd name="T8" fmla="*/ 29 w 31"/>
                <a:gd name="T9" fmla="*/ 16 h 28"/>
                <a:gd name="T10" fmla="*/ 0 w 31"/>
                <a:gd name="T11" fmla="*/ 0 h 28"/>
                <a:gd name="T12" fmla="*/ 0 w 31"/>
                <a:gd name="T13" fmla="*/ 0 h 28"/>
                <a:gd name="T14" fmla="*/ 0 60000 65536"/>
                <a:gd name="T15" fmla="*/ 0 60000 65536"/>
                <a:gd name="T16" fmla="*/ 0 60000 65536"/>
                <a:gd name="T17" fmla="*/ 0 60000 65536"/>
                <a:gd name="T18" fmla="*/ 0 60000 65536"/>
                <a:gd name="T19" fmla="*/ 0 60000 65536"/>
                <a:gd name="T20" fmla="*/ 0 60000 65536"/>
                <a:gd name="T21" fmla="*/ 0 w 31"/>
                <a:gd name="T22" fmla="*/ 0 h 28"/>
                <a:gd name="T23" fmla="*/ 31 w 31"/>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8">
                  <a:moveTo>
                    <a:pt x="0" y="0"/>
                  </a:moveTo>
                  <a:lnTo>
                    <a:pt x="0" y="0"/>
                  </a:lnTo>
                  <a:lnTo>
                    <a:pt x="23" y="12"/>
                  </a:lnTo>
                  <a:lnTo>
                    <a:pt x="30" y="27"/>
                  </a:lnTo>
                  <a:lnTo>
                    <a:pt x="29"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nvGrpSpPr>
          <p:cNvPr id="75" name="Group 77">
            <a:extLst>
              <a:ext uri="{FF2B5EF4-FFF2-40B4-BE49-F238E27FC236}">
                <a16:creationId xmlns:a16="http://schemas.microsoft.com/office/drawing/2014/main" id="{794F3FAD-552B-4F54-B292-3C9EFB594DE8}"/>
              </a:ext>
            </a:extLst>
          </p:cNvPr>
          <p:cNvGrpSpPr>
            <a:grpSpLocks/>
          </p:cNvGrpSpPr>
          <p:nvPr/>
        </p:nvGrpSpPr>
        <p:grpSpPr bwMode="auto">
          <a:xfrm>
            <a:off x="5897164" y="5086360"/>
            <a:ext cx="141623" cy="200105"/>
            <a:chOff x="4680" y="3175"/>
            <a:chExt cx="125" cy="179"/>
          </a:xfrm>
          <a:solidFill>
            <a:srgbClr val="00B050"/>
          </a:solidFill>
        </p:grpSpPr>
        <p:sp>
          <p:nvSpPr>
            <p:cNvPr id="266" name="Freeform 667">
              <a:extLst>
                <a:ext uri="{FF2B5EF4-FFF2-40B4-BE49-F238E27FC236}">
                  <a16:creationId xmlns:a16="http://schemas.microsoft.com/office/drawing/2014/main" id="{FA9BAED0-43F7-4E99-8B88-399CA30CA33F}"/>
                </a:ext>
              </a:extLst>
            </p:cNvPr>
            <p:cNvSpPr>
              <a:spLocks/>
            </p:cNvSpPr>
            <p:nvPr/>
          </p:nvSpPr>
          <p:spPr bwMode="auto">
            <a:xfrm>
              <a:off x="4680" y="3275"/>
              <a:ext cx="32" cy="40"/>
            </a:xfrm>
            <a:custGeom>
              <a:avLst/>
              <a:gdLst>
                <a:gd name="T0" fmla="*/ 0 w 32"/>
                <a:gd name="T1" fmla="*/ 39 h 40"/>
                <a:gd name="T2" fmla="*/ 0 w 32"/>
                <a:gd name="T3" fmla="*/ 39 h 40"/>
                <a:gd name="T4" fmla="*/ 22 w 32"/>
                <a:gd name="T5" fmla="*/ 21 h 40"/>
                <a:gd name="T6" fmla="*/ 31 w 32"/>
                <a:gd name="T7" fmla="*/ 0 h 40"/>
                <a:gd name="T8" fmla="*/ 0 w 32"/>
                <a:gd name="T9" fmla="*/ 39 h 40"/>
                <a:gd name="T10" fmla="*/ 0 w 32"/>
                <a:gd name="T11" fmla="*/ 39 h 40"/>
                <a:gd name="T12" fmla="*/ 0 60000 65536"/>
                <a:gd name="T13" fmla="*/ 0 60000 65536"/>
                <a:gd name="T14" fmla="*/ 0 60000 65536"/>
                <a:gd name="T15" fmla="*/ 0 60000 65536"/>
                <a:gd name="T16" fmla="*/ 0 60000 65536"/>
                <a:gd name="T17" fmla="*/ 0 60000 65536"/>
                <a:gd name="T18" fmla="*/ 0 w 32"/>
                <a:gd name="T19" fmla="*/ 0 h 40"/>
                <a:gd name="T20" fmla="*/ 32 w 32"/>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32" h="40">
                  <a:moveTo>
                    <a:pt x="0" y="39"/>
                  </a:moveTo>
                  <a:lnTo>
                    <a:pt x="0" y="39"/>
                  </a:lnTo>
                  <a:lnTo>
                    <a:pt x="22" y="21"/>
                  </a:lnTo>
                  <a:lnTo>
                    <a:pt x="31" y="0"/>
                  </a:lnTo>
                  <a:lnTo>
                    <a:pt x="0" y="3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7" name="Freeform 79">
              <a:extLst>
                <a:ext uri="{FF2B5EF4-FFF2-40B4-BE49-F238E27FC236}">
                  <a16:creationId xmlns:a16="http://schemas.microsoft.com/office/drawing/2014/main" id="{9454F253-2A59-4A63-ACAF-CC2D0548B1FD}"/>
                </a:ext>
              </a:extLst>
            </p:cNvPr>
            <p:cNvSpPr>
              <a:spLocks/>
            </p:cNvSpPr>
            <p:nvPr/>
          </p:nvSpPr>
          <p:spPr bwMode="auto">
            <a:xfrm>
              <a:off x="4717" y="3175"/>
              <a:ext cx="57" cy="84"/>
            </a:xfrm>
            <a:custGeom>
              <a:avLst/>
              <a:gdLst>
                <a:gd name="T0" fmla="*/ 0 w 57"/>
                <a:gd name="T1" fmla="*/ 33 h 84"/>
                <a:gd name="T2" fmla="*/ 0 w 57"/>
                <a:gd name="T3" fmla="*/ 33 h 84"/>
                <a:gd name="T4" fmla="*/ 11 w 57"/>
                <a:gd name="T5" fmla="*/ 0 h 84"/>
                <a:gd name="T6" fmla="*/ 30 w 57"/>
                <a:gd name="T7" fmla="*/ 1 h 84"/>
                <a:gd name="T8" fmla="*/ 35 w 57"/>
                <a:gd name="T9" fmla="*/ 23 h 84"/>
                <a:gd name="T10" fmla="*/ 20 w 57"/>
                <a:gd name="T11" fmla="*/ 45 h 84"/>
                <a:gd name="T12" fmla="*/ 23 w 57"/>
                <a:gd name="T13" fmla="*/ 58 h 84"/>
                <a:gd name="T14" fmla="*/ 53 w 57"/>
                <a:gd name="T15" fmla="*/ 66 h 84"/>
                <a:gd name="T16" fmla="*/ 56 w 57"/>
                <a:gd name="T17" fmla="*/ 83 h 84"/>
                <a:gd name="T18" fmla="*/ 38 w 57"/>
                <a:gd name="T19" fmla="*/ 66 h 84"/>
                <a:gd name="T20" fmla="*/ 38 w 57"/>
                <a:gd name="T21" fmla="*/ 74 h 84"/>
                <a:gd name="T22" fmla="*/ 11 w 57"/>
                <a:gd name="T23" fmla="*/ 66 h 84"/>
                <a:gd name="T24" fmla="*/ 0 w 57"/>
                <a:gd name="T25" fmla="*/ 33 h 84"/>
                <a:gd name="T26" fmla="*/ 0 w 57"/>
                <a:gd name="T27" fmla="*/ 33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84"/>
                <a:gd name="T44" fmla="*/ 57 w 57"/>
                <a:gd name="T45" fmla="*/ 84 h 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84">
                  <a:moveTo>
                    <a:pt x="0" y="33"/>
                  </a:moveTo>
                  <a:lnTo>
                    <a:pt x="0" y="33"/>
                  </a:lnTo>
                  <a:lnTo>
                    <a:pt x="11" y="0"/>
                  </a:lnTo>
                  <a:lnTo>
                    <a:pt x="30" y="1"/>
                  </a:lnTo>
                  <a:lnTo>
                    <a:pt x="35" y="23"/>
                  </a:lnTo>
                  <a:lnTo>
                    <a:pt x="20" y="45"/>
                  </a:lnTo>
                  <a:lnTo>
                    <a:pt x="23" y="58"/>
                  </a:lnTo>
                  <a:lnTo>
                    <a:pt x="53" y="66"/>
                  </a:lnTo>
                  <a:lnTo>
                    <a:pt x="56" y="83"/>
                  </a:lnTo>
                  <a:lnTo>
                    <a:pt x="38" y="66"/>
                  </a:lnTo>
                  <a:lnTo>
                    <a:pt x="38" y="74"/>
                  </a:lnTo>
                  <a:lnTo>
                    <a:pt x="11" y="66"/>
                  </a:lnTo>
                  <a:lnTo>
                    <a:pt x="0" y="3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8" name="Freeform 669">
              <a:extLst>
                <a:ext uri="{FF2B5EF4-FFF2-40B4-BE49-F238E27FC236}">
                  <a16:creationId xmlns:a16="http://schemas.microsoft.com/office/drawing/2014/main" id="{BC2F61F0-0972-40B7-9276-EC3C84E67EEC}"/>
                </a:ext>
              </a:extLst>
            </p:cNvPr>
            <p:cNvSpPr>
              <a:spLocks/>
            </p:cNvSpPr>
            <p:nvPr/>
          </p:nvSpPr>
          <p:spPr bwMode="auto">
            <a:xfrm>
              <a:off x="4722" y="3246"/>
              <a:ext cx="17" cy="18"/>
            </a:xfrm>
            <a:custGeom>
              <a:avLst/>
              <a:gdLst>
                <a:gd name="T0" fmla="*/ 0 w 17"/>
                <a:gd name="T1" fmla="*/ 0 h 18"/>
                <a:gd name="T2" fmla="*/ 0 w 17"/>
                <a:gd name="T3" fmla="*/ 0 h 18"/>
                <a:gd name="T4" fmla="*/ 8 w 17"/>
                <a:gd name="T5" fmla="*/ 0 h 18"/>
                <a:gd name="T6" fmla="*/ 16 w 17"/>
                <a:gd name="T7" fmla="*/ 3 h 18"/>
                <a:gd name="T8" fmla="*/ 12 w 17"/>
                <a:gd name="T9" fmla="*/ 17 h 18"/>
                <a:gd name="T10" fmla="*/ 0 w 17"/>
                <a:gd name="T11" fmla="*/ 0 h 18"/>
                <a:gd name="T12" fmla="*/ 0 w 17"/>
                <a:gd name="T13" fmla="*/ 0 h 18"/>
                <a:gd name="T14" fmla="*/ 0 60000 65536"/>
                <a:gd name="T15" fmla="*/ 0 60000 65536"/>
                <a:gd name="T16" fmla="*/ 0 60000 65536"/>
                <a:gd name="T17" fmla="*/ 0 60000 65536"/>
                <a:gd name="T18" fmla="*/ 0 60000 65536"/>
                <a:gd name="T19" fmla="*/ 0 60000 65536"/>
                <a:gd name="T20" fmla="*/ 0 60000 65536"/>
                <a:gd name="T21" fmla="*/ 0 w 17"/>
                <a:gd name="T22" fmla="*/ 0 h 18"/>
                <a:gd name="T23" fmla="*/ 17 w 1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8">
                  <a:moveTo>
                    <a:pt x="0" y="0"/>
                  </a:moveTo>
                  <a:lnTo>
                    <a:pt x="0" y="0"/>
                  </a:lnTo>
                  <a:lnTo>
                    <a:pt x="8" y="0"/>
                  </a:lnTo>
                  <a:lnTo>
                    <a:pt x="16" y="3"/>
                  </a:lnTo>
                  <a:lnTo>
                    <a:pt x="12" y="17"/>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9" name="Freeform 81">
              <a:extLst>
                <a:ext uri="{FF2B5EF4-FFF2-40B4-BE49-F238E27FC236}">
                  <a16:creationId xmlns:a16="http://schemas.microsoft.com/office/drawing/2014/main" id="{B1E799A7-A53F-4DD0-A331-B920C5631522}"/>
                </a:ext>
              </a:extLst>
            </p:cNvPr>
            <p:cNvSpPr>
              <a:spLocks/>
            </p:cNvSpPr>
            <p:nvPr/>
          </p:nvSpPr>
          <p:spPr bwMode="auto">
            <a:xfrm>
              <a:off x="4744" y="3267"/>
              <a:ext cx="15" cy="22"/>
            </a:xfrm>
            <a:custGeom>
              <a:avLst/>
              <a:gdLst>
                <a:gd name="T0" fmla="*/ 0 w 15"/>
                <a:gd name="T1" fmla="*/ 0 h 22"/>
                <a:gd name="T2" fmla="*/ 0 w 15"/>
                <a:gd name="T3" fmla="*/ 0 h 22"/>
                <a:gd name="T4" fmla="*/ 1 w 15"/>
                <a:gd name="T5" fmla="*/ 21 h 22"/>
                <a:gd name="T6" fmla="*/ 14 w 15"/>
                <a:gd name="T7" fmla="*/ 12 h 22"/>
                <a:gd name="T8" fmla="*/ 0 w 15"/>
                <a:gd name="T9" fmla="*/ 0 h 22"/>
                <a:gd name="T10" fmla="*/ 0 w 15"/>
                <a:gd name="T11" fmla="*/ 0 h 22"/>
                <a:gd name="T12" fmla="*/ 0 60000 65536"/>
                <a:gd name="T13" fmla="*/ 0 60000 65536"/>
                <a:gd name="T14" fmla="*/ 0 60000 65536"/>
                <a:gd name="T15" fmla="*/ 0 60000 65536"/>
                <a:gd name="T16" fmla="*/ 0 60000 65536"/>
                <a:gd name="T17" fmla="*/ 0 60000 65536"/>
                <a:gd name="T18" fmla="*/ 0 w 15"/>
                <a:gd name="T19" fmla="*/ 0 h 22"/>
                <a:gd name="T20" fmla="*/ 15 w 1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5" h="22">
                  <a:moveTo>
                    <a:pt x="0" y="0"/>
                  </a:moveTo>
                  <a:lnTo>
                    <a:pt x="0" y="0"/>
                  </a:lnTo>
                  <a:lnTo>
                    <a:pt x="1" y="21"/>
                  </a:lnTo>
                  <a:lnTo>
                    <a:pt x="14" y="12"/>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0" name="Freeform 671">
              <a:extLst>
                <a:ext uri="{FF2B5EF4-FFF2-40B4-BE49-F238E27FC236}">
                  <a16:creationId xmlns:a16="http://schemas.microsoft.com/office/drawing/2014/main" id="{3BCCB7F3-0A69-4735-8804-EA1993676A85}"/>
                </a:ext>
              </a:extLst>
            </p:cNvPr>
            <p:cNvSpPr>
              <a:spLocks/>
            </p:cNvSpPr>
            <p:nvPr/>
          </p:nvSpPr>
          <p:spPr bwMode="auto">
            <a:xfrm>
              <a:off x="4745" y="3297"/>
              <a:ext cx="60" cy="57"/>
            </a:xfrm>
            <a:custGeom>
              <a:avLst/>
              <a:gdLst>
                <a:gd name="T0" fmla="*/ 0 w 60"/>
                <a:gd name="T1" fmla="*/ 38 h 57"/>
                <a:gd name="T2" fmla="*/ 0 w 60"/>
                <a:gd name="T3" fmla="*/ 38 h 57"/>
                <a:gd name="T4" fmla="*/ 13 w 60"/>
                <a:gd name="T5" fmla="*/ 18 h 57"/>
                <a:gd name="T6" fmla="*/ 28 w 60"/>
                <a:gd name="T7" fmla="*/ 22 h 57"/>
                <a:gd name="T8" fmla="*/ 49 w 60"/>
                <a:gd name="T9" fmla="*/ 0 h 57"/>
                <a:gd name="T10" fmla="*/ 59 w 60"/>
                <a:gd name="T11" fmla="*/ 13 h 57"/>
                <a:gd name="T12" fmla="*/ 58 w 60"/>
                <a:gd name="T13" fmla="*/ 46 h 57"/>
                <a:gd name="T14" fmla="*/ 53 w 60"/>
                <a:gd name="T15" fmla="*/ 32 h 57"/>
                <a:gd name="T16" fmla="*/ 47 w 60"/>
                <a:gd name="T17" fmla="*/ 56 h 57"/>
                <a:gd name="T18" fmla="*/ 32 w 60"/>
                <a:gd name="T19" fmla="*/ 50 h 57"/>
                <a:gd name="T20" fmla="*/ 23 w 60"/>
                <a:gd name="T21" fmla="*/ 25 h 57"/>
                <a:gd name="T22" fmla="*/ 0 w 60"/>
                <a:gd name="T23" fmla="*/ 38 h 57"/>
                <a:gd name="T24" fmla="*/ 0 w 60"/>
                <a:gd name="T25" fmla="*/ 38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57"/>
                <a:gd name="T41" fmla="*/ 60 w 60"/>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57">
                  <a:moveTo>
                    <a:pt x="0" y="38"/>
                  </a:moveTo>
                  <a:lnTo>
                    <a:pt x="0" y="38"/>
                  </a:lnTo>
                  <a:lnTo>
                    <a:pt x="13" y="18"/>
                  </a:lnTo>
                  <a:lnTo>
                    <a:pt x="28" y="22"/>
                  </a:lnTo>
                  <a:lnTo>
                    <a:pt x="49" y="0"/>
                  </a:lnTo>
                  <a:lnTo>
                    <a:pt x="59" y="13"/>
                  </a:lnTo>
                  <a:lnTo>
                    <a:pt x="58" y="46"/>
                  </a:lnTo>
                  <a:lnTo>
                    <a:pt x="53" y="32"/>
                  </a:lnTo>
                  <a:lnTo>
                    <a:pt x="47" y="56"/>
                  </a:lnTo>
                  <a:lnTo>
                    <a:pt x="32" y="50"/>
                  </a:lnTo>
                  <a:lnTo>
                    <a:pt x="23" y="25"/>
                  </a:lnTo>
                  <a:lnTo>
                    <a:pt x="0" y="3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1" name="Freeform 672">
              <a:extLst>
                <a:ext uri="{FF2B5EF4-FFF2-40B4-BE49-F238E27FC236}">
                  <a16:creationId xmlns:a16="http://schemas.microsoft.com/office/drawing/2014/main" id="{5E8B5FE5-FAF9-4831-92A3-85C56F6B10BA}"/>
                </a:ext>
              </a:extLst>
            </p:cNvPr>
            <p:cNvSpPr>
              <a:spLocks/>
            </p:cNvSpPr>
            <p:nvPr/>
          </p:nvSpPr>
          <p:spPr bwMode="auto">
            <a:xfrm>
              <a:off x="4752" y="3283"/>
              <a:ext cx="14" cy="24"/>
            </a:xfrm>
            <a:custGeom>
              <a:avLst/>
              <a:gdLst>
                <a:gd name="T0" fmla="*/ 0 w 14"/>
                <a:gd name="T1" fmla="*/ 14 h 24"/>
                <a:gd name="T2" fmla="*/ 0 w 14"/>
                <a:gd name="T3" fmla="*/ 14 h 24"/>
                <a:gd name="T4" fmla="*/ 3 w 14"/>
                <a:gd name="T5" fmla="*/ 10 h 24"/>
                <a:gd name="T6" fmla="*/ 13 w 14"/>
                <a:gd name="T7" fmla="*/ 0 h 24"/>
                <a:gd name="T8" fmla="*/ 9 w 14"/>
                <a:gd name="T9" fmla="*/ 23 h 24"/>
                <a:gd name="T10" fmla="*/ 0 w 14"/>
                <a:gd name="T11" fmla="*/ 14 h 24"/>
                <a:gd name="T12" fmla="*/ 0 w 14"/>
                <a:gd name="T13" fmla="*/ 14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0" y="14"/>
                  </a:moveTo>
                  <a:lnTo>
                    <a:pt x="0" y="14"/>
                  </a:lnTo>
                  <a:lnTo>
                    <a:pt x="3" y="10"/>
                  </a:lnTo>
                  <a:lnTo>
                    <a:pt x="13" y="0"/>
                  </a:lnTo>
                  <a:lnTo>
                    <a:pt x="9" y="23"/>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76" name="Freeform 673">
            <a:extLst>
              <a:ext uri="{FF2B5EF4-FFF2-40B4-BE49-F238E27FC236}">
                <a16:creationId xmlns:a16="http://schemas.microsoft.com/office/drawing/2014/main" id="{EF511045-E73B-4CFF-885B-23ECD1E8C178}"/>
              </a:ext>
            </a:extLst>
          </p:cNvPr>
          <p:cNvSpPr>
            <a:spLocks/>
          </p:cNvSpPr>
          <p:nvPr/>
        </p:nvSpPr>
        <p:spPr bwMode="auto">
          <a:xfrm>
            <a:off x="4480881" y="3865437"/>
            <a:ext cx="2559400" cy="831516"/>
          </a:xfrm>
          <a:custGeom>
            <a:avLst/>
            <a:gdLst>
              <a:gd name="T0" fmla="*/ 37309631 w 2232"/>
              <a:gd name="T1" fmla="*/ 710412683 h 748"/>
              <a:gd name="T2" fmla="*/ 66845385 w 2232"/>
              <a:gd name="T3" fmla="*/ 442943307 h 748"/>
              <a:gd name="T4" fmla="*/ 129026444 w 2232"/>
              <a:gd name="T5" fmla="*/ 374798509 h 748"/>
              <a:gd name="T6" fmla="*/ 167890879 w 2232"/>
              <a:gd name="T7" fmla="*/ 560493703 h 748"/>
              <a:gd name="T8" fmla="*/ 300026834 w 2232"/>
              <a:gd name="T9" fmla="*/ 560493703 h 748"/>
              <a:gd name="T10" fmla="*/ 421280687 w 2232"/>
              <a:gd name="T11" fmla="*/ 431017413 h 748"/>
              <a:gd name="T12" fmla="*/ 592281039 w 2232"/>
              <a:gd name="T13" fmla="*/ 420796150 h 748"/>
              <a:gd name="T14" fmla="*/ 879870995 w 2232"/>
              <a:gd name="T15" fmla="*/ 419092823 h 748"/>
              <a:gd name="T16" fmla="*/ 881425770 w 2232"/>
              <a:gd name="T17" fmla="*/ 270877252 h 748"/>
              <a:gd name="T18" fmla="*/ 990243836 w 2232"/>
              <a:gd name="T19" fmla="*/ 408870255 h 748"/>
              <a:gd name="T20" fmla="*/ 1008898646 w 2232"/>
              <a:gd name="T21" fmla="*/ 398648993 h 748"/>
              <a:gd name="T22" fmla="*/ 1089734496 w 2232"/>
              <a:gd name="T23" fmla="*/ 417389497 h 748"/>
              <a:gd name="T24" fmla="*/ 1035326087 w 2232"/>
              <a:gd name="T25" fmla="*/ 238507527 h 748"/>
              <a:gd name="T26" fmla="*/ 1094397576 w 2232"/>
              <a:gd name="T27" fmla="*/ 247026768 h 748"/>
              <a:gd name="T28" fmla="*/ 1139479826 w 2232"/>
              <a:gd name="T29" fmla="*/ 195917844 h 748"/>
              <a:gd name="T30" fmla="*/ 1400642498 w 2232"/>
              <a:gd name="T31" fmla="*/ 78367386 h 748"/>
              <a:gd name="T32" fmla="*/ 1576305929 w 2232"/>
              <a:gd name="T33" fmla="*/ 56220229 h 748"/>
              <a:gd name="T34" fmla="*/ 1786169430 w 2232"/>
              <a:gd name="T35" fmla="*/ 47700987 h 748"/>
              <a:gd name="T36" fmla="*/ 1699115726 w 2232"/>
              <a:gd name="T37" fmla="*/ 223174980 h 748"/>
              <a:gd name="T38" fmla="*/ 1835914761 w 2232"/>
              <a:gd name="T39" fmla="*/ 209545759 h 748"/>
              <a:gd name="T40" fmla="*/ 2044223487 w 2232"/>
              <a:gd name="T41" fmla="*/ 218065001 h 748"/>
              <a:gd name="T42" fmla="*/ 2147483647 w 2232"/>
              <a:gd name="T43" fmla="*/ 284506472 h 748"/>
              <a:gd name="T44" fmla="*/ 2147483647 w 2232"/>
              <a:gd name="T45" fmla="*/ 267469294 h 748"/>
              <a:gd name="T46" fmla="*/ 2147483647 w 2232"/>
              <a:gd name="T47" fmla="*/ 371390551 h 748"/>
              <a:gd name="T48" fmla="*/ 2147483647 w 2232"/>
              <a:gd name="T49" fmla="*/ 361169288 h 748"/>
              <a:gd name="T50" fmla="*/ 2147483647 w 2232"/>
              <a:gd name="T51" fmla="*/ 459979180 h 748"/>
              <a:gd name="T52" fmla="*/ 2147483647 w 2232"/>
              <a:gd name="T53" fmla="*/ 562197029 h 748"/>
              <a:gd name="T54" fmla="*/ 2147483647 w 2232"/>
              <a:gd name="T55" fmla="*/ 492348905 h 748"/>
              <a:gd name="T56" fmla="*/ 2147483647 w 2232"/>
              <a:gd name="T57" fmla="*/ 613305954 h 748"/>
              <a:gd name="T58" fmla="*/ 2147483647 w 2232"/>
              <a:gd name="T59" fmla="*/ 725746535 h 748"/>
              <a:gd name="T60" fmla="*/ 2147483647 w 2232"/>
              <a:gd name="T61" fmla="*/ 850110236 h 748"/>
              <a:gd name="T62" fmla="*/ 2147483647 w 2232"/>
              <a:gd name="T63" fmla="*/ 982994484 h 748"/>
              <a:gd name="T64" fmla="*/ 2147483647 w 2232"/>
              <a:gd name="T65" fmla="*/ 689970157 h 748"/>
              <a:gd name="T66" fmla="*/ 2147483647 w 2232"/>
              <a:gd name="T67" fmla="*/ 662711553 h 748"/>
              <a:gd name="T68" fmla="*/ 2147483647 w 2232"/>
              <a:gd name="T69" fmla="*/ 747893692 h 748"/>
              <a:gd name="T70" fmla="*/ 2147483647 w 2232"/>
              <a:gd name="T71" fmla="*/ 919959665 h 748"/>
              <a:gd name="T72" fmla="*/ 2147483647 w 2232"/>
              <a:gd name="T73" fmla="*/ 974475243 h 748"/>
              <a:gd name="T74" fmla="*/ 2147483647 w 2232"/>
              <a:gd name="T75" fmla="*/ 1257278307 h 748"/>
              <a:gd name="T76" fmla="*/ 2135941517 w 2232"/>
              <a:gd name="T77" fmla="*/ 1051139282 h 748"/>
              <a:gd name="T78" fmla="*/ 1898097047 w 2232"/>
              <a:gd name="T79" fmla="*/ 1042621346 h 748"/>
              <a:gd name="T80" fmla="*/ 1507907035 w 2232"/>
              <a:gd name="T81" fmla="*/ 998327031 h 748"/>
              <a:gd name="T82" fmla="*/ 1147252456 w 2232"/>
              <a:gd name="T83" fmla="*/ 1042621346 h 748"/>
              <a:gd name="T84" fmla="*/ 1016671276 w 2232"/>
              <a:gd name="T85" fmla="*/ 1001733684 h 748"/>
              <a:gd name="T86" fmla="*/ 778825559 w 2232"/>
              <a:gd name="T87" fmla="*/ 877368677 h 748"/>
              <a:gd name="T88" fmla="*/ 620262008 w 2232"/>
              <a:gd name="T89" fmla="*/ 916553013 h 748"/>
              <a:gd name="T90" fmla="*/ 645134673 w 2232"/>
              <a:gd name="T91" fmla="*/ 1001733684 h 748"/>
              <a:gd name="T92" fmla="*/ 553416642 w 2232"/>
              <a:gd name="T93" fmla="*/ 993215747 h 748"/>
              <a:gd name="T94" fmla="*/ 415062832 w 2232"/>
              <a:gd name="T95" fmla="*/ 1013659578 h 748"/>
              <a:gd name="T96" fmla="*/ 401072348 w 2232"/>
              <a:gd name="T97" fmla="*/ 1097136923 h 748"/>
              <a:gd name="T98" fmla="*/ 452372453 w 2232"/>
              <a:gd name="T99" fmla="*/ 1161875068 h 748"/>
              <a:gd name="T100" fmla="*/ 411953282 w 2232"/>
              <a:gd name="T101" fmla="*/ 1253870349 h 748"/>
              <a:gd name="T102" fmla="*/ 290699429 w 2232"/>
              <a:gd name="T103" fmla="*/ 1206169383 h 748"/>
              <a:gd name="T104" fmla="*/ 272044619 w 2232"/>
              <a:gd name="T105" fmla="*/ 1092025639 h 748"/>
              <a:gd name="T106" fmla="*/ 138353849 w 2232"/>
              <a:gd name="T107" fmla="*/ 1000030358 h 748"/>
              <a:gd name="T108" fmla="*/ 93272845 w 2232"/>
              <a:gd name="T109" fmla="*/ 954032717 h 748"/>
              <a:gd name="T110" fmla="*/ 6217857 w 2232"/>
              <a:gd name="T111" fmla="*/ 880776635 h 7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32"/>
              <a:gd name="T169" fmla="*/ 0 h 748"/>
              <a:gd name="T170" fmla="*/ 2232 w 2232"/>
              <a:gd name="T171" fmla="*/ 748 h 74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32" h="748">
                <a:moveTo>
                  <a:pt x="8" y="492"/>
                </a:moveTo>
                <a:lnTo>
                  <a:pt x="13" y="474"/>
                </a:lnTo>
                <a:lnTo>
                  <a:pt x="22" y="458"/>
                </a:lnTo>
                <a:lnTo>
                  <a:pt x="15" y="439"/>
                </a:lnTo>
                <a:lnTo>
                  <a:pt x="15" y="428"/>
                </a:lnTo>
                <a:lnTo>
                  <a:pt x="46" y="423"/>
                </a:lnTo>
                <a:lnTo>
                  <a:pt x="24" y="417"/>
                </a:lnTo>
                <a:lnTo>
                  <a:pt x="25" y="409"/>
                </a:lnTo>
                <a:lnTo>
                  <a:pt x="11" y="411"/>
                </a:lnTo>
                <a:lnTo>
                  <a:pt x="63" y="367"/>
                </a:lnTo>
                <a:lnTo>
                  <a:pt x="40" y="321"/>
                </a:lnTo>
                <a:lnTo>
                  <a:pt x="46" y="299"/>
                </a:lnTo>
                <a:lnTo>
                  <a:pt x="32" y="274"/>
                </a:lnTo>
                <a:lnTo>
                  <a:pt x="43" y="260"/>
                </a:lnTo>
                <a:lnTo>
                  <a:pt x="24" y="241"/>
                </a:lnTo>
                <a:lnTo>
                  <a:pt x="29" y="225"/>
                </a:lnTo>
                <a:lnTo>
                  <a:pt x="55" y="207"/>
                </a:lnTo>
                <a:lnTo>
                  <a:pt x="69" y="205"/>
                </a:lnTo>
                <a:lnTo>
                  <a:pt x="86" y="209"/>
                </a:lnTo>
                <a:lnTo>
                  <a:pt x="71" y="213"/>
                </a:lnTo>
                <a:lnTo>
                  <a:pt x="83" y="220"/>
                </a:lnTo>
                <a:lnTo>
                  <a:pt x="123" y="222"/>
                </a:lnTo>
                <a:lnTo>
                  <a:pt x="195" y="259"/>
                </a:lnTo>
                <a:lnTo>
                  <a:pt x="196" y="277"/>
                </a:lnTo>
                <a:lnTo>
                  <a:pt x="166" y="294"/>
                </a:lnTo>
                <a:lnTo>
                  <a:pt x="69" y="271"/>
                </a:lnTo>
                <a:lnTo>
                  <a:pt x="109" y="298"/>
                </a:lnTo>
                <a:lnTo>
                  <a:pt x="108" y="329"/>
                </a:lnTo>
                <a:lnTo>
                  <a:pt x="146" y="344"/>
                </a:lnTo>
                <a:lnTo>
                  <a:pt x="157" y="342"/>
                </a:lnTo>
                <a:lnTo>
                  <a:pt x="151" y="329"/>
                </a:lnTo>
                <a:lnTo>
                  <a:pt x="133" y="324"/>
                </a:lnTo>
                <a:lnTo>
                  <a:pt x="138" y="313"/>
                </a:lnTo>
                <a:lnTo>
                  <a:pt x="155" y="325"/>
                </a:lnTo>
                <a:lnTo>
                  <a:pt x="193" y="329"/>
                </a:lnTo>
                <a:lnTo>
                  <a:pt x="177" y="304"/>
                </a:lnTo>
                <a:lnTo>
                  <a:pt x="212" y="284"/>
                </a:lnTo>
                <a:lnTo>
                  <a:pt x="237" y="298"/>
                </a:lnTo>
                <a:lnTo>
                  <a:pt x="236" y="243"/>
                </a:lnTo>
                <a:lnTo>
                  <a:pt x="226" y="234"/>
                </a:lnTo>
                <a:lnTo>
                  <a:pt x="268" y="247"/>
                </a:lnTo>
                <a:lnTo>
                  <a:pt x="271" y="253"/>
                </a:lnTo>
                <a:lnTo>
                  <a:pt x="248" y="263"/>
                </a:lnTo>
                <a:lnTo>
                  <a:pt x="271" y="281"/>
                </a:lnTo>
                <a:lnTo>
                  <a:pt x="290" y="260"/>
                </a:lnTo>
                <a:lnTo>
                  <a:pt x="368" y="227"/>
                </a:lnTo>
                <a:lnTo>
                  <a:pt x="380" y="226"/>
                </a:lnTo>
                <a:lnTo>
                  <a:pt x="368" y="231"/>
                </a:lnTo>
                <a:lnTo>
                  <a:pt x="381" y="247"/>
                </a:lnTo>
                <a:lnTo>
                  <a:pt x="438" y="226"/>
                </a:lnTo>
                <a:lnTo>
                  <a:pt x="451" y="241"/>
                </a:lnTo>
                <a:lnTo>
                  <a:pt x="464" y="230"/>
                </a:lnTo>
                <a:lnTo>
                  <a:pt x="457" y="212"/>
                </a:lnTo>
                <a:lnTo>
                  <a:pt x="465" y="206"/>
                </a:lnTo>
                <a:lnTo>
                  <a:pt x="509" y="215"/>
                </a:lnTo>
                <a:lnTo>
                  <a:pt x="566" y="246"/>
                </a:lnTo>
                <a:lnTo>
                  <a:pt x="577" y="231"/>
                </a:lnTo>
                <a:lnTo>
                  <a:pt x="565" y="215"/>
                </a:lnTo>
                <a:lnTo>
                  <a:pt x="547" y="211"/>
                </a:lnTo>
                <a:lnTo>
                  <a:pt x="554" y="186"/>
                </a:lnTo>
                <a:lnTo>
                  <a:pt x="542" y="183"/>
                </a:lnTo>
                <a:lnTo>
                  <a:pt x="546" y="171"/>
                </a:lnTo>
                <a:lnTo>
                  <a:pt x="567" y="159"/>
                </a:lnTo>
                <a:lnTo>
                  <a:pt x="581" y="129"/>
                </a:lnTo>
                <a:lnTo>
                  <a:pt x="610" y="130"/>
                </a:lnTo>
                <a:lnTo>
                  <a:pt x="625" y="134"/>
                </a:lnTo>
                <a:lnTo>
                  <a:pt x="614" y="166"/>
                </a:lnTo>
                <a:lnTo>
                  <a:pt x="626" y="181"/>
                </a:lnTo>
                <a:lnTo>
                  <a:pt x="622" y="225"/>
                </a:lnTo>
                <a:lnTo>
                  <a:pt x="637" y="240"/>
                </a:lnTo>
                <a:lnTo>
                  <a:pt x="631" y="256"/>
                </a:lnTo>
                <a:lnTo>
                  <a:pt x="609" y="268"/>
                </a:lnTo>
                <a:lnTo>
                  <a:pt x="616" y="274"/>
                </a:lnTo>
                <a:lnTo>
                  <a:pt x="586" y="280"/>
                </a:lnTo>
                <a:lnTo>
                  <a:pt x="618" y="291"/>
                </a:lnTo>
                <a:lnTo>
                  <a:pt x="653" y="256"/>
                </a:lnTo>
                <a:lnTo>
                  <a:pt x="649" y="234"/>
                </a:lnTo>
                <a:lnTo>
                  <a:pt x="661" y="231"/>
                </a:lnTo>
                <a:lnTo>
                  <a:pt x="680" y="227"/>
                </a:lnTo>
                <a:lnTo>
                  <a:pt x="689" y="239"/>
                </a:lnTo>
                <a:lnTo>
                  <a:pt x="688" y="256"/>
                </a:lnTo>
                <a:lnTo>
                  <a:pt x="711" y="261"/>
                </a:lnTo>
                <a:lnTo>
                  <a:pt x="693" y="255"/>
                </a:lnTo>
                <a:lnTo>
                  <a:pt x="701" y="245"/>
                </a:lnTo>
                <a:lnTo>
                  <a:pt x="694" y="231"/>
                </a:lnTo>
                <a:lnTo>
                  <a:pt x="641" y="221"/>
                </a:lnTo>
                <a:lnTo>
                  <a:pt x="649" y="187"/>
                </a:lnTo>
                <a:lnTo>
                  <a:pt x="631" y="166"/>
                </a:lnTo>
                <a:lnTo>
                  <a:pt x="657" y="146"/>
                </a:lnTo>
                <a:lnTo>
                  <a:pt x="654" y="132"/>
                </a:lnTo>
                <a:lnTo>
                  <a:pt x="666" y="140"/>
                </a:lnTo>
                <a:lnTo>
                  <a:pt x="660" y="167"/>
                </a:lnTo>
                <a:lnTo>
                  <a:pt x="668" y="171"/>
                </a:lnTo>
                <a:lnTo>
                  <a:pt x="704" y="180"/>
                </a:lnTo>
                <a:lnTo>
                  <a:pt x="672" y="157"/>
                </a:lnTo>
                <a:lnTo>
                  <a:pt x="696" y="158"/>
                </a:lnTo>
                <a:lnTo>
                  <a:pt x="691" y="149"/>
                </a:lnTo>
                <a:lnTo>
                  <a:pt x="704" y="145"/>
                </a:lnTo>
                <a:lnTo>
                  <a:pt x="770" y="162"/>
                </a:lnTo>
                <a:lnTo>
                  <a:pt x="757" y="174"/>
                </a:lnTo>
                <a:lnTo>
                  <a:pt x="756" y="192"/>
                </a:lnTo>
                <a:lnTo>
                  <a:pt x="769" y="202"/>
                </a:lnTo>
                <a:lnTo>
                  <a:pt x="776" y="162"/>
                </a:lnTo>
                <a:lnTo>
                  <a:pt x="740" y="142"/>
                </a:lnTo>
                <a:lnTo>
                  <a:pt x="733" y="115"/>
                </a:lnTo>
                <a:lnTo>
                  <a:pt x="816" y="105"/>
                </a:lnTo>
                <a:lnTo>
                  <a:pt x="806" y="79"/>
                </a:lnTo>
                <a:lnTo>
                  <a:pt x="816" y="85"/>
                </a:lnTo>
                <a:lnTo>
                  <a:pt x="830" y="75"/>
                </a:lnTo>
                <a:lnTo>
                  <a:pt x="820" y="72"/>
                </a:lnTo>
                <a:lnTo>
                  <a:pt x="908" y="51"/>
                </a:lnTo>
                <a:lnTo>
                  <a:pt x="901" y="46"/>
                </a:lnTo>
                <a:lnTo>
                  <a:pt x="941" y="43"/>
                </a:lnTo>
                <a:lnTo>
                  <a:pt x="941" y="50"/>
                </a:lnTo>
                <a:lnTo>
                  <a:pt x="951" y="50"/>
                </a:lnTo>
                <a:lnTo>
                  <a:pt x="980" y="41"/>
                </a:lnTo>
                <a:lnTo>
                  <a:pt x="994" y="46"/>
                </a:lnTo>
                <a:lnTo>
                  <a:pt x="981" y="35"/>
                </a:lnTo>
                <a:lnTo>
                  <a:pt x="1014" y="33"/>
                </a:lnTo>
                <a:lnTo>
                  <a:pt x="1015" y="19"/>
                </a:lnTo>
                <a:lnTo>
                  <a:pt x="1054" y="0"/>
                </a:lnTo>
                <a:lnTo>
                  <a:pt x="1081" y="11"/>
                </a:lnTo>
                <a:lnTo>
                  <a:pt x="1058" y="21"/>
                </a:lnTo>
                <a:lnTo>
                  <a:pt x="1098" y="20"/>
                </a:lnTo>
                <a:lnTo>
                  <a:pt x="1082" y="35"/>
                </a:lnTo>
                <a:lnTo>
                  <a:pt x="1149" y="28"/>
                </a:lnTo>
                <a:lnTo>
                  <a:pt x="1186" y="50"/>
                </a:lnTo>
                <a:lnTo>
                  <a:pt x="1181" y="59"/>
                </a:lnTo>
                <a:lnTo>
                  <a:pt x="1168" y="54"/>
                </a:lnTo>
                <a:lnTo>
                  <a:pt x="1185" y="61"/>
                </a:lnTo>
                <a:lnTo>
                  <a:pt x="1177" y="74"/>
                </a:lnTo>
                <a:lnTo>
                  <a:pt x="1054" y="139"/>
                </a:lnTo>
                <a:lnTo>
                  <a:pt x="1093" y="131"/>
                </a:lnTo>
                <a:lnTo>
                  <a:pt x="1085" y="123"/>
                </a:lnTo>
                <a:lnTo>
                  <a:pt x="1147" y="110"/>
                </a:lnTo>
                <a:lnTo>
                  <a:pt x="1130" y="113"/>
                </a:lnTo>
                <a:lnTo>
                  <a:pt x="1134" y="101"/>
                </a:lnTo>
                <a:lnTo>
                  <a:pt x="1168" y="110"/>
                </a:lnTo>
                <a:lnTo>
                  <a:pt x="1174" y="101"/>
                </a:lnTo>
                <a:lnTo>
                  <a:pt x="1181" y="123"/>
                </a:lnTo>
                <a:lnTo>
                  <a:pt x="1198" y="124"/>
                </a:lnTo>
                <a:lnTo>
                  <a:pt x="1183" y="115"/>
                </a:lnTo>
                <a:lnTo>
                  <a:pt x="1215" y="110"/>
                </a:lnTo>
                <a:lnTo>
                  <a:pt x="1255" y="115"/>
                </a:lnTo>
                <a:lnTo>
                  <a:pt x="1251" y="123"/>
                </a:lnTo>
                <a:lnTo>
                  <a:pt x="1285" y="129"/>
                </a:lnTo>
                <a:lnTo>
                  <a:pt x="1315" y="128"/>
                </a:lnTo>
                <a:lnTo>
                  <a:pt x="1316" y="108"/>
                </a:lnTo>
                <a:lnTo>
                  <a:pt x="1325" y="105"/>
                </a:lnTo>
                <a:lnTo>
                  <a:pt x="1401" y="128"/>
                </a:lnTo>
                <a:lnTo>
                  <a:pt x="1390" y="162"/>
                </a:lnTo>
                <a:lnTo>
                  <a:pt x="1426" y="186"/>
                </a:lnTo>
                <a:lnTo>
                  <a:pt x="1445" y="153"/>
                </a:lnTo>
                <a:lnTo>
                  <a:pt x="1458" y="167"/>
                </a:lnTo>
                <a:lnTo>
                  <a:pt x="1483" y="162"/>
                </a:lnTo>
                <a:lnTo>
                  <a:pt x="1517" y="174"/>
                </a:lnTo>
                <a:lnTo>
                  <a:pt x="1544" y="167"/>
                </a:lnTo>
                <a:lnTo>
                  <a:pt x="1541" y="153"/>
                </a:lnTo>
                <a:lnTo>
                  <a:pt x="1560" y="132"/>
                </a:lnTo>
                <a:lnTo>
                  <a:pt x="1674" y="147"/>
                </a:lnTo>
                <a:lnTo>
                  <a:pt x="1681" y="157"/>
                </a:lnTo>
                <a:lnTo>
                  <a:pt x="1667" y="162"/>
                </a:lnTo>
                <a:lnTo>
                  <a:pt x="1703" y="167"/>
                </a:lnTo>
                <a:lnTo>
                  <a:pt x="1717" y="183"/>
                </a:lnTo>
                <a:lnTo>
                  <a:pt x="1802" y="180"/>
                </a:lnTo>
                <a:lnTo>
                  <a:pt x="1818" y="192"/>
                </a:lnTo>
                <a:lnTo>
                  <a:pt x="1812" y="207"/>
                </a:lnTo>
                <a:lnTo>
                  <a:pt x="1837" y="218"/>
                </a:lnTo>
                <a:lnTo>
                  <a:pt x="1850" y="209"/>
                </a:lnTo>
                <a:lnTo>
                  <a:pt x="1910" y="216"/>
                </a:lnTo>
                <a:lnTo>
                  <a:pt x="1923" y="207"/>
                </a:lnTo>
                <a:lnTo>
                  <a:pt x="1930" y="221"/>
                </a:lnTo>
                <a:lnTo>
                  <a:pt x="1955" y="232"/>
                </a:lnTo>
                <a:lnTo>
                  <a:pt x="1967" y="224"/>
                </a:lnTo>
                <a:lnTo>
                  <a:pt x="1955" y="212"/>
                </a:lnTo>
                <a:lnTo>
                  <a:pt x="1962" y="202"/>
                </a:lnTo>
                <a:lnTo>
                  <a:pt x="2068" y="217"/>
                </a:lnTo>
                <a:lnTo>
                  <a:pt x="2138" y="257"/>
                </a:lnTo>
                <a:lnTo>
                  <a:pt x="2153" y="257"/>
                </a:lnTo>
                <a:lnTo>
                  <a:pt x="2171" y="289"/>
                </a:lnTo>
                <a:lnTo>
                  <a:pt x="2164" y="271"/>
                </a:lnTo>
                <a:lnTo>
                  <a:pt x="2175" y="270"/>
                </a:lnTo>
                <a:lnTo>
                  <a:pt x="2182" y="276"/>
                </a:lnTo>
                <a:lnTo>
                  <a:pt x="2202" y="274"/>
                </a:lnTo>
                <a:lnTo>
                  <a:pt x="2231" y="293"/>
                </a:lnTo>
                <a:lnTo>
                  <a:pt x="2190" y="313"/>
                </a:lnTo>
                <a:lnTo>
                  <a:pt x="2198" y="319"/>
                </a:lnTo>
                <a:lnTo>
                  <a:pt x="2184" y="322"/>
                </a:lnTo>
                <a:lnTo>
                  <a:pt x="2196" y="330"/>
                </a:lnTo>
                <a:lnTo>
                  <a:pt x="2171" y="330"/>
                </a:lnTo>
                <a:lnTo>
                  <a:pt x="2163" y="319"/>
                </a:lnTo>
                <a:lnTo>
                  <a:pt x="2153" y="323"/>
                </a:lnTo>
                <a:lnTo>
                  <a:pt x="2138" y="304"/>
                </a:lnTo>
                <a:lnTo>
                  <a:pt x="2110" y="305"/>
                </a:lnTo>
                <a:lnTo>
                  <a:pt x="2103" y="294"/>
                </a:lnTo>
                <a:lnTo>
                  <a:pt x="2110" y="289"/>
                </a:lnTo>
                <a:lnTo>
                  <a:pt x="2099" y="289"/>
                </a:lnTo>
                <a:lnTo>
                  <a:pt x="2090" y="293"/>
                </a:lnTo>
                <a:lnTo>
                  <a:pt x="2100" y="306"/>
                </a:lnTo>
                <a:lnTo>
                  <a:pt x="2094" y="313"/>
                </a:lnTo>
                <a:lnTo>
                  <a:pt x="2071" y="326"/>
                </a:lnTo>
                <a:lnTo>
                  <a:pt x="2055" y="324"/>
                </a:lnTo>
                <a:lnTo>
                  <a:pt x="2081" y="360"/>
                </a:lnTo>
                <a:lnTo>
                  <a:pt x="2077" y="374"/>
                </a:lnTo>
                <a:lnTo>
                  <a:pt x="2050" y="364"/>
                </a:lnTo>
                <a:lnTo>
                  <a:pt x="2051" y="370"/>
                </a:lnTo>
                <a:lnTo>
                  <a:pt x="2002" y="388"/>
                </a:lnTo>
                <a:lnTo>
                  <a:pt x="1958" y="425"/>
                </a:lnTo>
                <a:lnTo>
                  <a:pt x="1928" y="411"/>
                </a:lnTo>
                <a:lnTo>
                  <a:pt x="1900" y="426"/>
                </a:lnTo>
                <a:lnTo>
                  <a:pt x="1900" y="412"/>
                </a:lnTo>
                <a:lnTo>
                  <a:pt x="1885" y="427"/>
                </a:lnTo>
                <a:lnTo>
                  <a:pt x="1865" y="425"/>
                </a:lnTo>
                <a:lnTo>
                  <a:pt x="1845" y="461"/>
                </a:lnTo>
                <a:lnTo>
                  <a:pt x="1861" y="469"/>
                </a:lnTo>
                <a:lnTo>
                  <a:pt x="1854" y="480"/>
                </a:lnTo>
                <a:lnTo>
                  <a:pt x="1862" y="499"/>
                </a:lnTo>
                <a:lnTo>
                  <a:pt x="1848" y="496"/>
                </a:lnTo>
                <a:lnTo>
                  <a:pt x="1840" y="512"/>
                </a:lnTo>
                <a:lnTo>
                  <a:pt x="1845" y="526"/>
                </a:lnTo>
                <a:lnTo>
                  <a:pt x="1815" y="539"/>
                </a:lnTo>
                <a:lnTo>
                  <a:pt x="1818" y="555"/>
                </a:lnTo>
                <a:lnTo>
                  <a:pt x="1798" y="559"/>
                </a:lnTo>
                <a:lnTo>
                  <a:pt x="1792" y="577"/>
                </a:lnTo>
                <a:lnTo>
                  <a:pt x="1774" y="596"/>
                </a:lnTo>
                <a:lnTo>
                  <a:pt x="1759" y="526"/>
                </a:lnTo>
                <a:lnTo>
                  <a:pt x="1761" y="489"/>
                </a:lnTo>
                <a:lnTo>
                  <a:pt x="1774" y="466"/>
                </a:lnTo>
                <a:lnTo>
                  <a:pt x="1795" y="462"/>
                </a:lnTo>
                <a:lnTo>
                  <a:pt x="1843" y="415"/>
                </a:lnTo>
                <a:lnTo>
                  <a:pt x="1867" y="405"/>
                </a:lnTo>
                <a:lnTo>
                  <a:pt x="1874" y="378"/>
                </a:lnTo>
                <a:lnTo>
                  <a:pt x="1885" y="370"/>
                </a:lnTo>
                <a:lnTo>
                  <a:pt x="1866" y="370"/>
                </a:lnTo>
                <a:lnTo>
                  <a:pt x="1860" y="392"/>
                </a:lnTo>
                <a:lnTo>
                  <a:pt x="1819" y="411"/>
                </a:lnTo>
                <a:lnTo>
                  <a:pt x="1823" y="383"/>
                </a:lnTo>
                <a:lnTo>
                  <a:pt x="1779" y="389"/>
                </a:lnTo>
                <a:lnTo>
                  <a:pt x="1738" y="426"/>
                </a:lnTo>
                <a:lnTo>
                  <a:pt x="1746" y="441"/>
                </a:lnTo>
                <a:lnTo>
                  <a:pt x="1702" y="446"/>
                </a:lnTo>
                <a:lnTo>
                  <a:pt x="1696" y="442"/>
                </a:lnTo>
                <a:lnTo>
                  <a:pt x="1711" y="439"/>
                </a:lnTo>
                <a:lnTo>
                  <a:pt x="1674" y="430"/>
                </a:lnTo>
                <a:lnTo>
                  <a:pt x="1664" y="439"/>
                </a:lnTo>
                <a:lnTo>
                  <a:pt x="1580" y="440"/>
                </a:lnTo>
                <a:lnTo>
                  <a:pt x="1480" y="525"/>
                </a:lnTo>
                <a:lnTo>
                  <a:pt x="1500" y="529"/>
                </a:lnTo>
                <a:lnTo>
                  <a:pt x="1500" y="544"/>
                </a:lnTo>
                <a:lnTo>
                  <a:pt x="1512" y="534"/>
                </a:lnTo>
                <a:lnTo>
                  <a:pt x="1509" y="547"/>
                </a:lnTo>
                <a:lnTo>
                  <a:pt x="1524" y="540"/>
                </a:lnTo>
                <a:lnTo>
                  <a:pt x="1522" y="548"/>
                </a:lnTo>
                <a:lnTo>
                  <a:pt x="1527" y="534"/>
                </a:lnTo>
                <a:lnTo>
                  <a:pt x="1541" y="535"/>
                </a:lnTo>
                <a:lnTo>
                  <a:pt x="1563" y="553"/>
                </a:lnTo>
                <a:lnTo>
                  <a:pt x="1544" y="554"/>
                </a:lnTo>
                <a:lnTo>
                  <a:pt x="1561" y="560"/>
                </a:lnTo>
                <a:lnTo>
                  <a:pt x="1564" y="572"/>
                </a:lnTo>
                <a:lnTo>
                  <a:pt x="1551" y="599"/>
                </a:lnTo>
                <a:lnTo>
                  <a:pt x="1548" y="640"/>
                </a:lnTo>
                <a:lnTo>
                  <a:pt x="1478" y="725"/>
                </a:lnTo>
                <a:lnTo>
                  <a:pt x="1453" y="736"/>
                </a:lnTo>
                <a:lnTo>
                  <a:pt x="1434" y="725"/>
                </a:lnTo>
                <a:lnTo>
                  <a:pt x="1417" y="741"/>
                </a:lnTo>
                <a:lnTo>
                  <a:pt x="1416" y="738"/>
                </a:lnTo>
                <a:lnTo>
                  <a:pt x="1425" y="725"/>
                </a:lnTo>
                <a:lnTo>
                  <a:pt x="1421" y="703"/>
                </a:lnTo>
                <a:lnTo>
                  <a:pt x="1451" y="695"/>
                </a:lnTo>
                <a:lnTo>
                  <a:pt x="1474" y="638"/>
                </a:lnTo>
                <a:lnTo>
                  <a:pt x="1423" y="652"/>
                </a:lnTo>
                <a:lnTo>
                  <a:pt x="1416" y="630"/>
                </a:lnTo>
                <a:lnTo>
                  <a:pt x="1374" y="617"/>
                </a:lnTo>
                <a:lnTo>
                  <a:pt x="1349" y="559"/>
                </a:lnTo>
                <a:lnTo>
                  <a:pt x="1321" y="548"/>
                </a:lnTo>
                <a:lnTo>
                  <a:pt x="1272" y="564"/>
                </a:lnTo>
                <a:lnTo>
                  <a:pt x="1282" y="576"/>
                </a:lnTo>
                <a:lnTo>
                  <a:pt x="1261" y="611"/>
                </a:lnTo>
                <a:lnTo>
                  <a:pt x="1242" y="620"/>
                </a:lnTo>
                <a:lnTo>
                  <a:pt x="1221" y="612"/>
                </a:lnTo>
                <a:lnTo>
                  <a:pt x="1196" y="608"/>
                </a:lnTo>
                <a:lnTo>
                  <a:pt x="1131" y="624"/>
                </a:lnTo>
                <a:lnTo>
                  <a:pt x="1075" y="601"/>
                </a:lnTo>
                <a:lnTo>
                  <a:pt x="1038" y="604"/>
                </a:lnTo>
                <a:lnTo>
                  <a:pt x="1025" y="585"/>
                </a:lnTo>
                <a:lnTo>
                  <a:pt x="989" y="572"/>
                </a:lnTo>
                <a:lnTo>
                  <a:pt x="970" y="586"/>
                </a:lnTo>
                <a:lnTo>
                  <a:pt x="969" y="612"/>
                </a:lnTo>
                <a:lnTo>
                  <a:pt x="887" y="600"/>
                </a:lnTo>
                <a:lnTo>
                  <a:pt x="843" y="624"/>
                </a:lnTo>
                <a:lnTo>
                  <a:pt x="820" y="634"/>
                </a:lnTo>
                <a:lnTo>
                  <a:pt x="791" y="615"/>
                </a:lnTo>
                <a:lnTo>
                  <a:pt x="772" y="625"/>
                </a:lnTo>
                <a:lnTo>
                  <a:pt x="738" y="612"/>
                </a:lnTo>
                <a:lnTo>
                  <a:pt x="725" y="611"/>
                </a:lnTo>
                <a:lnTo>
                  <a:pt x="715" y="591"/>
                </a:lnTo>
                <a:lnTo>
                  <a:pt x="696" y="591"/>
                </a:lnTo>
                <a:lnTo>
                  <a:pt x="688" y="594"/>
                </a:lnTo>
                <a:lnTo>
                  <a:pt x="674" y="579"/>
                </a:lnTo>
                <a:lnTo>
                  <a:pt x="664" y="583"/>
                </a:lnTo>
                <a:lnTo>
                  <a:pt x="654" y="588"/>
                </a:lnTo>
                <a:lnTo>
                  <a:pt x="616" y="556"/>
                </a:lnTo>
                <a:lnTo>
                  <a:pt x="605" y="553"/>
                </a:lnTo>
                <a:lnTo>
                  <a:pt x="579" y="529"/>
                </a:lnTo>
                <a:lnTo>
                  <a:pt x="555" y="544"/>
                </a:lnTo>
                <a:lnTo>
                  <a:pt x="550" y="534"/>
                </a:lnTo>
                <a:lnTo>
                  <a:pt x="514" y="532"/>
                </a:lnTo>
                <a:lnTo>
                  <a:pt x="501" y="515"/>
                </a:lnTo>
                <a:lnTo>
                  <a:pt x="482" y="516"/>
                </a:lnTo>
                <a:lnTo>
                  <a:pt x="475" y="524"/>
                </a:lnTo>
                <a:lnTo>
                  <a:pt x="451" y="528"/>
                </a:lnTo>
                <a:lnTo>
                  <a:pt x="444" y="524"/>
                </a:lnTo>
                <a:lnTo>
                  <a:pt x="435" y="537"/>
                </a:lnTo>
                <a:lnTo>
                  <a:pt x="428" y="534"/>
                </a:lnTo>
                <a:lnTo>
                  <a:pt x="399" y="538"/>
                </a:lnTo>
                <a:lnTo>
                  <a:pt x="389" y="534"/>
                </a:lnTo>
                <a:lnTo>
                  <a:pt x="386" y="538"/>
                </a:lnTo>
                <a:lnTo>
                  <a:pt x="401" y="553"/>
                </a:lnTo>
                <a:lnTo>
                  <a:pt x="391" y="562"/>
                </a:lnTo>
                <a:lnTo>
                  <a:pt x="392" y="575"/>
                </a:lnTo>
                <a:lnTo>
                  <a:pt x="408" y="576"/>
                </a:lnTo>
                <a:lnTo>
                  <a:pt x="415" y="588"/>
                </a:lnTo>
                <a:lnTo>
                  <a:pt x="411" y="597"/>
                </a:lnTo>
                <a:lnTo>
                  <a:pt x="399" y="591"/>
                </a:lnTo>
                <a:lnTo>
                  <a:pt x="389" y="596"/>
                </a:lnTo>
                <a:lnTo>
                  <a:pt x="380" y="591"/>
                </a:lnTo>
                <a:lnTo>
                  <a:pt x="376" y="583"/>
                </a:lnTo>
                <a:lnTo>
                  <a:pt x="365" y="588"/>
                </a:lnTo>
                <a:lnTo>
                  <a:pt x="356" y="583"/>
                </a:lnTo>
                <a:lnTo>
                  <a:pt x="347" y="591"/>
                </a:lnTo>
                <a:lnTo>
                  <a:pt x="335" y="592"/>
                </a:lnTo>
                <a:lnTo>
                  <a:pt x="327" y="583"/>
                </a:lnTo>
                <a:lnTo>
                  <a:pt x="283" y="580"/>
                </a:lnTo>
                <a:lnTo>
                  <a:pt x="278" y="585"/>
                </a:lnTo>
                <a:lnTo>
                  <a:pt x="274" y="585"/>
                </a:lnTo>
                <a:lnTo>
                  <a:pt x="267" y="595"/>
                </a:lnTo>
                <a:lnTo>
                  <a:pt x="268" y="605"/>
                </a:lnTo>
                <a:lnTo>
                  <a:pt x="263" y="605"/>
                </a:lnTo>
                <a:lnTo>
                  <a:pt x="259" y="597"/>
                </a:lnTo>
                <a:lnTo>
                  <a:pt x="253" y="598"/>
                </a:lnTo>
                <a:lnTo>
                  <a:pt x="251" y="627"/>
                </a:lnTo>
                <a:lnTo>
                  <a:pt x="258" y="636"/>
                </a:lnTo>
                <a:lnTo>
                  <a:pt x="258" y="644"/>
                </a:lnTo>
                <a:lnTo>
                  <a:pt x="265" y="643"/>
                </a:lnTo>
                <a:lnTo>
                  <a:pt x="274" y="639"/>
                </a:lnTo>
                <a:lnTo>
                  <a:pt x="282" y="652"/>
                </a:lnTo>
                <a:lnTo>
                  <a:pt x="288" y="660"/>
                </a:lnTo>
                <a:lnTo>
                  <a:pt x="294" y="671"/>
                </a:lnTo>
                <a:lnTo>
                  <a:pt x="304" y="673"/>
                </a:lnTo>
                <a:lnTo>
                  <a:pt x="291" y="682"/>
                </a:lnTo>
                <a:lnTo>
                  <a:pt x="282" y="674"/>
                </a:lnTo>
                <a:lnTo>
                  <a:pt x="273" y="707"/>
                </a:lnTo>
                <a:lnTo>
                  <a:pt x="284" y="715"/>
                </a:lnTo>
                <a:lnTo>
                  <a:pt x="294" y="747"/>
                </a:lnTo>
                <a:lnTo>
                  <a:pt x="285" y="741"/>
                </a:lnTo>
                <a:lnTo>
                  <a:pt x="276" y="738"/>
                </a:lnTo>
                <a:lnTo>
                  <a:pt x="265" y="736"/>
                </a:lnTo>
                <a:lnTo>
                  <a:pt x="258" y="733"/>
                </a:lnTo>
                <a:lnTo>
                  <a:pt x="250" y="731"/>
                </a:lnTo>
                <a:lnTo>
                  <a:pt x="244" y="720"/>
                </a:lnTo>
                <a:lnTo>
                  <a:pt x="230" y="727"/>
                </a:lnTo>
                <a:lnTo>
                  <a:pt x="217" y="726"/>
                </a:lnTo>
                <a:lnTo>
                  <a:pt x="209" y="717"/>
                </a:lnTo>
                <a:lnTo>
                  <a:pt x="187" y="708"/>
                </a:lnTo>
                <a:lnTo>
                  <a:pt x="165" y="709"/>
                </a:lnTo>
                <a:lnTo>
                  <a:pt x="142" y="694"/>
                </a:lnTo>
                <a:lnTo>
                  <a:pt x="160" y="679"/>
                </a:lnTo>
                <a:lnTo>
                  <a:pt x="162" y="667"/>
                </a:lnTo>
                <a:lnTo>
                  <a:pt x="162" y="654"/>
                </a:lnTo>
                <a:lnTo>
                  <a:pt x="163" y="645"/>
                </a:lnTo>
                <a:lnTo>
                  <a:pt x="175" y="641"/>
                </a:lnTo>
                <a:lnTo>
                  <a:pt x="169" y="622"/>
                </a:lnTo>
                <a:lnTo>
                  <a:pt x="155" y="617"/>
                </a:lnTo>
                <a:lnTo>
                  <a:pt x="148" y="614"/>
                </a:lnTo>
                <a:lnTo>
                  <a:pt x="139" y="617"/>
                </a:lnTo>
                <a:lnTo>
                  <a:pt x="118" y="612"/>
                </a:lnTo>
                <a:lnTo>
                  <a:pt x="102" y="593"/>
                </a:lnTo>
                <a:lnTo>
                  <a:pt x="89" y="587"/>
                </a:lnTo>
                <a:lnTo>
                  <a:pt x="83" y="570"/>
                </a:lnTo>
                <a:lnTo>
                  <a:pt x="71" y="568"/>
                </a:lnTo>
                <a:lnTo>
                  <a:pt x="60" y="574"/>
                </a:lnTo>
                <a:lnTo>
                  <a:pt x="53" y="577"/>
                </a:lnTo>
                <a:lnTo>
                  <a:pt x="50" y="569"/>
                </a:lnTo>
                <a:lnTo>
                  <a:pt x="44" y="562"/>
                </a:lnTo>
                <a:lnTo>
                  <a:pt x="60" y="560"/>
                </a:lnTo>
                <a:lnTo>
                  <a:pt x="59" y="555"/>
                </a:lnTo>
                <a:lnTo>
                  <a:pt x="55" y="552"/>
                </a:lnTo>
                <a:lnTo>
                  <a:pt x="50" y="548"/>
                </a:lnTo>
                <a:lnTo>
                  <a:pt x="41" y="528"/>
                </a:lnTo>
                <a:lnTo>
                  <a:pt x="29" y="517"/>
                </a:lnTo>
                <a:lnTo>
                  <a:pt x="17" y="517"/>
                </a:lnTo>
                <a:lnTo>
                  <a:pt x="4" y="517"/>
                </a:lnTo>
                <a:lnTo>
                  <a:pt x="0" y="502"/>
                </a:lnTo>
                <a:lnTo>
                  <a:pt x="8" y="492"/>
                </a:lnTo>
              </a:path>
            </a:pathLst>
          </a:custGeom>
          <a:solidFill>
            <a:schemeClr val="accent6"/>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7" name="Freeform 674">
            <a:extLst>
              <a:ext uri="{FF2B5EF4-FFF2-40B4-BE49-F238E27FC236}">
                <a16:creationId xmlns:a16="http://schemas.microsoft.com/office/drawing/2014/main" id="{BF50E8F5-4960-4CF4-8383-AF42F855C8F0}"/>
              </a:ext>
            </a:extLst>
          </p:cNvPr>
          <p:cNvSpPr>
            <a:spLocks/>
          </p:cNvSpPr>
          <p:nvPr/>
        </p:nvSpPr>
        <p:spPr bwMode="auto">
          <a:xfrm>
            <a:off x="4791862" y="3755921"/>
            <a:ext cx="78840" cy="35154"/>
          </a:xfrm>
          <a:custGeom>
            <a:avLst/>
            <a:gdLst>
              <a:gd name="T0" fmla="*/ 0 w 69"/>
              <a:gd name="T1" fmla="*/ 37227388 h 31"/>
              <a:gd name="T2" fmla="*/ 0 w 69"/>
              <a:gd name="T3" fmla="*/ 37227388 h 31"/>
              <a:gd name="T4" fmla="*/ 21608912 w 69"/>
              <a:gd name="T5" fmla="*/ 24818262 h 31"/>
              <a:gd name="T6" fmla="*/ 6174684 w 69"/>
              <a:gd name="T7" fmla="*/ 15954786 h 31"/>
              <a:gd name="T8" fmla="*/ 80263432 w 69"/>
              <a:gd name="T9" fmla="*/ 0 h 31"/>
              <a:gd name="T10" fmla="*/ 94155865 w 69"/>
              <a:gd name="T11" fmla="*/ 1772162 h 31"/>
              <a:gd name="T12" fmla="*/ 78720382 w 69"/>
              <a:gd name="T13" fmla="*/ 14182624 h 31"/>
              <a:gd name="T14" fmla="*/ 104960937 w 69"/>
              <a:gd name="T15" fmla="*/ 14182624 h 31"/>
              <a:gd name="T16" fmla="*/ 37044375 w 69"/>
              <a:gd name="T17" fmla="*/ 42546536 h 31"/>
              <a:gd name="T18" fmla="*/ 21608912 w 69"/>
              <a:gd name="T19" fmla="*/ 53183511 h 31"/>
              <a:gd name="T20" fmla="*/ 24696253 w 69"/>
              <a:gd name="T21" fmla="*/ 39000881 h 31"/>
              <a:gd name="T22" fmla="*/ 0 w 69"/>
              <a:gd name="T23" fmla="*/ 37227388 h 31"/>
              <a:gd name="T24" fmla="*/ 0 w 69"/>
              <a:gd name="T25" fmla="*/ 37227388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9"/>
              <a:gd name="T40" fmla="*/ 0 h 31"/>
              <a:gd name="T41" fmla="*/ 69 w 6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9" h="31">
                <a:moveTo>
                  <a:pt x="0" y="21"/>
                </a:moveTo>
                <a:lnTo>
                  <a:pt x="0" y="21"/>
                </a:lnTo>
                <a:lnTo>
                  <a:pt x="14" y="14"/>
                </a:lnTo>
                <a:lnTo>
                  <a:pt x="4" y="9"/>
                </a:lnTo>
                <a:lnTo>
                  <a:pt x="52" y="0"/>
                </a:lnTo>
                <a:lnTo>
                  <a:pt x="61" y="1"/>
                </a:lnTo>
                <a:lnTo>
                  <a:pt x="51" y="8"/>
                </a:lnTo>
                <a:lnTo>
                  <a:pt x="68" y="8"/>
                </a:lnTo>
                <a:lnTo>
                  <a:pt x="24" y="24"/>
                </a:lnTo>
                <a:lnTo>
                  <a:pt x="14" y="30"/>
                </a:lnTo>
                <a:lnTo>
                  <a:pt x="16" y="22"/>
                </a:lnTo>
                <a:lnTo>
                  <a:pt x="0" y="21"/>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8" name="Freeform 675">
            <a:extLst>
              <a:ext uri="{FF2B5EF4-FFF2-40B4-BE49-F238E27FC236}">
                <a16:creationId xmlns:a16="http://schemas.microsoft.com/office/drawing/2014/main" id="{EA39EB43-A228-4F10-9D52-7DCE445E0176}"/>
              </a:ext>
            </a:extLst>
          </p:cNvPr>
          <p:cNvSpPr>
            <a:spLocks/>
          </p:cNvSpPr>
          <p:nvPr/>
        </p:nvSpPr>
        <p:spPr bwMode="auto">
          <a:xfrm>
            <a:off x="4815223" y="4106103"/>
            <a:ext cx="32120" cy="17577"/>
          </a:xfrm>
          <a:custGeom>
            <a:avLst/>
            <a:gdLst>
              <a:gd name="T0" fmla="*/ 0 w 28"/>
              <a:gd name="T1" fmla="*/ 24956500 h 16"/>
              <a:gd name="T2" fmla="*/ 0 w 28"/>
              <a:gd name="T3" fmla="*/ 24956500 h 16"/>
              <a:gd name="T4" fmla="*/ 12447022 w 28"/>
              <a:gd name="T5" fmla="*/ 0 h 16"/>
              <a:gd name="T6" fmla="*/ 42007299 w 28"/>
              <a:gd name="T7" fmla="*/ 13310219 h 16"/>
              <a:gd name="T8" fmla="*/ 0 w 28"/>
              <a:gd name="T9" fmla="*/ 24956500 h 16"/>
              <a:gd name="T10" fmla="*/ 0 w 28"/>
              <a:gd name="T11" fmla="*/ 24956500 h 16"/>
              <a:gd name="T12" fmla="*/ 0 60000 65536"/>
              <a:gd name="T13" fmla="*/ 0 60000 65536"/>
              <a:gd name="T14" fmla="*/ 0 60000 65536"/>
              <a:gd name="T15" fmla="*/ 0 60000 65536"/>
              <a:gd name="T16" fmla="*/ 0 60000 65536"/>
              <a:gd name="T17" fmla="*/ 0 60000 65536"/>
              <a:gd name="T18" fmla="*/ 0 w 28"/>
              <a:gd name="T19" fmla="*/ 0 h 16"/>
              <a:gd name="T20" fmla="*/ 28 w 2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8" h="16">
                <a:moveTo>
                  <a:pt x="0" y="15"/>
                </a:moveTo>
                <a:lnTo>
                  <a:pt x="0" y="15"/>
                </a:lnTo>
                <a:lnTo>
                  <a:pt x="8" y="0"/>
                </a:lnTo>
                <a:lnTo>
                  <a:pt x="27" y="8"/>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9" name="Freeform 676">
            <a:extLst>
              <a:ext uri="{FF2B5EF4-FFF2-40B4-BE49-F238E27FC236}">
                <a16:creationId xmlns:a16="http://schemas.microsoft.com/office/drawing/2014/main" id="{95BF0EB2-490C-4E4C-983D-DB8C80733A18}"/>
              </a:ext>
            </a:extLst>
          </p:cNvPr>
          <p:cNvSpPr>
            <a:spLocks/>
          </p:cNvSpPr>
          <p:nvPr/>
        </p:nvSpPr>
        <p:spPr bwMode="auto">
          <a:xfrm>
            <a:off x="4866324" y="4004699"/>
            <a:ext cx="97821" cy="67603"/>
          </a:xfrm>
          <a:custGeom>
            <a:avLst/>
            <a:gdLst>
              <a:gd name="T0" fmla="*/ 0 w 84"/>
              <a:gd name="T1" fmla="*/ 47622488 h 63"/>
              <a:gd name="T2" fmla="*/ 0 w 84"/>
              <a:gd name="T3" fmla="*/ 47622488 h 63"/>
              <a:gd name="T4" fmla="*/ 11222458 w 84"/>
              <a:gd name="T5" fmla="*/ 69846223 h 63"/>
              <a:gd name="T6" fmla="*/ 25652236 w 84"/>
              <a:gd name="T7" fmla="*/ 61908725 h 63"/>
              <a:gd name="T8" fmla="*/ 41686311 w 84"/>
              <a:gd name="T9" fmla="*/ 76194962 h 63"/>
              <a:gd name="T10" fmla="*/ 54511791 w 84"/>
              <a:gd name="T11" fmla="*/ 69846223 h 63"/>
              <a:gd name="T12" fmla="*/ 49702711 w 84"/>
              <a:gd name="T13" fmla="*/ 95243717 h 63"/>
              <a:gd name="T14" fmla="*/ 133074048 w 84"/>
              <a:gd name="T15" fmla="*/ 98418716 h 63"/>
              <a:gd name="T16" fmla="*/ 101007183 w 84"/>
              <a:gd name="T17" fmla="*/ 80957460 h 63"/>
              <a:gd name="T18" fmla="*/ 84974383 w 84"/>
              <a:gd name="T19" fmla="*/ 50796228 h 63"/>
              <a:gd name="T20" fmla="*/ 86578676 w 84"/>
              <a:gd name="T21" fmla="*/ 17461241 h 63"/>
              <a:gd name="T22" fmla="*/ 107420556 w 84"/>
              <a:gd name="T23" fmla="*/ 0 h 63"/>
              <a:gd name="T24" fmla="*/ 35272928 w 84"/>
              <a:gd name="T25" fmla="*/ 6350001 h 63"/>
              <a:gd name="T26" fmla="*/ 17635831 w 84"/>
              <a:gd name="T27" fmla="*/ 47622488 h 63"/>
              <a:gd name="T28" fmla="*/ 0 w 84"/>
              <a:gd name="T29" fmla="*/ 47622488 h 63"/>
              <a:gd name="T30" fmla="*/ 0 w 84"/>
              <a:gd name="T31" fmla="*/ 47622488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4"/>
              <a:gd name="T49" fmla="*/ 0 h 63"/>
              <a:gd name="T50" fmla="*/ 84 w 84"/>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4" h="63">
                <a:moveTo>
                  <a:pt x="0" y="30"/>
                </a:moveTo>
                <a:lnTo>
                  <a:pt x="0" y="30"/>
                </a:lnTo>
                <a:lnTo>
                  <a:pt x="7" y="44"/>
                </a:lnTo>
                <a:lnTo>
                  <a:pt x="16" y="39"/>
                </a:lnTo>
                <a:lnTo>
                  <a:pt x="26" y="48"/>
                </a:lnTo>
                <a:lnTo>
                  <a:pt x="34" y="44"/>
                </a:lnTo>
                <a:lnTo>
                  <a:pt x="31" y="60"/>
                </a:lnTo>
                <a:lnTo>
                  <a:pt x="83" y="62"/>
                </a:lnTo>
                <a:lnTo>
                  <a:pt x="63" y="51"/>
                </a:lnTo>
                <a:lnTo>
                  <a:pt x="53" y="32"/>
                </a:lnTo>
                <a:lnTo>
                  <a:pt x="54" y="11"/>
                </a:lnTo>
                <a:lnTo>
                  <a:pt x="67" y="0"/>
                </a:lnTo>
                <a:lnTo>
                  <a:pt x="22" y="4"/>
                </a:lnTo>
                <a:lnTo>
                  <a:pt x="11" y="30"/>
                </a:lnTo>
                <a:lnTo>
                  <a:pt x="0" y="3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0" name="Freeform 677">
            <a:extLst>
              <a:ext uri="{FF2B5EF4-FFF2-40B4-BE49-F238E27FC236}">
                <a16:creationId xmlns:a16="http://schemas.microsoft.com/office/drawing/2014/main" id="{407A864B-2946-4460-8D74-618B9CA860C4}"/>
              </a:ext>
            </a:extLst>
          </p:cNvPr>
          <p:cNvSpPr>
            <a:spLocks/>
          </p:cNvSpPr>
          <p:nvPr/>
        </p:nvSpPr>
        <p:spPr bwMode="auto">
          <a:xfrm>
            <a:off x="4901364" y="3888423"/>
            <a:ext cx="240902" cy="116277"/>
          </a:xfrm>
          <a:custGeom>
            <a:avLst/>
            <a:gdLst>
              <a:gd name="T0" fmla="*/ 0 w 211"/>
              <a:gd name="T1" fmla="*/ 154608593 h 103"/>
              <a:gd name="T2" fmla="*/ 0 w 211"/>
              <a:gd name="T3" fmla="*/ 154608593 h 103"/>
              <a:gd name="T4" fmla="*/ 30821668 w 211"/>
              <a:gd name="T5" fmla="*/ 158122454 h 103"/>
              <a:gd name="T6" fmla="*/ 10787834 w 211"/>
              <a:gd name="T7" fmla="*/ 173934207 h 103"/>
              <a:gd name="T8" fmla="*/ 64725751 w 211"/>
              <a:gd name="T9" fmla="*/ 179205661 h 103"/>
              <a:gd name="T10" fmla="*/ 66267578 w 211"/>
              <a:gd name="T11" fmla="*/ 158122454 h 103"/>
              <a:gd name="T12" fmla="*/ 81678427 w 211"/>
              <a:gd name="T13" fmla="*/ 163392583 h 103"/>
              <a:gd name="T14" fmla="*/ 66267578 w 211"/>
              <a:gd name="T15" fmla="*/ 151094733 h 103"/>
              <a:gd name="T16" fmla="*/ 87842014 w 211"/>
              <a:gd name="T17" fmla="*/ 154608593 h 103"/>
              <a:gd name="T18" fmla="*/ 81678427 w 211"/>
              <a:gd name="T19" fmla="*/ 131767835 h 103"/>
              <a:gd name="T20" fmla="*/ 94006842 w 211"/>
              <a:gd name="T21" fmla="*/ 145823279 h 103"/>
              <a:gd name="T22" fmla="*/ 107877085 w 211"/>
              <a:gd name="T23" fmla="*/ 133525428 h 103"/>
              <a:gd name="T24" fmla="*/ 98629843 w 211"/>
              <a:gd name="T25" fmla="*/ 117713717 h 103"/>
              <a:gd name="T26" fmla="*/ 130993329 w 211"/>
              <a:gd name="T27" fmla="*/ 119469985 h 103"/>
              <a:gd name="T28" fmla="*/ 123287914 w 211"/>
              <a:gd name="T29" fmla="*/ 110685996 h 103"/>
              <a:gd name="T30" fmla="*/ 137156916 w 211"/>
              <a:gd name="T31" fmla="*/ 114199856 h 103"/>
              <a:gd name="T32" fmla="*/ 146404158 w 211"/>
              <a:gd name="T33" fmla="*/ 94872959 h 103"/>
              <a:gd name="T34" fmla="*/ 306677318 w 211"/>
              <a:gd name="T35" fmla="*/ 38652480 h 103"/>
              <a:gd name="T36" fmla="*/ 323629975 w 211"/>
              <a:gd name="T37" fmla="*/ 15811716 h 103"/>
              <a:gd name="T38" fmla="*/ 292807075 w 211"/>
              <a:gd name="T39" fmla="*/ 0 h 103"/>
              <a:gd name="T40" fmla="*/ 225000171 w 211"/>
              <a:gd name="T41" fmla="*/ 36894887 h 103"/>
              <a:gd name="T42" fmla="*/ 154109573 w 211"/>
              <a:gd name="T43" fmla="*/ 36894887 h 103"/>
              <a:gd name="T44" fmla="*/ 80136580 w 211"/>
              <a:gd name="T45" fmla="*/ 84331356 h 103"/>
              <a:gd name="T46" fmla="*/ 40068911 w 211"/>
              <a:gd name="T47" fmla="*/ 91359098 h 103"/>
              <a:gd name="T48" fmla="*/ 41609507 w 211"/>
              <a:gd name="T49" fmla="*/ 110685996 h 103"/>
              <a:gd name="T50" fmla="*/ 63185164 w 211"/>
              <a:gd name="T51" fmla="*/ 114199856 h 103"/>
              <a:gd name="T52" fmla="*/ 38527083 w 211"/>
              <a:gd name="T53" fmla="*/ 114199856 h 103"/>
              <a:gd name="T54" fmla="*/ 49314921 w 211"/>
              <a:gd name="T55" fmla="*/ 122983846 h 103"/>
              <a:gd name="T56" fmla="*/ 30821668 w 211"/>
              <a:gd name="T57" fmla="*/ 133525428 h 103"/>
              <a:gd name="T58" fmla="*/ 52397336 w 211"/>
              <a:gd name="T59" fmla="*/ 142309418 h 103"/>
              <a:gd name="T60" fmla="*/ 0 w 211"/>
              <a:gd name="T61" fmla="*/ 154608593 h 103"/>
              <a:gd name="T62" fmla="*/ 0 w 211"/>
              <a:gd name="T63" fmla="*/ 154608593 h 1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1"/>
              <a:gd name="T97" fmla="*/ 0 h 103"/>
              <a:gd name="T98" fmla="*/ 211 w 211"/>
              <a:gd name="T99" fmla="*/ 103 h 10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1" h="103">
                <a:moveTo>
                  <a:pt x="0" y="88"/>
                </a:moveTo>
                <a:lnTo>
                  <a:pt x="0" y="88"/>
                </a:lnTo>
                <a:lnTo>
                  <a:pt x="20" y="90"/>
                </a:lnTo>
                <a:lnTo>
                  <a:pt x="7" y="99"/>
                </a:lnTo>
                <a:lnTo>
                  <a:pt x="42" y="102"/>
                </a:lnTo>
                <a:lnTo>
                  <a:pt x="43" y="90"/>
                </a:lnTo>
                <a:lnTo>
                  <a:pt x="53" y="93"/>
                </a:lnTo>
                <a:lnTo>
                  <a:pt x="43" y="86"/>
                </a:lnTo>
                <a:lnTo>
                  <a:pt x="57" y="88"/>
                </a:lnTo>
                <a:lnTo>
                  <a:pt x="53" y="75"/>
                </a:lnTo>
                <a:lnTo>
                  <a:pt x="61" y="83"/>
                </a:lnTo>
                <a:lnTo>
                  <a:pt x="70" y="76"/>
                </a:lnTo>
                <a:lnTo>
                  <a:pt x="64" y="67"/>
                </a:lnTo>
                <a:lnTo>
                  <a:pt x="85" y="68"/>
                </a:lnTo>
                <a:lnTo>
                  <a:pt x="80" y="63"/>
                </a:lnTo>
                <a:lnTo>
                  <a:pt x="89" y="65"/>
                </a:lnTo>
                <a:lnTo>
                  <a:pt x="95" y="54"/>
                </a:lnTo>
                <a:lnTo>
                  <a:pt x="199" y="22"/>
                </a:lnTo>
                <a:lnTo>
                  <a:pt x="210" y="9"/>
                </a:lnTo>
                <a:lnTo>
                  <a:pt x="190" y="0"/>
                </a:lnTo>
                <a:lnTo>
                  <a:pt x="146" y="21"/>
                </a:lnTo>
                <a:lnTo>
                  <a:pt x="100" y="21"/>
                </a:lnTo>
                <a:lnTo>
                  <a:pt x="52" y="48"/>
                </a:lnTo>
                <a:lnTo>
                  <a:pt x="26" y="52"/>
                </a:lnTo>
                <a:lnTo>
                  <a:pt x="27" y="63"/>
                </a:lnTo>
                <a:lnTo>
                  <a:pt x="41" y="65"/>
                </a:lnTo>
                <a:lnTo>
                  <a:pt x="25" y="65"/>
                </a:lnTo>
                <a:lnTo>
                  <a:pt x="32" y="70"/>
                </a:lnTo>
                <a:lnTo>
                  <a:pt x="20" y="76"/>
                </a:lnTo>
                <a:lnTo>
                  <a:pt x="34" y="81"/>
                </a:lnTo>
                <a:lnTo>
                  <a:pt x="0" y="88"/>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1" name="Freeform 678">
            <a:extLst>
              <a:ext uri="{FF2B5EF4-FFF2-40B4-BE49-F238E27FC236}">
                <a16:creationId xmlns:a16="http://schemas.microsoft.com/office/drawing/2014/main" id="{ADA77C41-C517-4C6A-92B8-8C800F9BABEE}"/>
              </a:ext>
            </a:extLst>
          </p:cNvPr>
          <p:cNvSpPr>
            <a:spLocks/>
          </p:cNvSpPr>
          <p:nvPr/>
        </p:nvSpPr>
        <p:spPr bwMode="auto">
          <a:xfrm>
            <a:off x="5040065" y="3741049"/>
            <a:ext cx="46720" cy="21633"/>
          </a:xfrm>
          <a:custGeom>
            <a:avLst/>
            <a:gdLst>
              <a:gd name="T0" fmla="*/ 0 w 41"/>
              <a:gd name="T1" fmla="*/ 20480869 h 21"/>
              <a:gd name="T2" fmla="*/ 0 w 41"/>
              <a:gd name="T3" fmla="*/ 20480869 h 21"/>
              <a:gd name="T4" fmla="*/ 18421813 w 41"/>
              <a:gd name="T5" fmla="*/ 29258380 h 21"/>
              <a:gd name="T6" fmla="*/ 61407284 w 41"/>
              <a:gd name="T7" fmla="*/ 19018550 h 21"/>
              <a:gd name="T8" fmla="*/ 35309714 w 41"/>
              <a:gd name="T9" fmla="*/ 0 h 21"/>
              <a:gd name="T10" fmla="*/ 0 w 41"/>
              <a:gd name="T11" fmla="*/ 20480869 h 21"/>
              <a:gd name="T12" fmla="*/ 0 w 41"/>
              <a:gd name="T13" fmla="*/ 20480869 h 21"/>
              <a:gd name="T14" fmla="*/ 0 60000 65536"/>
              <a:gd name="T15" fmla="*/ 0 60000 65536"/>
              <a:gd name="T16" fmla="*/ 0 60000 65536"/>
              <a:gd name="T17" fmla="*/ 0 60000 65536"/>
              <a:gd name="T18" fmla="*/ 0 60000 65536"/>
              <a:gd name="T19" fmla="*/ 0 60000 65536"/>
              <a:gd name="T20" fmla="*/ 0 60000 65536"/>
              <a:gd name="T21" fmla="*/ 0 w 41"/>
              <a:gd name="T22" fmla="*/ 0 h 21"/>
              <a:gd name="T23" fmla="*/ 41 w 4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1">
                <a:moveTo>
                  <a:pt x="0" y="14"/>
                </a:moveTo>
                <a:lnTo>
                  <a:pt x="0" y="14"/>
                </a:lnTo>
                <a:lnTo>
                  <a:pt x="12" y="20"/>
                </a:lnTo>
                <a:lnTo>
                  <a:pt x="40" y="13"/>
                </a:lnTo>
                <a:lnTo>
                  <a:pt x="23" y="0"/>
                </a:lnTo>
                <a:lnTo>
                  <a:pt x="0" y="1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2" name="Freeform 679">
            <a:extLst>
              <a:ext uri="{FF2B5EF4-FFF2-40B4-BE49-F238E27FC236}">
                <a16:creationId xmlns:a16="http://schemas.microsoft.com/office/drawing/2014/main" id="{FD1F4F0E-11F9-489B-AEEE-DCA1015253E2}"/>
              </a:ext>
            </a:extLst>
          </p:cNvPr>
          <p:cNvSpPr>
            <a:spLocks/>
          </p:cNvSpPr>
          <p:nvPr/>
        </p:nvSpPr>
        <p:spPr bwMode="auto">
          <a:xfrm>
            <a:off x="5485369" y="3785666"/>
            <a:ext cx="43801" cy="14872"/>
          </a:xfrm>
          <a:custGeom>
            <a:avLst/>
            <a:gdLst>
              <a:gd name="T0" fmla="*/ 0 w 38"/>
              <a:gd name="T1" fmla="*/ 0 h 14"/>
              <a:gd name="T2" fmla="*/ 0 w 38"/>
              <a:gd name="T3" fmla="*/ 0 h 14"/>
              <a:gd name="T4" fmla="*/ 25132214 w 38"/>
              <a:gd name="T5" fmla="*/ 15557395 h 14"/>
              <a:gd name="T6" fmla="*/ 17277847 w 38"/>
              <a:gd name="T7" fmla="*/ 20224737 h 14"/>
              <a:gd name="T8" fmla="*/ 39268060 w 38"/>
              <a:gd name="T9" fmla="*/ 20224737 h 14"/>
              <a:gd name="T10" fmla="*/ 58117536 w 38"/>
              <a:gd name="T11" fmla="*/ 9334686 h 14"/>
              <a:gd name="T12" fmla="*/ 0 w 38"/>
              <a:gd name="T13" fmla="*/ 0 h 14"/>
              <a:gd name="T14" fmla="*/ 0 w 38"/>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14"/>
              <a:gd name="T26" fmla="*/ 38 w 38"/>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14">
                <a:moveTo>
                  <a:pt x="0" y="0"/>
                </a:moveTo>
                <a:lnTo>
                  <a:pt x="0" y="0"/>
                </a:lnTo>
                <a:lnTo>
                  <a:pt x="16" y="10"/>
                </a:lnTo>
                <a:lnTo>
                  <a:pt x="11" y="13"/>
                </a:lnTo>
                <a:lnTo>
                  <a:pt x="25" y="13"/>
                </a:lnTo>
                <a:lnTo>
                  <a:pt x="37" y="6"/>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3" name="Freeform 680">
            <a:extLst>
              <a:ext uri="{FF2B5EF4-FFF2-40B4-BE49-F238E27FC236}">
                <a16:creationId xmlns:a16="http://schemas.microsoft.com/office/drawing/2014/main" id="{691F974D-6BEA-413E-AFE8-2F8F695C9D1F}"/>
              </a:ext>
            </a:extLst>
          </p:cNvPr>
          <p:cNvSpPr>
            <a:spLocks/>
          </p:cNvSpPr>
          <p:nvPr/>
        </p:nvSpPr>
        <p:spPr bwMode="auto">
          <a:xfrm>
            <a:off x="5494130" y="3745104"/>
            <a:ext cx="100740" cy="41913"/>
          </a:xfrm>
          <a:custGeom>
            <a:avLst/>
            <a:gdLst>
              <a:gd name="T0" fmla="*/ 0 w 88"/>
              <a:gd name="T1" fmla="*/ 51992477 h 38"/>
              <a:gd name="T2" fmla="*/ 0 w 88"/>
              <a:gd name="T3" fmla="*/ 51992477 h 38"/>
              <a:gd name="T4" fmla="*/ 35635620 w 88"/>
              <a:gd name="T5" fmla="*/ 16772225 h 38"/>
              <a:gd name="T6" fmla="*/ 86764515 w 88"/>
              <a:gd name="T7" fmla="*/ 0 h 38"/>
              <a:gd name="T8" fmla="*/ 134795229 w 88"/>
              <a:gd name="T9" fmla="*/ 30188970 h 38"/>
              <a:gd name="T10" fmla="*/ 119301972 w 88"/>
              <a:gd name="T11" fmla="*/ 35220247 h 38"/>
              <a:gd name="T12" fmla="*/ 122400126 w 88"/>
              <a:gd name="T13" fmla="*/ 48638292 h 38"/>
              <a:gd name="T14" fmla="*/ 52678585 w 88"/>
              <a:gd name="T15" fmla="*/ 62055032 h 38"/>
              <a:gd name="T16" fmla="*/ 0 w 88"/>
              <a:gd name="T17" fmla="*/ 51992477 h 38"/>
              <a:gd name="T18" fmla="*/ 0 w 88"/>
              <a:gd name="T19" fmla="*/ 51992477 h 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8"/>
              <a:gd name="T31" fmla="*/ 0 h 38"/>
              <a:gd name="T32" fmla="*/ 88 w 88"/>
              <a:gd name="T33" fmla="*/ 38 h 3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8" h="38">
                <a:moveTo>
                  <a:pt x="0" y="31"/>
                </a:moveTo>
                <a:lnTo>
                  <a:pt x="0" y="31"/>
                </a:lnTo>
                <a:lnTo>
                  <a:pt x="23" y="10"/>
                </a:lnTo>
                <a:lnTo>
                  <a:pt x="56" y="0"/>
                </a:lnTo>
                <a:lnTo>
                  <a:pt x="87" y="18"/>
                </a:lnTo>
                <a:lnTo>
                  <a:pt x="77" y="21"/>
                </a:lnTo>
                <a:lnTo>
                  <a:pt x="79" y="29"/>
                </a:lnTo>
                <a:lnTo>
                  <a:pt x="34" y="37"/>
                </a:lnTo>
                <a:lnTo>
                  <a:pt x="0" y="31"/>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4" name="Freeform 681">
            <a:extLst>
              <a:ext uri="{FF2B5EF4-FFF2-40B4-BE49-F238E27FC236}">
                <a16:creationId xmlns:a16="http://schemas.microsoft.com/office/drawing/2014/main" id="{9A782A32-53DB-445E-8E52-7A8689503316}"/>
              </a:ext>
            </a:extLst>
          </p:cNvPr>
          <p:cNvSpPr>
            <a:spLocks/>
          </p:cNvSpPr>
          <p:nvPr/>
        </p:nvSpPr>
        <p:spPr bwMode="auto">
          <a:xfrm>
            <a:off x="5514569" y="3781609"/>
            <a:ext cx="110961" cy="50027"/>
          </a:xfrm>
          <a:custGeom>
            <a:avLst/>
            <a:gdLst>
              <a:gd name="T0" fmla="*/ 0 w 98"/>
              <a:gd name="T1" fmla="*/ 32371164 h 45"/>
              <a:gd name="T2" fmla="*/ 0 w 98"/>
              <a:gd name="T3" fmla="*/ 32371164 h 45"/>
              <a:gd name="T4" fmla="*/ 27281675 w 98"/>
              <a:gd name="T5" fmla="*/ 37482673 h 45"/>
              <a:gd name="T6" fmla="*/ 45470282 w 98"/>
              <a:gd name="T7" fmla="*/ 63040231 h 45"/>
              <a:gd name="T8" fmla="*/ 60626625 w 98"/>
              <a:gd name="T9" fmla="*/ 54520614 h 45"/>
              <a:gd name="T10" fmla="*/ 121253251 w 98"/>
              <a:gd name="T11" fmla="*/ 74966652 h 45"/>
              <a:gd name="T12" fmla="*/ 142472871 w 98"/>
              <a:gd name="T13" fmla="*/ 66447034 h 45"/>
              <a:gd name="T14" fmla="*/ 125799785 w 98"/>
              <a:gd name="T15" fmla="*/ 47705703 h 45"/>
              <a:gd name="T16" fmla="*/ 137925106 w 98"/>
              <a:gd name="T17" fmla="*/ 52817212 h 45"/>
              <a:gd name="T18" fmla="*/ 147019404 w 98"/>
              <a:gd name="T19" fmla="*/ 22149450 h 45"/>
              <a:gd name="T20" fmla="*/ 115189975 w 98"/>
              <a:gd name="T21" fmla="*/ 6814914 h 45"/>
              <a:gd name="T22" fmla="*/ 83361776 w 98"/>
              <a:gd name="T23" fmla="*/ 28964361 h 45"/>
              <a:gd name="T24" fmla="*/ 109127929 w 98"/>
              <a:gd name="T25" fmla="*/ 17037935 h 45"/>
              <a:gd name="T26" fmla="*/ 93971586 w 98"/>
              <a:gd name="T27" fmla="*/ 0 h 45"/>
              <a:gd name="T28" fmla="*/ 42438028 w 98"/>
              <a:gd name="T29" fmla="*/ 6814914 h 45"/>
              <a:gd name="T30" fmla="*/ 0 w 98"/>
              <a:gd name="T31" fmla="*/ 32371164 h 45"/>
              <a:gd name="T32" fmla="*/ 0 w 98"/>
              <a:gd name="T33" fmla="*/ 32371164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45"/>
              <a:gd name="T53" fmla="*/ 98 w 98"/>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45">
                <a:moveTo>
                  <a:pt x="0" y="19"/>
                </a:moveTo>
                <a:lnTo>
                  <a:pt x="0" y="19"/>
                </a:lnTo>
                <a:lnTo>
                  <a:pt x="18" y="22"/>
                </a:lnTo>
                <a:lnTo>
                  <a:pt x="30" y="37"/>
                </a:lnTo>
                <a:lnTo>
                  <a:pt x="40" y="32"/>
                </a:lnTo>
                <a:lnTo>
                  <a:pt x="80" y="44"/>
                </a:lnTo>
                <a:lnTo>
                  <a:pt x="94" y="39"/>
                </a:lnTo>
                <a:lnTo>
                  <a:pt x="83" y="28"/>
                </a:lnTo>
                <a:lnTo>
                  <a:pt x="91" y="31"/>
                </a:lnTo>
                <a:lnTo>
                  <a:pt x="97" y="13"/>
                </a:lnTo>
                <a:lnTo>
                  <a:pt x="76" y="4"/>
                </a:lnTo>
                <a:lnTo>
                  <a:pt x="55" y="17"/>
                </a:lnTo>
                <a:lnTo>
                  <a:pt x="72" y="10"/>
                </a:lnTo>
                <a:lnTo>
                  <a:pt x="62" y="0"/>
                </a:lnTo>
                <a:lnTo>
                  <a:pt x="28" y="4"/>
                </a:lnTo>
                <a:lnTo>
                  <a:pt x="0" y="19"/>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5" name="Freeform 682">
            <a:extLst>
              <a:ext uri="{FF2B5EF4-FFF2-40B4-BE49-F238E27FC236}">
                <a16:creationId xmlns:a16="http://schemas.microsoft.com/office/drawing/2014/main" id="{89889F1F-F5A9-4CDA-9661-2DABF92F0C98}"/>
              </a:ext>
            </a:extLst>
          </p:cNvPr>
          <p:cNvSpPr>
            <a:spLocks/>
          </p:cNvSpPr>
          <p:nvPr/>
        </p:nvSpPr>
        <p:spPr bwMode="auto">
          <a:xfrm>
            <a:off x="5619689" y="3807299"/>
            <a:ext cx="93441" cy="50027"/>
          </a:xfrm>
          <a:custGeom>
            <a:avLst/>
            <a:gdLst>
              <a:gd name="T0" fmla="*/ 0 w 82"/>
              <a:gd name="T1" fmla="*/ 61957319 h 46"/>
              <a:gd name="T2" fmla="*/ 0 w 82"/>
              <a:gd name="T3" fmla="*/ 61957319 h 46"/>
              <a:gd name="T4" fmla="*/ 9210906 w 82"/>
              <a:gd name="T5" fmla="*/ 73370170 h 46"/>
              <a:gd name="T6" fmla="*/ 113603665 w 82"/>
              <a:gd name="T7" fmla="*/ 58696140 h 46"/>
              <a:gd name="T8" fmla="*/ 124349719 w 82"/>
              <a:gd name="T9" fmla="*/ 34239839 h 46"/>
              <a:gd name="T10" fmla="*/ 95181857 w 82"/>
              <a:gd name="T11" fmla="*/ 14674035 h 46"/>
              <a:gd name="T12" fmla="*/ 70618188 w 82"/>
              <a:gd name="T13" fmla="*/ 22825711 h 46"/>
              <a:gd name="T14" fmla="*/ 73688489 w 82"/>
              <a:gd name="T15" fmla="*/ 6522361 h 46"/>
              <a:gd name="T16" fmla="*/ 59872134 w 82"/>
              <a:gd name="T17" fmla="*/ 0 h 46"/>
              <a:gd name="T18" fmla="*/ 12281210 w 82"/>
              <a:gd name="T19" fmla="*/ 53804371 h 46"/>
              <a:gd name="T20" fmla="*/ 0 w 82"/>
              <a:gd name="T21" fmla="*/ 61957319 h 46"/>
              <a:gd name="T22" fmla="*/ 0 w 82"/>
              <a:gd name="T23" fmla="*/ 61957319 h 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2"/>
              <a:gd name="T37" fmla="*/ 0 h 46"/>
              <a:gd name="T38" fmla="*/ 82 w 82"/>
              <a:gd name="T39" fmla="*/ 46 h 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2" h="46">
                <a:moveTo>
                  <a:pt x="0" y="38"/>
                </a:moveTo>
                <a:lnTo>
                  <a:pt x="0" y="38"/>
                </a:lnTo>
                <a:lnTo>
                  <a:pt x="6" y="45"/>
                </a:lnTo>
                <a:lnTo>
                  <a:pt x="74" y="36"/>
                </a:lnTo>
                <a:lnTo>
                  <a:pt x="81" y="21"/>
                </a:lnTo>
                <a:lnTo>
                  <a:pt x="62" y="9"/>
                </a:lnTo>
                <a:lnTo>
                  <a:pt x="46" y="14"/>
                </a:lnTo>
                <a:lnTo>
                  <a:pt x="48" y="4"/>
                </a:lnTo>
                <a:lnTo>
                  <a:pt x="39" y="0"/>
                </a:lnTo>
                <a:lnTo>
                  <a:pt x="8" y="33"/>
                </a:lnTo>
                <a:lnTo>
                  <a:pt x="0" y="38"/>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6" name="Freeform 683">
            <a:extLst>
              <a:ext uri="{FF2B5EF4-FFF2-40B4-BE49-F238E27FC236}">
                <a16:creationId xmlns:a16="http://schemas.microsoft.com/office/drawing/2014/main" id="{4AB652D7-26CE-4535-9304-FA5D0E7D6FEE}"/>
              </a:ext>
            </a:extLst>
          </p:cNvPr>
          <p:cNvSpPr>
            <a:spLocks/>
          </p:cNvSpPr>
          <p:nvPr/>
        </p:nvSpPr>
        <p:spPr bwMode="auto">
          <a:xfrm>
            <a:off x="6200775" y="3911407"/>
            <a:ext cx="105121" cy="48674"/>
          </a:xfrm>
          <a:custGeom>
            <a:avLst/>
            <a:gdLst>
              <a:gd name="T0" fmla="*/ 0 w 92"/>
              <a:gd name="T1" fmla="*/ 40628330 h 43"/>
              <a:gd name="T2" fmla="*/ 0 w 92"/>
              <a:gd name="T3" fmla="*/ 40628330 h 43"/>
              <a:gd name="T4" fmla="*/ 27783597 w 92"/>
              <a:gd name="T5" fmla="*/ 1766334 h 43"/>
              <a:gd name="T6" fmla="*/ 47849462 w 92"/>
              <a:gd name="T7" fmla="*/ 0 h 43"/>
              <a:gd name="T8" fmla="*/ 80263441 w 92"/>
              <a:gd name="T9" fmla="*/ 28262669 h 43"/>
              <a:gd name="T10" fmla="*/ 84895093 w 92"/>
              <a:gd name="T11" fmla="*/ 7065335 h 43"/>
              <a:gd name="T12" fmla="*/ 120396413 w 92"/>
              <a:gd name="T13" fmla="*/ 24730003 h 43"/>
              <a:gd name="T14" fmla="*/ 117309072 w 92"/>
              <a:gd name="T15" fmla="*/ 51226339 h 43"/>
              <a:gd name="T16" fmla="*/ 140462268 w 92"/>
              <a:gd name="T17" fmla="*/ 61824337 h 43"/>
              <a:gd name="T18" fmla="*/ 66372268 w 92"/>
              <a:gd name="T19" fmla="*/ 65358332 h 43"/>
              <a:gd name="T20" fmla="*/ 61741877 w 92"/>
              <a:gd name="T21" fmla="*/ 54759005 h 43"/>
              <a:gd name="T22" fmla="*/ 49393754 w 92"/>
              <a:gd name="T23" fmla="*/ 74189998 h 43"/>
              <a:gd name="T24" fmla="*/ 0 w 92"/>
              <a:gd name="T25" fmla="*/ 40628330 h 43"/>
              <a:gd name="T26" fmla="*/ 0 w 92"/>
              <a:gd name="T27" fmla="*/ 40628330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2"/>
              <a:gd name="T43" fmla="*/ 0 h 43"/>
              <a:gd name="T44" fmla="*/ 92 w 92"/>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2" h="43">
                <a:moveTo>
                  <a:pt x="0" y="23"/>
                </a:moveTo>
                <a:lnTo>
                  <a:pt x="0" y="23"/>
                </a:lnTo>
                <a:lnTo>
                  <a:pt x="18" y="1"/>
                </a:lnTo>
                <a:lnTo>
                  <a:pt x="31" y="0"/>
                </a:lnTo>
                <a:lnTo>
                  <a:pt x="52" y="16"/>
                </a:lnTo>
                <a:lnTo>
                  <a:pt x="55" y="4"/>
                </a:lnTo>
                <a:lnTo>
                  <a:pt x="78" y="14"/>
                </a:lnTo>
                <a:lnTo>
                  <a:pt x="76" y="29"/>
                </a:lnTo>
                <a:lnTo>
                  <a:pt x="91" y="35"/>
                </a:lnTo>
                <a:lnTo>
                  <a:pt x="43" y="37"/>
                </a:lnTo>
                <a:lnTo>
                  <a:pt x="40" y="31"/>
                </a:lnTo>
                <a:lnTo>
                  <a:pt x="32" y="42"/>
                </a:lnTo>
                <a:lnTo>
                  <a:pt x="0" y="23"/>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7" name="Freeform 684">
            <a:extLst>
              <a:ext uri="{FF2B5EF4-FFF2-40B4-BE49-F238E27FC236}">
                <a16:creationId xmlns:a16="http://schemas.microsoft.com/office/drawing/2014/main" id="{5394BAFA-E989-4A31-B6CE-E7B95647C880}"/>
              </a:ext>
            </a:extLst>
          </p:cNvPr>
          <p:cNvSpPr>
            <a:spLocks/>
          </p:cNvSpPr>
          <p:nvPr/>
        </p:nvSpPr>
        <p:spPr bwMode="auto">
          <a:xfrm>
            <a:off x="6273775" y="3912760"/>
            <a:ext cx="64240" cy="35154"/>
          </a:xfrm>
          <a:custGeom>
            <a:avLst/>
            <a:gdLst>
              <a:gd name="T0" fmla="*/ 0 w 57"/>
              <a:gd name="T1" fmla="*/ 0 h 30"/>
              <a:gd name="T2" fmla="*/ 0 w 57"/>
              <a:gd name="T3" fmla="*/ 0 h 30"/>
              <a:gd name="T4" fmla="*/ 28531889 w 57"/>
              <a:gd name="T5" fmla="*/ 20821862 h 30"/>
              <a:gd name="T6" fmla="*/ 21023629 w 57"/>
              <a:gd name="T7" fmla="*/ 39751953 h 30"/>
              <a:gd name="T8" fmla="*/ 34538987 w 57"/>
              <a:gd name="T9" fmla="*/ 54894382 h 30"/>
              <a:gd name="T10" fmla="*/ 60068552 w 57"/>
              <a:gd name="T11" fmla="*/ 54894382 h 30"/>
              <a:gd name="T12" fmla="*/ 84095739 w 57"/>
              <a:gd name="T13" fmla="*/ 34072515 h 30"/>
              <a:gd name="T14" fmla="*/ 0 w 57"/>
              <a:gd name="T15" fmla="*/ 0 h 30"/>
              <a:gd name="T16" fmla="*/ 0 w 57"/>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30"/>
              <a:gd name="T29" fmla="*/ 57 w 57"/>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30">
                <a:moveTo>
                  <a:pt x="0" y="0"/>
                </a:moveTo>
                <a:lnTo>
                  <a:pt x="0" y="0"/>
                </a:lnTo>
                <a:lnTo>
                  <a:pt x="19" y="11"/>
                </a:lnTo>
                <a:lnTo>
                  <a:pt x="14" y="21"/>
                </a:lnTo>
                <a:lnTo>
                  <a:pt x="23" y="29"/>
                </a:lnTo>
                <a:lnTo>
                  <a:pt x="40" y="29"/>
                </a:lnTo>
                <a:lnTo>
                  <a:pt x="56" y="18"/>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8" name="Freeform 685">
            <a:extLst>
              <a:ext uri="{FF2B5EF4-FFF2-40B4-BE49-F238E27FC236}">
                <a16:creationId xmlns:a16="http://schemas.microsoft.com/office/drawing/2014/main" id="{CC2CD2E4-CCD1-47BB-A4BE-E08B6EE05F8A}"/>
              </a:ext>
            </a:extLst>
          </p:cNvPr>
          <p:cNvSpPr>
            <a:spLocks/>
          </p:cNvSpPr>
          <p:nvPr/>
        </p:nvSpPr>
        <p:spPr bwMode="auto">
          <a:xfrm>
            <a:off x="6279616" y="4458991"/>
            <a:ext cx="48180" cy="166302"/>
          </a:xfrm>
          <a:custGeom>
            <a:avLst/>
            <a:gdLst>
              <a:gd name="T0" fmla="*/ 0 w 43"/>
              <a:gd name="T1" fmla="*/ 65259437 h 149"/>
              <a:gd name="T2" fmla="*/ 0 w 43"/>
              <a:gd name="T3" fmla="*/ 65259437 h 149"/>
              <a:gd name="T4" fmla="*/ 10389683 w 43"/>
              <a:gd name="T5" fmla="*/ 96172434 h 149"/>
              <a:gd name="T6" fmla="*/ 10389683 w 43"/>
              <a:gd name="T7" fmla="*/ 254170820 h 149"/>
              <a:gd name="T8" fmla="*/ 20779367 w 43"/>
              <a:gd name="T9" fmla="*/ 235278901 h 149"/>
              <a:gd name="T10" fmla="*/ 37107049 w 43"/>
              <a:gd name="T11" fmla="*/ 247301269 h 149"/>
              <a:gd name="T12" fmla="*/ 19295470 w 43"/>
              <a:gd name="T13" fmla="*/ 204365925 h 149"/>
              <a:gd name="T14" fmla="*/ 29685153 w 43"/>
              <a:gd name="T15" fmla="*/ 159715118 h 149"/>
              <a:gd name="T16" fmla="*/ 62339309 w 43"/>
              <a:gd name="T17" fmla="*/ 173454260 h 149"/>
              <a:gd name="T18" fmla="*/ 31169045 w 43"/>
              <a:gd name="T19" fmla="*/ 89302883 h 149"/>
              <a:gd name="T20" fmla="*/ 20779367 w 43"/>
              <a:gd name="T21" fmla="*/ 0 h 149"/>
              <a:gd name="T22" fmla="*/ 0 w 43"/>
              <a:gd name="T23" fmla="*/ 65259437 h 149"/>
              <a:gd name="T24" fmla="*/ 0 w 43"/>
              <a:gd name="T25" fmla="*/ 65259437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149"/>
              <a:gd name="T41" fmla="*/ 43 w 43"/>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149">
                <a:moveTo>
                  <a:pt x="0" y="38"/>
                </a:moveTo>
                <a:lnTo>
                  <a:pt x="0" y="38"/>
                </a:lnTo>
                <a:lnTo>
                  <a:pt x="7" y="56"/>
                </a:lnTo>
                <a:lnTo>
                  <a:pt x="7" y="148"/>
                </a:lnTo>
                <a:lnTo>
                  <a:pt x="14" y="137"/>
                </a:lnTo>
                <a:lnTo>
                  <a:pt x="25" y="144"/>
                </a:lnTo>
                <a:lnTo>
                  <a:pt x="13" y="119"/>
                </a:lnTo>
                <a:lnTo>
                  <a:pt x="20" y="93"/>
                </a:lnTo>
                <a:lnTo>
                  <a:pt x="42" y="101"/>
                </a:lnTo>
                <a:lnTo>
                  <a:pt x="21" y="52"/>
                </a:lnTo>
                <a:lnTo>
                  <a:pt x="14" y="0"/>
                </a:lnTo>
                <a:lnTo>
                  <a:pt x="0" y="3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9" name="Freeform 686">
            <a:extLst>
              <a:ext uri="{FF2B5EF4-FFF2-40B4-BE49-F238E27FC236}">
                <a16:creationId xmlns:a16="http://schemas.microsoft.com/office/drawing/2014/main" id="{FA39D6F1-3E4E-4C18-8AA5-C6DEADB50CF5}"/>
              </a:ext>
            </a:extLst>
          </p:cNvPr>
          <p:cNvSpPr>
            <a:spLocks/>
          </p:cNvSpPr>
          <p:nvPr/>
        </p:nvSpPr>
        <p:spPr bwMode="auto">
          <a:xfrm>
            <a:off x="6351155" y="3933039"/>
            <a:ext cx="73000" cy="24337"/>
          </a:xfrm>
          <a:custGeom>
            <a:avLst/>
            <a:gdLst>
              <a:gd name="T0" fmla="*/ 0 w 64"/>
              <a:gd name="T1" fmla="*/ 0 h 22"/>
              <a:gd name="T2" fmla="*/ 0 w 64"/>
              <a:gd name="T3" fmla="*/ 0 h 22"/>
              <a:gd name="T4" fmla="*/ 16920514 w 64"/>
              <a:gd name="T5" fmla="*/ 23618538 h 22"/>
              <a:gd name="T6" fmla="*/ 61526777 w 64"/>
              <a:gd name="T7" fmla="*/ 35427802 h 22"/>
              <a:gd name="T8" fmla="*/ 96905705 w 64"/>
              <a:gd name="T9" fmla="*/ 28680208 h 22"/>
              <a:gd name="T10" fmla="*/ 0 w 64"/>
              <a:gd name="T11" fmla="*/ 0 h 22"/>
              <a:gd name="T12" fmla="*/ 0 w 64"/>
              <a:gd name="T13" fmla="*/ 0 h 22"/>
              <a:gd name="T14" fmla="*/ 0 60000 65536"/>
              <a:gd name="T15" fmla="*/ 0 60000 65536"/>
              <a:gd name="T16" fmla="*/ 0 60000 65536"/>
              <a:gd name="T17" fmla="*/ 0 60000 65536"/>
              <a:gd name="T18" fmla="*/ 0 60000 65536"/>
              <a:gd name="T19" fmla="*/ 0 60000 65536"/>
              <a:gd name="T20" fmla="*/ 0 60000 65536"/>
              <a:gd name="T21" fmla="*/ 0 w 64"/>
              <a:gd name="T22" fmla="*/ 0 h 22"/>
              <a:gd name="T23" fmla="*/ 64 w 64"/>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22">
                <a:moveTo>
                  <a:pt x="0" y="0"/>
                </a:moveTo>
                <a:lnTo>
                  <a:pt x="0" y="0"/>
                </a:lnTo>
                <a:lnTo>
                  <a:pt x="11" y="14"/>
                </a:lnTo>
                <a:lnTo>
                  <a:pt x="40" y="21"/>
                </a:lnTo>
                <a:lnTo>
                  <a:pt x="63" y="17"/>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90" name="Group 98">
            <a:extLst>
              <a:ext uri="{FF2B5EF4-FFF2-40B4-BE49-F238E27FC236}">
                <a16:creationId xmlns:a16="http://schemas.microsoft.com/office/drawing/2014/main" id="{9CCE8B22-9644-4C67-9A90-6B439FFBAE2D}"/>
              </a:ext>
            </a:extLst>
          </p:cNvPr>
          <p:cNvGrpSpPr>
            <a:grpSpLocks/>
          </p:cNvGrpSpPr>
          <p:nvPr/>
        </p:nvGrpSpPr>
        <p:grpSpPr bwMode="auto">
          <a:xfrm>
            <a:off x="4231217" y="3769442"/>
            <a:ext cx="258423" cy="131149"/>
            <a:chOff x="3227" y="1992"/>
            <a:chExt cx="225" cy="118"/>
          </a:xfrm>
          <a:solidFill>
            <a:srgbClr val="00B050"/>
          </a:solidFill>
        </p:grpSpPr>
        <p:sp>
          <p:nvSpPr>
            <p:cNvPr id="263" name="Freeform 688">
              <a:extLst>
                <a:ext uri="{FF2B5EF4-FFF2-40B4-BE49-F238E27FC236}">
                  <a16:creationId xmlns:a16="http://schemas.microsoft.com/office/drawing/2014/main" id="{FF0D9FE9-6439-4CB6-927A-C8BD823405CF}"/>
                </a:ext>
              </a:extLst>
            </p:cNvPr>
            <p:cNvSpPr>
              <a:spLocks/>
            </p:cNvSpPr>
            <p:nvPr/>
          </p:nvSpPr>
          <p:spPr bwMode="auto">
            <a:xfrm>
              <a:off x="3227" y="2006"/>
              <a:ext cx="146" cy="104"/>
            </a:xfrm>
            <a:custGeom>
              <a:avLst/>
              <a:gdLst>
                <a:gd name="T0" fmla="*/ 0 w 146"/>
                <a:gd name="T1" fmla="*/ 13 h 104"/>
                <a:gd name="T2" fmla="*/ 0 w 146"/>
                <a:gd name="T3" fmla="*/ 13 h 104"/>
                <a:gd name="T4" fmla="*/ 1 w 146"/>
                <a:gd name="T5" fmla="*/ 25 h 104"/>
                <a:gd name="T6" fmla="*/ 16 w 146"/>
                <a:gd name="T7" fmla="*/ 25 h 104"/>
                <a:gd name="T8" fmla="*/ 12 w 146"/>
                <a:gd name="T9" fmla="*/ 31 h 104"/>
                <a:gd name="T10" fmla="*/ 22 w 146"/>
                <a:gd name="T11" fmla="*/ 35 h 104"/>
                <a:gd name="T12" fmla="*/ 8 w 146"/>
                <a:gd name="T13" fmla="*/ 34 h 104"/>
                <a:gd name="T14" fmla="*/ 34 w 146"/>
                <a:gd name="T15" fmla="*/ 45 h 104"/>
                <a:gd name="T16" fmla="*/ 23 w 146"/>
                <a:gd name="T17" fmla="*/ 49 h 104"/>
                <a:gd name="T18" fmla="*/ 31 w 146"/>
                <a:gd name="T19" fmla="*/ 57 h 104"/>
                <a:gd name="T20" fmla="*/ 53 w 146"/>
                <a:gd name="T21" fmla="*/ 52 h 104"/>
                <a:gd name="T22" fmla="*/ 53 w 146"/>
                <a:gd name="T23" fmla="*/ 42 h 104"/>
                <a:gd name="T24" fmla="*/ 64 w 146"/>
                <a:gd name="T25" fmla="*/ 38 h 104"/>
                <a:gd name="T26" fmla="*/ 66 w 146"/>
                <a:gd name="T27" fmla="*/ 50 h 104"/>
                <a:gd name="T28" fmla="*/ 80 w 146"/>
                <a:gd name="T29" fmla="*/ 42 h 104"/>
                <a:gd name="T30" fmla="*/ 77 w 146"/>
                <a:gd name="T31" fmla="*/ 50 h 104"/>
                <a:gd name="T32" fmla="*/ 90 w 146"/>
                <a:gd name="T33" fmla="*/ 50 h 104"/>
                <a:gd name="T34" fmla="*/ 40 w 146"/>
                <a:gd name="T35" fmla="*/ 62 h 104"/>
                <a:gd name="T36" fmla="*/ 43 w 146"/>
                <a:gd name="T37" fmla="*/ 71 h 104"/>
                <a:gd name="T38" fmla="*/ 84 w 146"/>
                <a:gd name="T39" fmla="*/ 64 h 104"/>
                <a:gd name="T40" fmla="*/ 55 w 146"/>
                <a:gd name="T41" fmla="*/ 73 h 104"/>
                <a:gd name="T42" fmla="*/ 72 w 146"/>
                <a:gd name="T43" fmla="*/ 78 h 104"/>
                <a:gd name="T44" fmla="*/ 44 w 146"/>
                <a:gd name="T45" fmla="*/ 82 h 104"/>
                <a:gd name="T46" fmla="*/ 86 w 146"/>
                <a:gd name="T47" fmla="*/ 103 h 104"/>
                <a:gd name="T48" fmla="*/ 113 w 146"/>
                <a:gd name="T49" fmla="*/ 50 h 104"/>
                <a:gd name="T50" fmla="*/ 145 w 146"/>
                <a:gd name="T51" fmla="*/ 37 h 104"/>
                <a:gd name="T52" fmla="*/ 109 w 146"/>
                <a:gd name="T53" fmla="*/ 28 h 104"/>
                <a:gd name="T54" fmla="*/ 104 w 146"/>
                <a:gd name="T55" fmla="*/ 15 h 104"/>
                <a:gd name="T56" fmla="*/ 94 w 146"/>
                <a:gd name="T57" fmla="*/ 23 h 104"/>
                <a:gd name="T58" fmla="*/ 99 w 146"/>
                <a:gd name="T59" fmla="*/ 10 h 104"/>
                <a:gd name="T60" fmla="*/ 75 w 146"/>
                <a:gd name="T61" fmla="*/ 0 h 104"/>
                <a:gd name="T62" fmla="*/ 67 w 146"/>
                <a:gd name="T63" fmla="*/ 10 h 104"/>
                <a:gd name="T64" fmla="*/ 78 w 146"/>
                <a:gd name="T65" fmla="*/ 35 h 104"/>
                <a:gd name="T66" fmla="*/ 51 w 146"/>
                <a:gd name="T67" fmla="*/ 10 h 104"/>
                <a:gd name="T68" fmla="*/ 43 w 146"/>
                <a:gd name="T69" fmla="*/ 15 h 104"/>
                <a:gd name="T70" fmla="*/ 48 w 146"/>
                <a:gd name="T71" fmla="*/ 28 h 104"/>
                <a:gd name="T72" fmla="*/ 22 w 146"/>
                <a:gd name="T73" fmla="*/ 16 h 104"/>
                <a:gd name="T74" fmla="*/ 40 w 146"/>
                <a:gd name="T75" fmla="*/ 9 h 104"/>
                <a:gd name="T76" fmla="*/ 0 w 146"/>
                <a:gd name="T77" fmla="*/ 13 h 104"/>
                <a:gd name="T78" fmla="*/ 0 w 146"/>
                <a:gd name="T79" fmla="*/ 13 h 10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6"/>
                <a:gd name="T121" fmla="*/ 0 h 104"/>
                <a:gd name="T122" fmla="*/ 146 w 146"/>
                <a:gd name="T123" fmla="*/ 104 h 10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6" h="104">
                  <a:moveTo>
                    <a:pt x="0" y="13"/>
                  </a:moveTo>
                  <a:lnTo>
                    <a:pt x="0" y="13"/>
                  </a:lnTo>
                  <a:lnTo>
                    <a:pt x="1" y="25"/>
                  </a:lnTo>
                  <a:lnTo>
                    <a:pt x="16" y="25"/>
                  </a:lnTo>
                  <a:lnTo>
                    <a:pt x="12" y="31"/>
                  </a:lnTo>
                  <a:lnTo>
                    <a:pt x="22" y="35"/>
                  </a:lnTo>
                  <a:lnTo>
                    <a:pt x="8" y="34"/>
                  </a:lnTo>
                  <a:lnTo>
                    <a:pt x="34" y="45"/>
                  </a:lnTo>
                  <a:lnTo>
                    <a:pt x="23" y="49"/>
                  </a:lnTo>
                  <a:lnTo>
                    <a:pt x="31" y="57"/>
                  </a:lnTo>
                  <a:lnTo>
                    <a:pt x="53" y="52"/>
                  </a:lnTo>
                  <a:lnTo>
                    <a:pt x="53" y="42"/>
                  </a:lnTo>
                  <a:lnTo>
                    <a:pt x="64" y="38"/>
                  </a:lnTo>
                  <a:lnTo>
                    <a:pt x="66" y="50"/>
                  </a:lnTo>
                  <a:lnTo>
                    <a:pt x="80" y="42"/>
                  </a:lnTo>
                  <a:lnTo>
                    <a:pt x="77" y="50"/>
                  </a:lnTo>
                  <a:lnTo>
                    <a:pt x="90" y="50"/>
                  </a:lnTo>
                  <a:lnTo>
                    <a:pt x="40" y="62"/>
                  </a:lnTo>
                  <a:lnTo>
                    <a:pt x="43" y="71"/>
                  </a:lnTo>
                  <a:lnTo>
                    <a:pt x="84" y="64"/>
                  </a:lnTo>
                  <a:lnTo>
                    <a:pt x="55" y="73"/>
                  </a:lnTo>
                  <a:lnTo>
                    <a:pt x="72" y="78"/>
                  </a:lnTo>
                  <a:lnTo>
                    <a:pt x="44" y="82"/>
                  </a:lnTo>
                  <a:lnTo>
                    <a:pt x="86" y="103"/>
                  </a:lnTo>
                  <a:lnTo>
                    <a:pt x="113" y="50"/>
                  </a:lnTo>
                  <a:lnTo>
                    <a:pt x="145" y="37"/>
                  </a:lnTo>
                  <a:lnTo>
                    <a:pt x="109" y="28"/>
                  </a:lnTo>
                  <a:lnTo>
                    <a:pt x="104" y="15"/>
                  </a:lnTo>
                  <a:lnTo>
                    <a:pt x="94" y="23"/>
                  </a:lnTo>
                  <a:lnTo>
                    <a:pt x="99" y="10"/>
                  </a:lnTo>
                  <a:lnTo>
                    <a:pt x="75" y="0"/>
                  </a:lnTo>
                  <a:lnTo>
                    <a:pt x="67" y="10"/>
                  </a:lnTo>
                  <a:lnTo>
                    <a:pt x="78" y="35"/>
                  </a:lnTo>
                  <a:lnTo>
                    <a:pt x="51" y="10"/>
                  </a:lnTo>
                  <a:lnTo>
                    <a:pt x="43" y="15"/>
                  </a:lnTo>
                  <a:lnTo>
                    <a:pt x="48" y="28"/>
                  </a:lnTo>
                  <a:lnTo>
                    <a:pt x="22" y="16"/>
                  </a:lnTo>
                  <a:lnTo>
                    <a:pt x="40" y="9"/>
                  </a:lnTo>
                  <a:lnTo>
                    <a:pt x="0" y="1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4" name="Freeform 689">
              <a:extLst>
                <a:ext uri="{FF2B5EF4-FFF2-40B4-BE49-F238E27FC236}">
                  <a16:creationId xmlns:a16="http://schemas.microsoft.com/office/drawing/2014/main" id="{D296E5B0-88FC-4606-80CE-86DB4D92B321}"/>
                </a:ext>
              </a:extLst>
            </p:cNvPr>
            <p:cNvSpPr>
              <a:spLocks/>
            </p:cNvSpPr>
            <p:nvPr/>
          </p:nvSpPr>
          <p:spPr bwMode="auto">
            <a:xfrm>
              <a:off x="3320" y="1992"/>
              <a:ext cx="132" cy="44"/>
            </a:xfrm>
            <a:custGeom>
              <a:avLst/>
              <a:gdLst>
                <a:gd name="T0" fmla="*/ 0 w 132"/>
                <a:gd name="T1" fmla="*/ 11 h 44"/>
                <a:gd name="T2" fmla="*/ 0 w 132"/>
                <a:gd name="T3" fmla="*/ 11 h 44"/>
                <a:gd name="T4" fmla="*/ 19 w 132"/>
                <a:gd name="T5" fmla="*/ 15 h 44"/>
                <a:gd name="T6" fmla="*/ 7 w 132"/>
                <a:gd name="T7" fmla="*/ 20 h 44"/>
                <a:gd name="T8" fmla="*/ 12 w 132"/>
                <a:gd name="T9" fmla="*/ 24 h 44"/>
                <a:gd name="T10" fmla="*/ 60 w 132"/>
                <a:gd name="T11" fmla="*/ 23 h 44"/>
                <a:gd name="T12" fmla="*/ 30 w 132"/>
                <a:gd name="T13" fmla="*/ 29 h 44"/>
                <a:gd name="T14" fmla="*/ 78 w 132"/>
                <a:gd name="T15" fmla="*/ 43 h 44"/>
                <a:gd name="T16" fmla="*/ 110 w 132"/>
                <a:gd name="T17" fmla="*/ 35 h 44"/>
                <a:gd name="T18" fmla="*/ 131 w 132"/>
                <a:gd name="T19" fmla="*/ 20 h 44"/>
                <a:gd name="T20" fmla="*/ 125 w 132"/>
                <a:gd name="T21" fmla="*/ 12 h 44"/>
                <a:gd name="T22" fmla="*/ 94 w 132"/>
                <a:gd name="T23" fmla="*/ 13 h 44"/>
                <a:gd name="T24" fmla="*/ 99 w 132"/>
                <a:gd name="T25" fmla="*/ 5 h 44"/>
                <a:gd name="T26" fmla="*/ 74 w 132"/>
                <a:gd name="T27" fmla="*/ 13 h 44"/>
                <a:gd name="T28" fmla="*/ 71 w 132"/>
                <a:gd name="T29" fmla="*/ 0 h 44"/>
                <a:gd name="T30" fmla="*/ 65 w 132"/>
                <a:gd name="T31" fmla="*/ 17 h 44"/>
                <a:gd name="T32" fmla="*/ 30 w 132"/>
                <a:gd name="T33" fmla="*/ 0 h 44"/>
                <a:gd name="T34" fmla="*/ 31 w 132"/>
                <a:gd name="T35" fmla="*/ 10 h 44"/>
                <a:gd name="T36" fmla="*/ 20 w 132"/>
                <a:gd name="T37" fmla="*/ 5 h 44"/>
                <a:gd name="T38" fmla="*/ 25 w 132"/>
                <a:gd name="T39" fmla="*/ 15 h 44"/>
                <a:gd name="T40" fmla="*/ 0 w 132"/>
                <a:gd name="T41" fmla="*/ 11 h 44"/>
                <a:gd name="T42" fmla="*/ 0 w 132"/>
                <a:gd name="T43" fmla="*/ 11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2"/>
                <a:gd name="T67" fmla="*/ 0 h 44"/>
                <a:gd name="T68" fmla="*/ 132 w 132"/>
                <a:gd name="T69" fmla="*/ 44 h 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2" h="44">
                  <a:moveTo>
                    <a:pt x="0" y="11"/>
                  </a:moveTo>
                  <a:lnTo>
                    <a:pt x="0" y="11"/>
                  </a:lnTo>
                  <a:lnTo>
                    <a:pt x="19" y="15"/>
                  </a:lnTo>
                  <a:lnTo>
                    <a:pt x="7" y="20"/>
                  </a:lnTo>
                  <a:lnTo>
                    <a:pt x="12" y="24"/>
                  </a:lnTo>
                  <a:lnTo>
                    <a:pt x="60" y="23"/>
                  </a:lnTo>
                  <a:lnTo>
                    <a:pt x="30" y="29"/>
                  </a:lnTo>
                  <a:lnTo>
                    <a:pt x="78" y="43"/>
                  </a:lnTo>
                  <a:lnTo>
                    <a:pt x="110" y="35"/>
                  </a:lnTo>
                  <a:lnTo>
                    <a:pt x="131" y="20"/>
                  </a:lnTo>
                  <a:lnTo>
                    <a:pt x="125" y="12"/>
                  </a:lnTo>
                  <a:lnTo>
                    <a:pt x="94" y="13"/>
                  </a:lnTo>
                  <a:lnTo>
                    <a:pt x="99" y="5"/>
                  </a:lnTo>
                  <a:lnTo>
                    <a:pt x="74" y="13"/>
                  </a:lnTo>
                  <a:lnTo>
                    <a:pt x="71" y="0"/>
                  </a:lnTo>
                  <a:lnTo>
                    <a:pt x="65" y="17"/>
                  </a:lnTo>
                  <a:lnTo>
                    <a:pt x="30" y="0"/>
                  </a:lnTo>
                  <a:lnTo>
                    <a:pt x="31" y="10"/>
                  </a:lnTo>
                  <a:lnTo>
                    <a:pt x="20" y="5"/>
                  </a:lnTo>
                  <a:lnTo>
                    <a:pt x="25" y="15"/>
                  </a:lnTo>
                  <a:lnTo>
                    <a:pt x="0" y="1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5" name="Freeform 690">
              <a:extLst>
                <a:ext uri="{FF2B5EF4-FFF2-40B4-BE49-F238E27FC236}">
                  <a16:creationId xmlns:a16="http://schemas.microsoft.com/office/drawing/2014/main" id="{1C37C82C-03CE-471E-B718-979BA7E7C1F3}"/>
                </a:ext>
              </a:extLst>
            </p:cNvPr>
            <p:cNvSpPr>
              <a:spLocks/>
            </p:cNvSpPr>
            <p:nvPr/>
          </p:nvSpPr>
          <p:spPr bwMode="auto">
            <a:xfrm>
              <a:off x="3365" y="2062"/>
              <a:ext cx="57" cy="29"/>
            </a:xfrm>
            <a:custGeom>
              <a:avLst/>
              <a:gdLst>
                <a:gd name="T0" fmla="*/ 0 w 57"/>
                <a:gd name="T1" fmla="*/ 22 h 29"/>
                <a:gd name="T2" fmla="*/ 0 w 57"/>
                <a:gd name="T3" fmla="*/ 22 h 29"/>
                <a:gd name="T4" fmla="*/ 5 w 57"/>
                <a:gd name="T5" fmla="*/ 8 h 29"/>
                <a:gd name="T6" fmla="*/ 28 w 57"/>
                <a:gd name="T7" fmla="*/ 0 h 29"/>
                <a:gd name="T8" fmla="*/ 32 w 57"/>
                <a:gd name="T9" fmla="*/ 8 h 29"/>
                <a:gd name="T10" fmla="*/ 56 w 57"/>
                <a:gd name="T11" fmla="*/ 14 h 29"/>
                <a:gd name="T12" fmla="*/ 22 w 57"/>
                <a:gd name="T13" fmla="*/ 28 h 29"/>
                <a:gd name="T14" fmla="*/ 28 w 57"/>
                <a:gd name="T15" fmla="*/ 21 h 29"/>
                <a:gd name="T16" fmla="*/ 0 w 57"/>
                <a:gd name="T17" fmla="*/ 22 h 29"/>
                <a:gd name="T18" fmla="*/ 0 w 57"/>
                <a:gd name="T19" fmla="*/ 22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29"/>
                <a:gd name="T32" fmla="*/ 57 w 57"/>
                <a:gd name="T33" fmla="*/ 29 h 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29">
                  <a:moveTo>
                    <a:pt x="0" y="22"/>
                  </a:moveTo>
                  <a:lnTo>
                    <a:pt x="0" y="22"/>
                  </a:lnTo>
                  <a:lnTo>
                    <a:pt x="5" y="8"/>
                  </a:lnTo>
                  <a:lnTo>
                    <a:pt x="28" y="0"/>
                  </a:lnTo>
                  <a:lnTo>
                    <a:pt x="32" y="8"/>
                  </a:lnTo>
                  <a:lnTo>
                    <a:pt x="56" y="14"/>
                  </a:lnTo>
                  <a:lnTo>
                    <a:pt x="22" y="28"/>
                  </a:lnTo>
                  <a:lnTo>
                    <a:pt x="28" y="21"/>
                  </a:lnTo>
                  <a:lnTo>
                    <a:pt x="0" y="2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91" name="Freeform 691">
            <a:extLst>
              <a:ext uri="{FF2B5EF4-FFF2-40B4-BE49-F238E27FC236}">
                <a16:creationId xmlns:a16="http://schemas.microsoft.com/office/drawing/2014/main" id="{D28CFB18-6653-431F-B2ED-C546617D22A4}"/>
              </a:ext>
            </a:extLst>
          </p:cNvPr>
          <p:cNvSpPr>
            <a:spLocks/>
          </p:cNvSpPr>
          <p:nvPr/>
        </p:nvSpPr>
        <p:spPr bwMode="auto">
          <a:xfrm>
            <a:off x="5590490" y="5052543"/>
            <a:ext cx="125561" cy="233907"/>
          </a:xfrm>
          <a:custGeom>
            <a:avLst/>
            <a:gdLst>
              <a:gd name="T0" fmla="*/ 0 w 109"/>
              <a:gd name="T1" fmla="*/ 56982790 h 209"/>
              <a:gd name="T2" fmla="*/ 0 w 109"/>
              <a:gd name="T3" fmla="*/ 56982790 h 209"/>
              <a:gd name="T4" fmla="*/ 10982123 w 109"/>
              <a:gd name="T5" fmla="*/ 29354730 h 209"/>
              <a:gd name="T6" fmla="*/ 56477515 w 109"/>
              <a:gd name="T7" fmla="*/ 0 h 209"/>
              <a:gd name="T8" fmla="*/ 76872341 w 109"/>
              <a:gd name="T9" fmla="*/ 27628059 h 209"/>
              <a:gd name="T10" fmla="*/ 70597203 w 109"/>
              <a:gd name="T11" fmla="*/ 75977484 h 209"/>
              <a:gd name="T12" fmla="*/ 125505307 w 109"/>
              <a:gd name="T13" fmla="*/ 55256119 h 209"/>
              <a:gd name="T14" fmla="*/ 149037702 w 109"/>
              <a:gd name="T15" fmla="*/ 75977484 h 209"/>
              <a:gd name="T16" fmla="*/ 169431313 w 109"/>
              <a:gd name="T17" fmla="*/ 124325605 h 209"/>
              <a:gd name="T18" fmla="*/ 161587978 w 109"/>
              <a:gd name="T19" fmla="*/ 153680325 h 209"/>
              <a:gd name="T20" fmla="*/ 120798327 w 109"/>
              <a:gd name="T21" fmla="*/ 151953654 h 209"/>
              <a:gd name="T22" fmla="*/ 105110482 w 109"/>
              <a:gd name="T23" fmla="*/ 165768336 h 209"/>
              <a:gd name="T24" fmla="*/ 112955031 w 109"/>
              <a:gd name="T25" fmla="*/ 215843148 h 209"/>
              <a:gd name="T26" fmla="*/ 58045674 w 109"/>
              <a:gd name="T27" fmla="*/ 172675061 h 209"/>
              <a:gd name="T28" fmla="*/ 34514522 w 109"/>
              <a:gd name="T29" fmla="*/ 250377881 h 209"/>
              <a:gd name="T30" fmla="*/ 61183243 w 109"/>
              <a:gd name="T31" fmla="*/ 319448661 h 209"/>
              <a:gd name="T32" fmla="*/ 98835344 w 109"/>
              <a:gd name="T33" fmla="*/ 345348807 h 209"/>
              <a:gd name="T34" fmla="*/ 78440499 w 109"/>
              <a:gd name="T35" fmla="*/ 359163489 h 209"/>
              <a:gd name="T36" fmla="*/ 73734772 w 109"/>
              <a:gd name="T37" fmla="*/ 336715370 h 209"/>
              <a:gd name="T38" fmla="*/ 58045674 w 109"/>
              <a:gd name="T39" fmla="*/ 336715370 h 209"/>
              <a:gd name="T40" fmla="*/ 15687850 w 109"/>
              <a:gd name="T41" fmla="*/ 298727295 h 209"/>
              <a:gd name="T42" fmla="*/ 23532404 w 109"/>
              <a:gd name="T43" fmla="*/ 252104552 h 209"/>
              <a:gd name="T44" fmla="*/ 45495397 w 109"/>
              <a:gd name="T45" fmla="*/ 210663135 h 209"/>
              <a:gd name="T46" fmla="*/ 15687850 w 109"/>
              <a:gd name="T47" fmla="*/ 141593628 h 209"/>
              <a:gd name="T48" fmla="*/ 25100562 w 109"/>
              <a:gd name="T49" fmla="*/ 110512237 h 209"/>
              <a:gd name="T50" fmla="*/ 0 w 109"/>
              <a:gd name="T51" fmla="*/ 56982790 h 209"/>
              <a:gd name="T52" fmla="*/ 0 w 109"/>
              <a:gd name="T53" fmla="*/ 56982790 h 20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9"/>
              <a:gd name="T82" fmla="*/ 0 h 209"/>
              <a:gd name="T83" fmla="*/ 109 w 109"/>
              <a:gd name="T84" fmla="*/ 209 h 20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9" h="209">
                <a:moveTo>
                  <a:pt x="0" y="33"/>
                </a:moveTo>
                <a:lnTo>
                  <a:pt x="0" y="33"/>
                </a:lnTo>
                <a:lnTo>
                  <a:pt x="7" y="17"/>
                </a:lnTo>
                <a:lnTo>
                  <a:pt x="36" y="0"/>
                </a:lnTo>
                <a:lnTo>
                  <a:pt x="49" y="16"/>
                </a:lnTo>
                <a:lnTo>
                  <a:pt x="45" y="44"/>
                </a:lnTo>
                <a:lnTo>
                  <a:pt x="80" y="32"/>
                </a:lnTo>
                <a:lnTo>
                  <a:pt x="95" y="44"/>
                </a:lnTo>
                <a:lnTo>
                  <a:pt x="108" y="72"/>
                </a:lnTo>
                <a:lnTo>
                  <a:pt x="103" y="89"/>
                </a:lnTo>
                <a:lnTo>
                  <a:pt x="77" y="88"/>
                </a:lnTo>
                <a:lnTo>
                  <a:pt x="67" y="96"/>
                </a:lnTo>
                <a:lnTo>
                  <a:pt x="72" y="125"/>
                </a:lnTo>
                <a:lnTo>
                  <a:pt x="37" y="100"/>
                </a:lnTo>
                <a:lnTo>
                  <a:pt x="22" y="145"/>
                </a:lnTo>
                <a:lnTo>
                  <a:pt x="39" y="185"/>
                </a:lnTo>
                <a:lnTo>
                  <a:pt x="63" y="200"/>
                </a:lnTo>
                <a:lnTo>
                  <a:pt x="50" y="208"/>
                </a:lnTo>
                <a:lnTo>
                  <a:pt x="47" y="195"/>
                </a:lnTo>
                <a:lnTo>
                  <a:pt x="37" y="195"/>
                </a:lnTo>
                <a:lnTo>
                  <a:pt x="10" y="173"/>
                </a:lnTo>
                <a:lnTo>
                  <a:pt x="15" y="146"/>
                </a:lnTo>
                <a:lnTo>
                  <a:pt x="29" y="122"/>
                </a:lnTo>
                <a:lnTo>
                  <a:pt x="10" y="82"/>
                </a:lnTo>
                <a:lnTo>
                  <a:pt x="16" y="64"/>
                </a:lnTo>
                <a:lnTo>
                  <a:pt x="0" y="3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2" name="Freeform 692">
            <a:extLst>
              <a:ext uri="{FF2B5EF4-FFF2-40B4-BE49-F238E27FC236}">
                <a16:creationId xmlns:a16="http://schemas.microsoft.com/office/drawing/2014/main" id="{9FCD6F56-B8C1-4FC0-863D-8E71A8CB23AB}"/>
              </a:ext>
            </a:extLst>
          </p:cNvPr>
          <p:cNvSpPr>
            <a:spLocks/>
          </p:cNvSpPr>
          <p:nvPr/>
        </p:nvSpPr>
        <p:spPr bwMode="auto">
          <a:xfrm>
            <a:off x="4473580" y="4694249"/>
            <a:ext cx="290543" cy="109515"/>
          </a:xfrm>
          <a:custGeom>
            <a:avLst/>
            <a:gdLst>
              <a:gd name="T0" fmla="*/ 0 w 252"/>
              <a:gd name="T1" fmla="*/ 55671680 h 99"/>
              <a:gd name="T2" fmla="*/ 0 w 252"/>
              <a:gd name="T3" fmla="*/ 55671680 h 99"/>
              <a:gd name="T4" fmla="*/ 17287462 w 252"/>
              <a:gd name="T5" fmla="*/ 97848223 h 99"/>
              <a:gd name="T6" fmla="*/ 1572043 w 252"/>
              <a:gd name="T7" fmla="*/ 102908575 h 99"/>
              <a:gd name="T8" fmla="*/ 17287462 w 252"/>
              <a:gd name="T9" fmla="*/ 109657442 h 99"/>
              <a:gd name="T10" fmla="*/ 23573131 w 252"/>
              <a:gd name="T11" fmla="*/ 136650313 h 99"/>
              <a:gd name="T12" fmla="*/ 45575473 w 252"/>
              <a:gd name="T13" fmla="*/ 133275879 h 99"/>
              <a:gd name="T14" fmla="*/ 23573131 w 252"/>
              <a:gd name="T15" fmla="*/ 145085098 h 99"/>
              <a:gd name="T16" fmla="*/ 48718305 w 252"/>
              <a:gd name="T17" fmla="*/ 140023447 h 99"/>
              <a:gd name="T18" fmla="*/ 75435513 w 252"/>
              <a:gd name="T19" fmla="*/ 156894316 h 99"/>
              <a:gd name="T20" fmla="*/ 100580697 w 252"/>
              <a:gd name="T21" fmla="*/ 138336230 h 99"/>
              <a:gd name="T22" fmla="*/ 139869232 w 252"/>
              <a:gd name="T23" fmla="*/ 161954668 h 99"/>
              <a:gd name="T24" fmla="*/ 207447058 w 252"/>
              <a:gd name="T25" fmla="*/ 138336230 h 99"/>
              <a:gd name="T26" fmla="*/ 205876268 w 252"/>
              <a:gd name="T27" fmla="*/ 165329101 h 99"/>
              <a:gd name="T28" fmla="*/ 218448850 w 252"/>
              <a:gd name="T29" fmla="*/ 138336230 h 99"/>
              <a:gd name="T30" fmla="*/ 347317583 w 252"/>
              <a:gd name="T31" fmla="*/ 133275879 h 99"/>
              <a:gd name="T32" fmla="*/ 394463826 w 252"/>
              <a:gd name="T33" fmla="*/ 129901445 h 99"/>
              <a:gd name="T34" fmla="*/ 380320454 w 252"/>
              <a:gd name="T35" fmla="*/ 72542549 h 99"/>
              <a:gd name="T36" fmla="*/ 391320994 w 252"/>
              <a:gd name="T37" fmla="*/ 60733330 h 99"/>
              <a:gd name="T38" fmla="*/ 350460415 w 252"/>
              <a:gd name="T39" fmla="*/ 11809224 h 99"/>
              <a:gd name="T40" fmla="*/ 323743129 w 252"/>
              <a:gd name="T41" fmla="*/ 11809224 h 99"/>
              <a:gd name="T42" fmla="*/ 253022511 w 252"/>
              <a:gd name="T43" fmla="*/ 32053232 h 99"/>
              <a:gd name="T44" fmla="*/ 190159600 w 252"/>
              <a:gd name="T45" fmla="*/ 0 h 99"/>
              <a:gd name="T46" fmla="*/ 150871025 w 252"/>
              <a:gd name="T47" fmla="*/ 1687217 h 99"/>
              <a:gd name="T48" fmla="*/ 102152740 w 252"/>
              <a:gd name="T49" fmla="*/ 30366016 h 99"/>
              <a:gd name="T50" fmla="*/ 61290888 w 252"/>
              <a:gd name="T51" fmla="*/ 21931231 h 99"/>
              <a:gd name="T52" fmla="*/ 73863470 w 252"/>
              <a:gd name="T53" fmla="*/ 37114883 h 99"/>
              <a:gd name="T54" fmla="*/ 0 w 252"/>
              <a:gd name="T55" fmla="*/ 55671680 h 99"/>
              <a:gd name="T56" fmla="*/ 0 w 252"/>
              <a:gd name="T57" fmla="*/ 55671680 h 9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52"/>
              <a:gd name="T88" fmla="*/ 0 h 99"/>
              <a:gd name="T89" fmla="*/ 252 w 252"/>
              <a:gd name="T90" fmla="*/ 99 h 9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52" h="99">
                <a:moveTo>
                  <a:pt x="0" y="33"/>
                </a:moveTo>
                <a:lnTo>
                  <a:pt x="0" y="33"/>
                </a:lnTo>
                <a:lnTo>
                  <a:pt x="11" y="58"/>
                </a:lnTo>
                <a:lnTo>
                  <a:pt x="1" y="61"/>
                </a:lnTo>
                <a:lnTo>
                  <a:pt x="11" y="65"/>
                </a:lnTo>
                <a:lnTo>
                  <a:pt x="15" y="81"/>
                </a:lnTo>
                <a:lnTo>
                  <a:pt x="29" y="79"/>
                </a:lnTo>
                <a:lnTo>
                  <a:pt x="15" y="86"/>
                </a:lnTo>
                <a:lnTo>
                  <a:pt x="31" y="83"/>
                </a:lnTo>
                <a:lnTo>
                  <a:pt x="48" y="93"/>
                </a:lnTo>
                <a:lnTo>
                  <a:pt x="64" y="82"/>
                </a:lnTo>
                <a:lnTo>
                  <a:pt x="89" y="96"/>
                </a:lnTo>
                <a:lnTo>
                  <a:pt x="132" y="82"/>
                </a:lnTo>
                <a:lnTo>
                  <a:pt x="131" y="98"/>
                </a:lnTo>
                <a:lnTo>
                  <a:pt x="139" y="82"/>
                </a:lnTo>
                <a:lnTo>
                  <a:pt x="221" y="79"/>
                </a:lnTo>
                <a:lnTo>
                  <a:pt x="251" y="77"/>
                </a:lnTo>
                <a:lnTo>
                  <a:pt x="242" y="43"/>
                </a:lnTo>
                <a:lnTo>
                  <a:pt x="249" y="36"/>
                </a:lnTo>
                <a:lnTo>
                  <a:pt x="223" y="7"/>
                </a:lnTo>
                <a:lnTo>
                  <a:pt x="206" y="7"/>
                </a:lnTo>
                <a:lnTo>
                  <a:pt x="161" y="19"/>
                </a:lnTo>
                <a:lnTo>
                  <a:pt x="121" y="0"/>
                </a:lnTo>
                <a:lnTo>
                  <a:pt x="96" y="1"/>
                </a:lnTo>
                <a:lnTo>
                  <a:pt x="65" y="18"/>
                </a:lnTo>
                <a:lnTo>
                  <a:pt x="39" y="13"/>
                </a:lnTo>
                <a:lnTo>
                  <a:pt x="47" y="22"/>
                </a:lnTo>
                <a:lnTo>
                  <a:pt x="0" y="3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3" name="Freeform 693">
            <a:extLst>
              <a:ext uri="{FF2B5EF4-FFF2-40B4-BE49-F238E27FC236}">
                <a16:creationId xmlns:a16="http://schemas.microsoft.com/office/drawing/2014/main" id="{29F54C2A-36D0-421A-9230-E5196D9A16CB}"/>
              </a:ext>
            </a:extLst>
          </p:cNvPr>
          <p:cNvSpPr>
            <a:spLocks/>
          </p:cNvSpPr>
          <p:nvPr/>
        </p:nvSpPr>
        <p:spPr bwMode="auto">
          <a:xfrm>
            <a:off x="1433835" y="4054726"/>
            <a:ext cx="465745" cy="393448"/>
          </a:xfrm>
          <a:custGeom>
            <a:avLst/>
            <a:gdLst>
              <a:gd name="T0" fmla="*/ 0 w 408"/>
              <a:gd name="T1" fmla="*/ 228607924 h 355"/>
              <a:gd name="T2" fmla="*/ 24649159 w 408"/>
              <a:gd name="T3" fmla="*/ 243848794 h 355"/>
              <a:gd name="T4" fmla="*/ 103220134 w 408"/>
              <a:gd name="T5" fmla="*/ 264168652 h 355"/>
              <a:gd name="T6" fmla="*/ 152519673 w 408"/>
              <a:gd name="T7" fmla="*/ 260782660 h 355"/>
              <a:gd name="T8" fmla="*/ 146357076 w 408"/>
              <a:gd name="T9" fmla="*/ 304810972 h 355"/>
              <a:gd name="T10" fmla="*/ 38514693 w 408"/>
              <a:gd name="T11" fmla="*/ 379319803 h 355"/>
              <a:gd name="T12" fmla="*/ 43136961 w 408"/>
              <a:gd name="T13" fmla="*/ 382707097 h 355"/>
              <a:gd name="T14" fmla="*/ 90894939 w 408"/>
              <a:gd name="T15" fmla="*/ 401333959 h 355"/>
              <a:gd name="T16" fmla="*/ 87814261 w 408"/>
              <a:gd name="T17" fmla="*/ 440281982 h 355"/>
              <a:gd name="T18" fmla="*/ 137113800 w 408"/>
              <a:gd name="T19" fmla="*/ 401333959 h 355"/>
              <a:gd name="T20" fmla="*/ 134031881 w 408"/>
              <a:gd name="T21" fmla="*/ 460603141 h 355"/>
              <a:gd name="T22" fmla="*/ 164843666 w 408"/>
              <a:gd name="T23" fmla="*/ 453829855 h 355"/>
              <a:gd name="T24" fmla="*/ 198737332 w 408"/>
              <a:gd name="T25" fmla="*/ 465683431 h 355"/>
              <a:gd name="T26" fmla="*/ 237252015 w 408"/>
              <a:gd name="T27" fmla="*/ 462296138 h 355"/>
              <a:gd name="T28" fmla="*/ 164843666 w 408"/>
              <a:gd name="T29" fmla="*/ 552045758 h 355"/>
              <a:gd name="T30" fmla="*/ 124788605 w 408"/>
              <a:gd name="T31" fmla="*/ 568979624 h 355"/>
              <a:gd name="T32" fmla="*/ 134031881 w 408"/>
              <a:gd name="T33" fmla="*/ 577447208 h 355"/>
              <a:gd name="T34" fmla="*/ 197196993 w 408"/>
              <a:gd name="T35" fmla="*/ 558819044 h 355"/>
              <a:gd name="T36" fmla="*/ 212602866 w 408"/>
              <a:gd name="T37" fmla="*/ 546965468 h 355"/>
              <a:gd name="T38" fmla="*/ 306578444 w 408"/>
              <a:gd name="T39" fmla="*/ 469069424 h 355"/>
              <a:gd name="T40" fmla="*/ 360500319 w 408"/>
              <a:gd name="T41" fmla="*/ 384400093 h 355"/>
              <a:gd name="T42" fmla="*/ 363580997 w 408"/>
              <a:gd name="T43" fmla="*/ 384400093 h 355"/>
              <a:gd name="T44" fmla="*/ 375906192 w 408"/>
              <a:gd name="T45" fmla="*/ 392867677 h 355"/>
              <a:gd name="T46" fmla="*/ 348175124 w 408"/>
              <a:gd name="T47" fmla="*/ 404721253 h 355"/>
              <a:gd name="T48" fmla="*/ 357418400 w 408"/>
              <a:gd name="T49" fmla="*/ 436895989 h 355"/>
              <a:gd name="T50" fmla="*/ 406717939 w 408"/>
              <a:gd name="T51" fmla="*/ 430121402 h 355"/>
              <a:gd name="T52" fmla="*/ 406717939 w 408"/>
              <a:gd name="T53" fmla="*/ 403026956 h 355"/>
              <a:gd name="T54" fmla="*/ 419043134 w 408"/>
              <a:gd name="T55" fmla="*/ 399640963 h 355"/>
              <a:gd name="T56" fmla="*/ 445232622 w 408"/>
              <a:gd name="T57" fmla="*/ 406414249 h 355"/>
              <a:gd name="T58" fmla="*/ 582346383 w 408"/>
              <a:gd name="T59" fmla="*/ 440281982 h 355"/>
              <a:gd name="T60" fmla="*/ 606995532 w 408"/>
              <a:gd name="T61" fmla="*/ 433508695 h 355"/>
              <a:gd name="T62" fmla="*/ 616238808 w 408"/>
              <a:gd name="T63" fmla="*/ 460603141 h 355"/>
              <a:gd name="T64" fmla="*/ 606995532 w 408"/>
              <a:gd name="T65" fmla="*/ 421655119 h 355"/>
              <a:gd name="T66" fmla="*/ 566940510 w 408"/>
              <a:gd name="T67" fmla="*/ 67735485 h 355"/>
              <a:gd name="T68" fmla="*/ 332769251 w 408"/>
              <a:gd name="T69" fmla="*/ 22014166 h 355"/>
              <a:gd name="T70" fmla="*/ 264983083 w 408"/>
              <a:gd name="T71" fmla="*/ 25401460 h 355"/>
              <a:gd name="T72" fmla="*/ 263442744 w 408"/>
              <a:gd name="T73" fmla="*/ 8467586 h 355"/>
              <a:gd name="T74" fmla="*/ 212602866 w 408"/>
              <a:gd name="T75" fmla="*/ 22014166 h 355"/>
              <a:gd name="T76" fmla="*/ 171006263 w 408"/>
              <a:gd name="T77" fmla="*/ 45721329 h 355"/>
              <a:gd name="T78" fmla="*/ 127869283 w 408"/>
              <a:gd name="T79" fmla="*/ 44028332 h 355"/>
              <a:gd name="T80" fmla="*/ 117085668 w 408"/>
              <a:gd name="T81" fmla="*/ 55881908 h 355"/>
              <a:gd name="T82" fmla="*/ 38514693 w 408"/>
              <a:gd name="T83" fmla="*/ 103297535 h 355"/>
              <a:gd name="T84" fmla="*/ 24649159 w 408"/>
              <a:gd name="T85" fmla="*/ 121924397 h 355"/>
              <a:gd name="T86" fmla="*/ 180249539 w 408"/>
              <a:gd name="T87" fmla="*/ 194740192 h 355"/>
              <a:gd name="T88" fmla="*/ 127869283 w 408"/>
              <a:gd name="T89" fmla="*/ 203206474 h 355"/>
              <a:gd name="T90" fmla="*/ 130951202 w 408"/>
              <a:gd name="T91" fmla="*/ 213367054 h 355"/>
              <a:gd name="T92" fmla="*/ 90894939 w 408"/>
              <a:gd name="T93" fmla="*/ 189659902 h 355"/>
              <a:gd name="T94" fmla="*/ 0 w 408"/>
              <a:gd name="T95" fmla="*/ 228607924 h 3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08"/>
              <a:gd name="T145" fmla="*/ 0 h 355"/>
              <a:gd name="T146" fmla="*/ 408 w 408"/>
              <a:gd name="T147" fmla="*/ 355 h 3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08" h="355">
                <a:moveTo>
                  <a:pt x="0" y="135"/>
                </a:moveTo>
                <a:lnTo>
                  <a:pt x="0" y="135"/>
                </a:lnTo>
                <a:lnTo>
                  <a:pt x="26" y="142"/>
                </a:lnTo>
                <a:lnTo>
                  <a:pt x="16" y="144"/>
                </a:lnTo>
                <a:lnTo>
                  <a:pt x="27" y="157"/>
                </a:lnTo>
                <a:lnTo>
                  <a:pt x="67" y="156"/>
                </a:lnTo>
                <a:lnTo>
                  <a:pt x="73" y="165"/>
                </a:lnTo>
                <a:lnTo>
                  <a:pt x="99" y="154"/>
                </a:lnTo>
                <a:lnTo>
                  <a:pt x="90" y="159"/>
                </a:lnTo>
                <a:lnTo>
                  <a:pt x="95" y="180"/>
                </a:lnTo>
                <a:lnTo>
                  <a:pt x="40" y="201"/>
                </a:lnTo>
                <a:lnTo>
                  <a:pt x="25" y="224"/>
                </a:lnTo>
                <a:lnTo>
                  <a:pt x="38" y="220"/>
                </a:lnTo>
                <a:lnTo>
                  <a:pt x="28" y="226"/>
                </a:lnTo>
                <a:lnTo>
                  <a:pt x="38" y="234"/>
                </a:lnTo>
                <a:lnTo>
                  <a:pt x="59" y="237"/>
                </a:lnTo>
                <a:lnTo>
                  <a:pt x="47" y="249"/>
                </a:lnTo>
                <a:lnTo>
                  <a:pt x="57" y="260"/>
                </a:lnTo>
                <a:lnTo>
                  <a:pt x="67" y="261"/>
                </a:lnTo>
                <a:lnTo>
                  <a:pt x="89" y="237"/>
                </a:lnTo>
                <a:lnTo>
                  <a:pt x="76" y="249"/>
                </a:lnTo>
                <a:lnTo>
                  <a:pt x="87" y="272"/>
                </a:lnTo>
                <a:lnTo>
                  <a:pt x="81" y="282"/>
                </a:lnTo>
                <a:lnTo>
                  <a:pt x="107" y="268"/>
                </a:lnTo>
                <a:lnTo>
                  <a:pt x="124" y="285"/>
                </a:lnTo>
                <a:lnTo>
                  <a:pt x="129" y="275"/>
                </a:lnTo>
                <a:lnTo>
                  <a:pt x="135" y="282"/>
                </a:lnTo>
                <a:lnTo>
                  <a:pt x="154" y="273"/>
                </a:lnTo>
                <a:lnTo>
                  <a:pt x="127" y="317"/>
                </a:lnTo>
                <a:lnTo>
                  <a:pt x="107" y="326"/>
                </a:lnTo>
                <a:lnTo>
                  <a:pt x="107" y="335"/>
                </a:lnTo>
                <a:lnTo>
                  <a:pt x="81" y="336"/>
                </a:lnTo>
                <a:lnTo>
                  <a:pt x="63" y="354"/>
                </a:lnTo>
                <a:lnTo>
                  <a:pt x="87" y="341"/>
                </a:lnTo>
                <a:lnTo>
                  <a:pt x="113" y="341"/>
                </a:lnTo>
                <a:lnTo>
                  <a:pt x="128" y="330"/>
                </a:lnTo>
                <a:lnTo>
                  <a:pt x="121" y="321"/>
                </a:lnTo>
                <a:lnTo>
                  <a:pt x="138" y="323"/>
                </a:lnTo>
                <a:lnTo>
                  <a:pt x="189" y="290"/>
                </a:lnTo>
                <a:lnTo>
                  <a:pt x="199" y="277"/>
                </a:lnTo>
                <a:lnTo>
                  <a:pt x="190" y="268"/>
                </a:lnTo>
                <a:lnTo>
                  <a:pt x="234" y="227"/>
                </a:lnTo>
                <a:lnTo>
                  <a:pt x="241" y="207"/>
                </a:lnTo>
                <a:lnTo>
                  <a:pt x="236" y="227"/>
                </a:lnTo>
                <a:lnTo>
                  <a:pt x="254" y="223"/>
                </a:lnTo>
                <a:lnTo>
                  <a:pt x="244" y="232"/>
                </a:lnTo>
                <a:lnTo>
                  <a:pt x="259" y="236"/>
                </a:lnTo>
                <a:lnTo>
                  <a:pt x="226" y="239"/>
                </a:lnTo>
                <a:lnTo>
                  <a:pt x="220" y="258"/>
                </a:lnTo>
                <a:lnTo>
                  <a:pt x="232" y="258"/>
                </a:lnTo>
                <a:lnTo>
                  <a:pt x="221" y="271"/>
                </a:lnTo>
                <a:lnTo>
                  <a:pt x="264" y="254"/>
                </a:lnTo>
                <a:lnTo>
                  <a:pt x="270" y="243"/>
                </a:lnTo>
                <a:lnTo>
                  <a:pt x="264" y="238"/>
                </a:lnTo>
                <a:lnTo>
                  <a:pt x="274" y="228"/>
                </a:lnTo>
                <a:lnTo>
                  <a:pt x="272" y="236"/>
                </a:lnTo>
                <a:lnTo>
                  <a:pt x="294" y="231"/>
                </a:lnTo>
                <a:lnTo>
                  <a:pt x="289" y="240"/>
                </a:lnTo>
                <a:lnTo>
                  <a:pt x="325" y="254"/>
                </a:lnTo>
                <a:lnTo>
                  <a:pt x="378" y="260"/>
                </a:lnTo>
                <a:lnTo>
                  <a:pt x="387" y="252"/>
                </a:lnTo>
                <a:lnTo>
                  <a:pt x="394" y="256"/>
                </a:lnTo>
                <a:lnTo>
                  <a:pt x="385" y="264"/>
                </a:lnTo>
                <a:lnTo>
                  <a:pt x="400" y="272"/>
                </a:lnTo>
                <a:lnTo>
                  <a:pt x="407" y="266"/>
                </a:lnTo>
                <a:lnTo>
                  <a:pt x="394" y="249"/>
                </a:lnTo>
                <a:lnTo>
                  <a:pt x="368" y="249"/>
                </a:lnTo>
                <a:lnTo>
                  <a:pt x="368" y="40"/>
                </a:lnTo>
                <a:lnTo>
                  <a:pt x="222" y="23"/>
                </a:lnTo>
                <a:lnTo>
                  <a:pt x="216" y="13"/>
                </a:lnTo>
                <a:lnTo>
                  <a:pt x="176" y="6"/>
                </a:lnTo>
                <a:lnTo>
                  <a:pt x="172" y="15"/>
                </a:lnTo>
                <a:lnTo>
                  <a:pt x="160" y="12"/>
                </a:lnTo>
                <a:lnTo>
                  <a:pt x="171" y="5"/>
                </a:lnTo>
                <a:lnTo>
                  <a:pt x="154" y="0"/>
                </a:lnTo>
                <a:lnTo>
                  <a:pt x="138" y="13"/>
                </a:lnTo>
                <a:lnTo>
                  <a:pt x="112" y="15"/>
                </a:lnTo>
                <a:lnTo>
                  <a:pt x="111" y="27"/>
                </a:lnTo>
                <a:lnTo>
                  <a:pt x="108" y="20"/>
                </a:lnTo>
                <a:lnTo>
                  <a:pt x="83" y="26"/>
                </a:lnTo>
                <a:lnTo>
                  <a:pt x="87" y="36"/>
                </a:lnTo>
                <a:lnTo>
                  <a:pt x="76" y="33"/>
                </a:lnTo>
                <a:lnTo>
                  <a:pt x="61" y="53"/>
                </a:lnTo>
                <a:lnTo>
                  <a:pt x="25" y="61"/>
                </a:lnTo>
                <a:lnTo>
                  <a:pt x="27" y="70"/>
                </a:lnTo>
                <a:lnTo>
                  <a:pt x="16" y="72"/>
                </a:lnTo>
                <a:lnTo>
                  <a:pt x="59" y="101"/>
                </a:lnTo>
                <a:lnTo>
                  <a:pt x="117" y="115"/>
                </a:lnTo>
                <a:lnTo>
                  <a:pt x="81" y="111"/>
                </a:lnTo>
                <a:lnTo>
                  <a:pt x="83" y="120"/>
                </a:lnTo>
                <a:lnTo>
                  <a:pt x="97" y="120"/>
                </a:lnTo>
                <a:lnTo>
                  <a:pt x="85" y="126"/>
                </a:lnTo>
                <a:lnTo>
                  <a:pt x="59" y="125"/>
                </a:lnTo>
                <a:lnTo>
                  <a:pt x="59" y="112"/>
                </a:lnTo>
                <a:lnTo>
                  <a:pt x="46" y="114"/>
                </a:lnTo>
                <a:lnTo>
                  <a:pt x="0" y="13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4" name="Freeform 694">
            <a:extLst>
              <a:ext uri="{FF2B5EF4-FFF2-40B4-BE49-F238E27FC236}">
                <a16:creationId xmlns:a16="http://schemas.microsoft.com/office/drawing/2014/main" id="{C0445C87-6890-4F17-8D40-1619FBDB78C2}"/>
              </a:ext>
            </a:extLst>
          </p:cNvPr>
          <p:cNvSpPr>
            <a:spLocks/>
          </p:cNvSpPr>
          <p:nvPr/>
        </p:nvSpPr>
        <p:spPr bwMode="auto">
          <a:xfrm>
            <a:off x="1639698" y="4384628"/>
            <a:ext cx="40881" cy="24337"/>
          </a:xfrm>
          <a:custGeom>
            <a:avLst/>
            <a:gdLst>
              <a:gd name="T0" fmla="*/ 0 w 36"/>
              <a:gd name="T1" fmla="*/ 15183716 h 22"/>
              <a:gd name="T2" fmla="*/ 0 w 36"/>
              <a:gd name="T3" fmla="*/ 15183716 h 22"/>
              <a:gd name="T4" fmla="*/ 15245114 w 36"/>
              <a:gd name="T5" fmla="*/ 35427802 h 22"/>
              <a:gd name="T6" fmla="*/ 53358518 w 36"/>
              <a:gd name="T7" fmla="*/ 6747597 h 22"/>
              <a:gd name="T8" fmla="*/ 16769995 w 36"/>
              <a:gd name="T9" fmla="*/ 0 h 22"/>
              <a:gd name="T10" fmla="*/ 21343409 w 36"/>
              <a:gd name="T11" fmla="*/ 13496492 h 22"/>
              <a:gd name="T12" fmla="*/ 0 w 36"/>
              <a:gd name="T13" fmla="*/ 15183716 h 22"/>
              <a:gd name="T14" fmla="*/ 0 w 36"/>
              <a:gd name="T15" fmla="*/ 15183716 h 22"/>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2"/>
              <a:gd name="T26" fmla="*/ 36 w 3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2">
                <a:moveTo>
                  <a:pt x="0" y="9"/>
                </a:moveTo>
                <a:lnTo>
                  <a:pt x="0" y="9"/>
                </a:lnTo>
                <a:lnTo>
                  <a:pt x="10" y="21"/>
                </a:lnTo>
                <a:lnTo>
                  <a:pt x="35" y="4"/>
                </a:lnTo>
                <a:lnTo>
                  <a:pt x="11" y="0"/>
                </a:lnTo>
                <a:lnTo>
                  <a:pt x="14" y="8"/>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5" name="Freeform 695">
            <a:extLst>
              <a:ext uri="{FF2B5EF4-FFF2-40B4-BE49-F238E27FC236}">
                <a16:creationId xmlns:a16="http://schemas.microsoft.com/office/drawing/2014/main" id="{1F6DB845-3BA5-4D76-BC5C-6C9E21073F43}"/>
              </a:ext>
            </a:extLst>
          </p:cNvPr>
          <p:cNvSpPr>
            <a:spLocks/>
          </p:cNvSpPr>
          <p:nvPr/>
        </p:nvSpPr>
        <p:spPr bwMode="auto">
          <a:xfrm>
            <a:off x="1899579" y="4340011"/>
            <a:ext cx="128481" cy="110869"/>
          </a:xfrm>
          <a:custGeom>
            <a:avLst/>
            <a:gdLst>
              <a:gd name="T0" fmla="*/ 0 w 110"/>
              <a:gd name="T1" fmla="*/ 17289607 h 99"/>
              <a:gd name="T2" fmla="*/ 0 w 110"/>
              <a:gd name="T3" fmla="*/ 17289607 h 99"/>
              <a:gd name="T4" fmla="*/ 6451601 w 110"/>
              <a:gd name="T5" fmla="*/ 41495580 h 99"/>
              <a:gd name="T6" fmla="*/ 30645101 w 110"/>
              <a:gd name="T7" fmla="*/ 51868825 h 99"/>
              <a:gd name="T8" fmla="*/ 41935408 w 110"/>
              <a:gd name="T9" fmla="*/ 43223367 h 99"/>
              <a:gd name="T10" fmla="*/ 20967704 w 110"/>
              <a:gd name="T11" fmla="*/ 31121030 h 99"/>
              <a:gd name="T12" fmla="*/ 41935408 w 110"/>
              <a:gd name="T13" fmla="*/ 31121030 h 99"/>
              <a:gd name="T14" fmla="*/ 59677303 w 110"/>
              <a:gd name="T15" fmla="*/ 51868825 h 99"/>
              <a:gd name="T16" fmla="*/ 54838605 w 110"/>
              <a:gd name="T17" fmla="*/ 15560515 h 99"/>
              <a:gd name="T18" fmla="*/ 69354701 w 110"/>
              <a:gd name="T19" fmla="*/ 48410642 h 99"/>
              <a:gd name="T20" fmla="*/ 106451410 w 110"/>
              <a:gd name="T21" fmla="*/ 67429335 h 99"/>
              <a:gd name="T22" fmla="*/ 99999812 w 110"/>
              <a:gd name="T23" fmla="*/ 89906232 h 99"/>
              <a:gd name="T24" fmla="*/ 141935200 w 110"/>
              <a:gd name="T25" fmla="*/ 119298160 h 99"/>
              <a:gd name="T26" fmla="*/ 130644903 w 110"/>
              <a:gd name="T27" fmla="*/ 143504128 h 99"/>
              <a:gd name="T28" fmla="*/ 153225497 w 110"/>
              <a:gd name="T29" fmla="*/ 124485435 h 99"/>
              <a:gd name="T30" fmla="*/ 156451296 w 110"/>
              <a:gd name="T31" fmla="*/ 169437873 h 99"/>
              <a:gd name="T32" fmla="*/ 174193231 w 110"/>
              <a:gd name="T33" fmla="*/ 160793729 h 99"/>
              <a:gd name="T34" fmla="*/ 175806131 w 110"/>
              <a:gd name="T35" fmla="*/ 127943618 h 99"/>
              <a:gd name="T36" fmla="*/ 133870703 w 110"/>
              <a:gd name="T37" fmla="*/ 108924925 h 99"/>
              <a:gd name="T38" fmla="*/ 56451504 w 110"/>
              <a:gd name="T39" fmla="*/ 0 h 99"/>
              <a:gd name="T40" fmla="*/ 11290302 w 110"/>
              <a:gd name="T41" fmla="*/ 31121030 h 99"/>
              <a:gd name="T42" fmla="*/ 0 w 110"/>
              <a:gd name="T43" fmla="*/ 17289607 h 99"/>
              <a:gd name="T44" fmla="*/ 0 w 110"/>
              <a:gd name="T45" fmla="*/ 1728960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0"/>
              <a:gd name="T70" fmla="*/ 0 h 99"/>
              <a:gd name="T71" fmla="*/ 110 w 110"/>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0" h="99">
                <a:moveTo>
                  <a:pt x="0" y="10"/>
                </a:moveTo>
                <a:lnTo>
                  <a:pt x="0" y="10"/>
                </a:lnTo>
                <a:lnTo>
                  <a:pt x="4" y="24"/>
                </a:lnTo>
                <a:lnTo>
                  <a:pt x="19" y="30"/>
                </a:lnTo>
                <a:lnTo>
                  <a:pt x="26" y="25"/>
                </a:lnTo>
                <a:lnTo>
                  <a:pt x="13" y="18"/>
                </a:lnTo>
                <a:lnTo>
                  <a:pt x="26" y="18"/>
                </a:lnTo>
                <a:lnTo>
                  <a:pt x="37" y="30"/>
                </a:lnTo>
                <a:lnTo>
                  <a:pt x="34" y="9"/>
                </a:lnTo>
                <a:lnTo>
                  <a:pt x="43" y="28"/>
                </a:lnTo>
                <a:lnTo>
                  <a:pt x="66" y="39"/>
                </a:lnTo>
                <a:lnTo>
                  <a:pt x="62" y="52"/>
                </a:lnTo>
                <a:lnTo>
                  <a:pt x="88" y="69"/>
                </a:lnTo>
                <a:lnTo>
                  <a:pt x="81" y="83"/>
                </a:lnTo>
                <a:lnTo>
                  <a:pt x="95" y="72"/>
                </a:lnTo>
                <a:lnTo>
                  <a:pt x="97" y="98"/>
                </a:lnTo>
                <a:lnTo>
                  <a:pt x="108" y="93"/>
                </a:lnTo>
                <a:lnTo>
                  <a:pt x="109" y="74"/>
                </a:lnTo>
                <a:lnTo>
                  <a:pt x="83" y="63"/>
                </a:lnTo>
                <a:lnTo>
                  <a:pt x="35" y="0"/>
                </a:lnTo>
                <a:lnTo>
                  <a:pt x="7" y="18"/>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6" name="Freeform 696">
            <a:extLst>
              <a:ext uri="{FF2B5EF4-FFF2-40B4-BE49-F238E27FC236}">
                <a16:creationId xmlns:a16="http://schemas.microsoft.com/office/drawing/2014/main" id="{C5C31C86-8CBA-4C46-B3DE-65A8CCD3267C}"/>
              </a:ext>
            </a:extLst>
          </p:cNvPr>
          <p:cNvSpPr>
            <a:spLocks/>
          </p:cNvSpPr>
          <p:nvPr/>
        </p:nvSpPr>
        <p:spPr bwMode="auto">
          <a:xfrm>
            <a:off x="1928779" y="4376515"/>
            <a:ext cx="23360" cy="18928"/>
          </a:xfrm>
          <a:custGeom>
            <a:avLst/>
            <a:gdLst>
              <a:gd name="T0" fmla="*/ 0 w 20"/>
              <a:gd name="T1" fmla="*/ 0 h 16"/>
              <a:gd name="T2" fmla="*/ 0 w 20"/>
              <a:gd name="T3" fmla="*/ 0 h 16"/>
              <a:gd name="T4" fmla="*/ 9677399 w 20"/>
              <a:gd name="T5" fmla="*/ 28942503 h 16"/>
              <a:gd name="T6" fmla="*/ 11290301 w 20"/>
              <a:gd name="T7" fmla="*/ 13505854 h 16"/>
              <a:gd name="T8" fmla="*/ 30645098 w 20"/>
              <a:gd name="T9" fmla="*/ 27013096 h 16"/>
              <a:gd name="T10" fmla="*/ 12903200 w 20"/>
              <a:gd name="T11" fmla="*/ 13505854 h 16"/>
              <a:gd name="T12" fmla="*/ 29032199 w 20"/>
              <a:gd name="T13" fmla="*/ 3858815 h 16"/>
              <a:gd name="T14" fmla="*/ 0 w 20"/>
              <a:gd name="T15" fmla="*/ 0 h 16"/>
              <a:gd name="T16" fmla="*/ 0 w 20"/>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6"/>
              <a:gd name="T29" fmla="*/ 20 w 20"/>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6">
                <a:moveTo>
                  <a:pt x="0" y="0"/>
                </a:moveTo>
                <a:lnTo>
                  <a:pt x="0" y="0"/>
                </a:lnTo>
                <a:lnTo>
                  <a:pt x="6" y="15"/>
                </a:lnTo>
                <a:lnTo>
                  <a:pt x="7" y="7"/>
                </a:lnTo>
                <a:lnTo>
                  <a:pt x="19" y="14"/>
                </a:lnTo>
                <a:lnTo>
                  <a:pt x="8" y="7"/>
                </a:lnTo>
                <a:lnTo>
                  <a:pt x="18" y="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7" name="Freeform 697">
            <a:extLst>
              <a:ext uri="{FF2B5EF4-FFF2-40B4-BE49-F238E27FC236}">
                <a16:creationId xmlns:a16="http://schemas.microsoft.com/office/drawing/2014/main" id="{CE67ACDE-6CFE-4F6E-ADB6-E5D8AF8B1F9B}"/>
              </a:ext>
            </a:extLst>
          </p:cNvPr>
          <p:cNvSpPr>
            <a:spLocks/>
          </p:cNvSpPr>
          <p:nvPr/>
        </p:nvSpPr>
        <p:spPr bwMode="auto">
          <a:xfrm>
            <a:off x="1937539" y="4391389"/>
            <a:ext cx="14600" cy="28393"/>
          </a:xfrm>
          <a:custGeom>
            <a:avLst/>
            <a:gdLst>
              <a:gd name="T0" fmla="*/ 0 w 12"/>
              <a:gd name="T1" fmla="*/ 0 h 25"/>
              <a:gd name="T2" fmla="*/ 0 w 12"/>
              <a:gd name="T3" fmla="*/ 0 h 25"/>
              <a:gd name="T4" fmla="*/ 17500864 w 12"/>
              <a:gd name="T5" fmla="*/ 7112783 h 25"/>
              <a:gd name="T6" fmla="*/ 19251082 w 12"/>
              <a:gd name="T7" fmla="*/ 42676691 h 25"/>
              <a:gd name="T8" fmla="*/ 0 w 12"/>
              <a:gd name="T9" fmla="*/ 0 h 25"/>
              <a:gd name="T10" fmla="*/ 0 w 12"/>
              <a:gd name="T11" fmla="*/ 0 h 25"/>
              <a:gd name="T12" fmla="*/ 0 60000 65536"/>
              <a:gd name="T13" fmla="*/ 0 60000 65536"/>
              <a:gd name="T14" fmla="*/ 0 60000 65536"/>
              <a:gd name="T15" fmla="*/ 0 60000 65536"/>
              <a:gd name="T16" fmla="*/ 0 60000 65536"/>
              <a:gd name="T17" fmla="*/ 0 60000 65536"/>
              <a:gd name="T18" fmla="*/ 0 w 12"/>
              <a:gd name="T19" fmla="*/ 0 h 25"/>
              <a:gd name="T20" fmla="*/ 12 w 12"/>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12" h="25">
                <a:moveTo>
                  <a:pt x="0" y="0"/>
                </a:moveTo>
                <a:lnTo>
                  <a:pt x="0" y="0"/>
                </a:lnTo>
                <a:lnTo>
                  <a:pt x="10" y="4"/>
                </a:lnTo>
                <a:lnTo>
                  <a:pt x="11" y="24"/>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8" name="Freeform 698">
            <a:extLst>
              <a:ext uri="{FF2B5EF4-FFF2-40B4-BE49-F238E27FC236}">
                <a16:creationId xmlns:a16="http://schemas.microsoft.com/office/drawing/2014/main" id="{CB872E09-31AF-4938-9583-886CE3BA7AD3}"/>
              </a:ext>
            </a:extLst>
          </p:cNvPr>
          <p:cNvSpPr>
            <a:spLocks/>
          </p:cNvSpPr>
          <p:nvPr/>
        </p:nvSpPr>
        <p:spPr bwMode="auto">
          <a:xfrm>
            <a:off x="1952139" y="4377868"/>
            <a:ext cx="18980" cy="18928"/>
          </a:xfrm>
          <a:custGeom>
            <a:avLst/>
            <a:gdLst>
              <a:gd name="T0" fmla="*/ 0 w 15"/>
              <a:gd name="T1" fmla="*/ 0 h 16"/>
              <a:gd name="T2" fmla="*/ 0 w 15"/>
              <a:gd name="T3" fmla="*/ 0 h 16"/>
              <a:gd name="T4" fmla="*/ 5677928 w 15"/>
              <a:gd name="T5" fmla="*/ 28942503 h 16"/>
              <a:gd name="T6" fmla="*/ 20821357 w 15"/>
              <a:gd name="T7" fmla="*/ 28942503 h 16"/>
              <a:gd name="T8" fmla="*/ 13250332 w 15"/>
              <a:gd name="T9" fmla="*/ 3858815 h 16"/>
              <a:gd name="T10" fmla="*/ 26499288 w 15"/>
              <a:gd name="T11" fmla="*/ 21224870 h 16"/>
              <a:gd name="T12" fmla="*/ 15142056 w 15"/>
              <a:gd name="T13" fmla="*/ 0 h 16"/>
              <a:gd name="T14" fmla="*/ 0 w 15"/>
              <a:gd name="T15" fmla="*/ 0 h 16"/>
              <a:gd name="T16" fmla="*/ 0 w 15"/>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6"/>
              <a:gd name="T29" fmla="*/ 15 w 15"/>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6">
                <a:moveTo>
                  <a:pt x="0" y="0"/>
                </a:moveTo>
                <a:lnTo>
                  <a:pt x="0" y="0"/>
                </a:lnTo>
                <a:lnTo>
                  <a:pt x="3" y="15"/>
                </a:lnTo>
                <a:lnTo>
                  <a:pt x="11" y="15"/>
                </a:lnTo>
                <a:lnTo>
                  <a:pt x="7" y="2"/>
                </a:lnTo>
                <a:lnTo>
                  <a:pt x="14" y="11"/>
                </a:lnTo>
                <a:lnTo>
                  <a:pt x="8" y="0"/>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9" name="Freeform 699">
            <a:extLst>
              <a:ext uri="{FF2B5EF4-FFF2-40B4-BE49-F238E27FC236}">
                <a16:creationId xmlns:a16="http://schemas.microsoft.com/office/drawing/2014/main" id="{B0DCB1F1-0801-4DD1-9DC9-1D72512FF5DE}"/>
              </a:ext>
            </a:extLst>
          </p:cNvPr>
          <p:cNvSpPr>
            <a:spLocks/>
          </p:cNvSpPr>
          <p:nvPr/>
        </p:nvSpPr>
        <p:spPr bwMode="auto">
          <a:xfrm>
            <a:off x="1966741" y="4402205"/>
            <a:ext cx="13139" cy="12168"/>
          </a:xfrm>
          <a:custGeom>
            <a:avLst/>
            <a:gdLst>
              <a:gd name="T0" fmla="*/ 0 w 13"/>
              <a:gd name="T1" fmla="*/ 0 h 11"/>
              <a:gd name="T2" fmla="*/ 0 w 13"/>
              <a:gd name="T3" fmla="*/ 0 h 11"/>
              <a:gd name="T4" fmla="*/ 14493612 w 13"/>
              <a:gd name="T5" fmla="*/ 16869050 h 11"/>
              <a:gd name="T6" fmla="*/ 14493612 w 13"/>
              <a:gd name="T7" fmla="*/ 1687165 h 11"/>
              <a:gd name="T8" fmla="*/ 0 w 13"/>
              <a:gd name="T9" fmla="*/ 0 h 11"/>
              <a:gd name="T10" fmla="*/ 0 w 13"/>
              <a:gd name="T11" fmla="*/ 0 h 11"/>
              <a:gd name="T12" fmla="*/ 0 60000 65536"/>
              <a:gd name="T13" fmla="*/ 0 60000 65536"/>
              <a:gd name="T14" fmla="*/ 0 60000 65536"/>
              <a:gd name="T15" fmla="*/ 0 60000 65536"/>
              <a:gd name="T16" fmla="*/ 0 60000 65536"/>
              <a:gd name="T17" fmla="*/ 0 60000 65536"/>
              <a:gd name="T18" fmla="*/ 0 w 13"/>
              <a:gd name="T19" fmla="*/ 0 h 11"/>
              <a:gd name="T20" fmla="*/ 13 w 13"/>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3" h="11">
                <a:moveTo>
                  <a:pt x="0" y="0"/>
                </a:moveTo>
                <a:lnTo>
                  <a:pt x="0" y="0"/>
                </a:lnTo>
                <a:lnTo>
                  <a:pt x="12" y="10"/>
                </a:lnTo>
                <a:lnTo>
                  <a:pt x="12" y="1"/>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0" name="Freeform 700">
            <a:extLst>
              <a:ext uri="{FF2B5EF4-FFF2-40B4-BE49-F238E27FC236}">
                <a16:creationId xmlns:a16="http://schemas.microsoft.com/office/drawing/2014/main" id="{7506D3EC-7627-4E29-8992-84797B05FEAB}"/>
              </a:ext>
            </a:extLst>
          </p:cNvPr>
          <p:cNvSpPr>
            <a:spLocks/>
          </p:cNvSpPr>
          <p:nvPr/>
        </p:nvSpPr>
        <p:spPr bwMode="auto">
          <a:xfrm>
            <a:off x="1971120" y="4417078"/>
            <a:ext cx="20440" cy="29745"/>
          </a:xfrm>
          <a:custGeom>
            <a:avLst/>
            <a:gdLst>
              <a:gd name="T0" fmla="*/ 0 w 19"/>
              <a:gd name="T1" fmla="*/ 0 h 26"/>
              <a:gd name="T2" fmla="*/ 0 w 19"/>
              <a:gd name="T3" fmla="*/ 0 h 26"/>
              <a:gd name="T4" fmla="*/ 19155607 w 19"/>
              <a:gd name="T5" fmla="*/ 14434772 h 26"/>
              <a:gd name="T6" fmla="*/ 24628808 w 19"/>
              <a:gd name="T7" fmla="*/ 45109675 h 26"/>
              <a:gd name="T8" fmla="*/ 0 w 19"/>
              <a:gd name="T9" fmla="*/ 0 h 26"/>
              <a:gd name="T10" fmla="*/ 0 w 19"/>
              <a:gd name="T11" fmla="*/ 0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0"/>
                </a:moveTo>
                <a:lnTo>
                  <a:pt x="0" y="0"/>
                </a:lnTo>
                <a:lnTo>
                  <a:pt x="14" y="8"/>
                </a:lnTo>
                <a:lnTo>
                  <a:pt x="18" y="25"/>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1" name="Freeform 701">
            <a:extLst>
              <a:ext uri="{FF2B5EF4-FFF2-40B4-BE49-F238E27FC236}">
                <a16:creationId xmlns:a16="http://schemas.microsoft.com/office/drawing/2014/main" id="{4F79DD9B-4316-48D9-B0AD-A65A6A07FBE4}"/>
              </a:ext>
            </a:extLst>
          </p:cNvPr>
          <p:cNvSpPr>
            <a:spLocks/>
          </p:cNvSpPr>
          <p:nvPr/>
        </p:nvSpPr>
        <p:spPr bwMode="auto">
          <a:xfrm>
            <a:off x="2001780" y="4426542"/>
            <a:ext cx="13139" cy="14872"/>
          </a:xfrm>
          <a:custGeom>
            <a:avLst/>
            <a:gdLst>
              <a:gd name="T0" fmla="*/ 0 w 10"/>
              <a:gd name="T1" fmla="*/ 10841576 h 15"/>
              <a:gd name="T2" fmla="*/ 0 w 10"/>
              <a:gd name="T3" fmla="*/ 10841576 h 15"/>
              <a:gd name="T4" fmla="*/ 8165020 w 10"/>
              <a:gd name="T5" fmla="*/ 0 h 15"/>
              <a:gd name="T6" fmla="*/ 18370223 w 10"/>
              <a:gd name="T7" fmla="*/ 18973045 h 15"/>
              <a:gd name="T8" fmla="*/ 0 w 10"/>
              <a:gd name="T9" fmla="*/ 10841576 h 15"/>
              <a:gd name="T10" fmla="*/ 0 w 10"/>
              <a:gd name="T11" fmla="*/ 10841576 h 15"/>
              <a:gd name="T12" fmla="*/ 0 60000 65536"/>
              <a:gd name="T13" fmla="*/ 0 60000 65536"/>
              <a:gd name="T14" fmla="*/ 0 60000 65536"/>
              <a:gd name="T15" fmla="*/ 0 60000 65536"/>
              <a:gd name="T16" fmla="*/ 0 60000 65536"/>
              <a:gd name="T17" fmla="*/ 0 60000 65536"/>
              <a:gd name="T18" fmla="*/ 0 w 10"/>
              <a:gd name="T19" fmla="*/ 0 h 15"/>
              <a:gd name="T20" fmla="*/ 10 w 10"/>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0" h="15">
                <a:moveTo>
                  <a:pt x="0" y="8"/>
                </a:moveTo>
                <a:lnTo>
                  <a:pt x="0" y="8"/>
                </a:lnTo>
                <a:lnTo>
                  <a:pt x="4" y="0"/>
                </a:lnTo>
                <a:lnTo>
                  <a:pt x="9" y="14"/>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2" name="Freeform 702">
            <a:extLst>
              <a:ext uri="{FF2B5EF4-FFF2-40B4-BE49-F238E27FC236}">
                <a16:creationId xmlns:a16="http://schemas.microsoft.com/office/drawing/2014/main" id="{F7E30A9B-D06A-4314-A309-7CCC67FD7969}"/>
              </a:ext>
            </a:extLst>
          </p:cNvPr>
          <p:cNvSpPr>
            <a:spLocks/>
          </p:cNvSpPr>
          <p:nvPr/>
        </p:nvSpPr>
        <p:spPr bwMode="auto">
          <a:xfrm>
            <a:off x="2111281" y="4557691"/>
            <a:ext cx="903749" cy="425899"/>
          </a:xfrm>
          <a:custGeom>
            <a:avLst/>
            <a:gdLst>
              <a:gd name="T0" fmla="*/ 0 w 787"/>
              <a:gd name="T1" fmla="*/ 35986208 h 382"/>
              <a:gd name="T2" fmla="*/ 31180509 w 787"/>
              <a:gd name="T3" fmla="*/ 94251414 h 382"/>
              <a:gd name="T4" fmla="*/ 6235603 w 787"/>
              <a:gd name="T5" fmla="*/ 260475223 h 382"/>
              <a:gd name="T6" fmla="*/ 57684942 w 787"/>
              <a:gd name="T7" fmla="*/ 322166221 h 382"/>
              <a:gd name="T8" fmla="*/ 88865460 w 787"/>
              <a:gd name="T9" fmla="*/ 414704110 h 382"/>
              <a:gd name="T10" fmla="*/ 162140632 w 787"/>
              <a:gd name="T11" fmla="*/ 469540844 h 382"/>
              <a:gd name="T12" fmla="*/ 291542490 w 787"/>
              <a:gd name="T13" fmla="*/ 500386343 h 382"/>
              <a:gd name="T14" fmla="*/ 445888036 w 787"/>
              <a:gd name="T15" fmla="*/ 555223077 h 382"/>
              <a:gd name="T16" fmla="*/ 544108107 w 787"/>
              <a:gd name="T17" fmla="*/ 622056083 h 382"/>
              <a:gd name="T18" fmla="*/ 581525455 w 787"/>
              <a:gd name="T19" fmla="*/ 589497017 h 382"/>
              <a:gd name="T20" fmla="*/ 629855728 w 787"/>
              <a:gd name="T21" fmla="*/ 538087416 h 382"/>
              <a:gd name="T22" fmla="*/ 748343529 w 787"/>
              <a:gd name="T23" fmla="*/ 555223077 h 382"/>
              <a:gd name="T24" fmla="*/ 728075955 w 787"/>
              <a:gd name="T25" fmla="*/ 524377578 h 382"/>
              <a:gd name="T26" fmla="*/ 776406228 w 787"/>
              <a:gd name="T27" fmla="*/ 508954173 h 382"/>
              <a:gd name="T28" fmla="*/ 866831174 w 787"/>
              <a:gd name="T29" fmla="*/ 531231842 h 382"/>
              <a:gd name="T30" fmla="*/ 893335597 w 787"/>
              <a:gd name="T31" fmla="*/ 596351282 h 382"/>
              <a:gd name="T32" fmla="*/ 938548070 w 787"/>
              <a:gd name="T33" fmla="*/ 651188016 h 382"/>
              <a:gd name="T34" fmla="*/ 916720971 w 787"/>
              <a:gd name="T35" fmla="*/ 508954173 h 382"/>
              <a:gd name="T36" fmla="*/ 1041444217 w 787"/>
              <a:gd name="T37" fmla="*/ 387285743 h 382"/>
              <a:gd name="T38" fmla="*/ 1039885941 w 787"/>
              <a:gd name="T39" fmla="*/ 375289471 h 382"/>
              <a:gd name="T40" fmla="*/ 1028971767 w 787"/>
              <a:gd name="T41" fmla="*/ 325593353 h 382"/>
              <a:gd name="T42" fmla="*/ 1028971767 w 787"/>
              <a:gd name="T43" fmla="*/ 320452655 h 382"/>
              <a:gd name="T44" fmla="*/ 1036768141 w 787"/>
              <a:gd name="T45" fmla="*/ 282752891 h 382"/>
              <a:gd name="T46" fmla="*/ 1055476190 w 787"/>
              <a:gd name="T47" fmla="*/ 308457692 h 382"/>
              <a:gd name="T48" fmla="*/ 1057035715 w 787"/>
              <a:gd name="T49" fmla="*/ 296461420 h 382"/>
              <a:gd name="T50" fmla="*/ 1164609186 w 787"/>
              <a:gd name="T51" fmla="*/ 222775459 h 382"/>
              <a:gd name="T52" fmla="*/ 1158373586 w 787"/>
              <a:gd name="T53" fmla="*/ 167937375 h 382"/>
              <a:gd name="T54" fmla="*/ 1225411908 w 787"/>
              <a:gd name="T55" fmla="*/ 123383347 h 382"/>
              <a:gd name="T56" fmla="*/ 1209821659 w 787"/>
              <a:gd name="T57" fmla="*/ 71973725 h 382"/>
              <a:gd name="T58" fmla="*/ 1147459412 w 787"/>
              <a:gd name="T59" fmla="*/ 121669781 h 382"/>
              <a:gd name="T60" fmla="*/ 1032090816 w 787"/>
              <a:gd name="T61" fmla="*/ 171365816 h 382"/>
              <a:gd name="T62" fmla="*/ 974405894 w 787"/>
              <a:gd name="T63" fmla="*/ 190215085 h 382"/>
              <a:gd name="T64" fmla="*/ 885540472 w 787"/>
              <a:gd name="T65" fmla="*/ 226202591 h 382"/>
              <a:gd name="T66" fmla="*/ 888658272 w 787"/>
              <a:gd name="T67" fmla="*/ 203924923 h 382"/>
              <a:gd name="T68" fmla="*/ 898012922 w 787"/>
              <a:gd name="T69" fmla="*/ 185074386 h 382"/>
              <a:gd name="T70" fmla="*/ 866831174 w 787"/>
              <a:gd name="T71" fmla="*/ 167937375 h 382"/>
              <a:gd name="T72" fmla="*/ 841886275 w 787"/>
              <a:gd name="T73" fmla="*/ 109673509 h 382"/>
              <a:gd name="T74" fmla="*/ 807587976 w 787"/>
              <a:gd name="T75" fmla="*/ 217633452 h 382"/>
              <a:gd name="T76" fmla="*/ 781083553 w 787"/>
              <a:gd name="T77" fmla="*/ 183360820 h 382"/>
              <a:gd name="T78" fmla="*/ 782643077 w 787"/>
              <a:gd name="T79" fmla="*/ 133664744 h 382"/>
              <a:gd name="T80" fmla="*/ 865272898 w 787"/>
              <a:gd name="T81" fmla="*/ 101105678 h 382"/>
              <a:gd name="T82" fmla="*/ 851240924 w 787"/>
              <a:gd name="T83" fmla="*/ 85682254 h 382"/>
              <a:gd name="T84" fmla="*/ 782643077 w 787"/>
              <a:gd name="T85" fmla="*/ 58263887 h 382"/>
              <a:gd name="T86" fmla="*/ 692218131 w 787"/>
              <a:gd name="T87" fmla="*/ 83968688 h 382"/>
              <a:gd name="T88" fmla="*/ 639210377 w 787"/>
              <a:gd name="T89" fmla="*/ 20564108 h 382"/>
              <a:gd name="T90" fmla="*/ 625178404 w 787"/>
              <a:gd name="T91" fmla="*/ 13709843 h 382"/>
              <a:gd name="T92" fmla="*/ 51448093 w 787"/>
              <a:gd name="T93" fmla="*/ 39414649 h 382"/>
              <a:gd name="T94" fmla="*/ 42094692 w 787"/>
              <a:gd name="T95" fmla="*/ 37699774 h 382"/>
              <a:gd name="T96" fmla="*/ 0 w 787"/>
              <a:gd name="T97" fmla="*/ 35986208 h 38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87"/>
              <a:gd name="T148" fmla="*/ 0 h 382"/>
              <a:gd name="T149" fmla="*/ 787 w 787"/>
              <a:gd name="T150" fmla="*/ 382 h 38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87" h="382">
                <a:moveTo>
                  <a:pt x="0" y="21"/>
                </a:moveTo>
                <a:lnTo>
                  <a:pt x="0" y="21"/>
                </a:lnTo>
                <a:lnTo>
                  <a:pt x="9" y="52"/>
                </a:lnTo>
                <a:lnTo>
                  <a:pt x="20" y="55"/>
                </a:lnTo>
                <a:lnTo>
                  <a:pt x="11" y="57"/>
                </a:lnTo>
                <a:lnTo>
                  <a:pt x="4" y="152"/>
                </a:lnTo>
                <a:lnTo>
                  <a:pt x="24" y="188"/>
                </a:lnTo>
                <a:lnTo>
                  <a:pt x="37" y="188"/>
                </a:lnTo>
                <a:lnTo>
                  <a:pt x="32" y="202"/>
                </a:lnTo>
                <a:lnTo>
                  <a:pt x="57" y="242"/>
                </a:lnTo>
                <a:lnTo>
                  <a:pt x="83" y="251"/>
                </a:lnTo>
                <a:lnTo>
                  <a:pt x="104" y="274"/>
                </a:lnTo>
                <a:lnTo>
                  <a:pt x="135" y="271"/>
                </a:lnTo>
                <a:lnTo>
                  <a:pt x="187" y="292"/>
                </a:lnTo>
                <a:lnTo>
                  <a:pt x="249" y="284"/>
                </a:lnTo>
                <a:lnTo>
                  <a:pt x="286" y="324"/>
                </a:lnTo>
                <a:lnTo>
                  <a:pt x="315" y="314"/>
                </a:lnTo>
                <a:lnTo>
                  <a:pt x="349" y="363"/>
                </a:lnTo>
                <a:lnTo>
                  <a:pt x="376" y="372"/>
                </a:lnTo>
                <a:lnTo>
                  <a:pt x="373" y="344"/>
                </a:lnTo>
                <a:lnTo>
                  <a:pt x="401" y="327"/>
                </a:lnTo>
                <a:lnTo>
                  <a:pt x="404" y="314"/>
                </a:lnTo>
                <a:lnTo>
                  <a:pt x="445" y="314"/>
                </a:lnTo>
                <a:lnTo>
                  <a:pt x="480" y="324"/>
                </a:lnTo>
                <a:lnTo>
                  <a:pt x="481" y="308"/>
                </a:lnTo>
                <a:lnTo>
                  <a:pt x="467" y="306"/>
                </a:lnTo>
                <a:lnTo>
                  <a:pt x="497" y="305"/>
                </a:lnTo>
                <a:lnTo>
                  <a:pt x="498" y="297"/>
                </a:lnTo>
                <a:lnTo>
                  <a:pt x="501" y="307"/>
                </a:lnTo>
                <a:lnTo>
                  <a:pt x="556" y="310"/>
                </a:lnTo>
                <a:lnTo>
                  <a:pt x="571" y="324"/>
                </a:lnTo>
                <a:lnTo>
                  <a:pt x="573" y="348"/>
                </a:lnTo>
                <a:lnTo>
                  <a:pt x="591" y="381"/>
                </a:lnTo>
                <a:lnTo>
                  <a:pt x="602" y="380"/>
                </a:lnTo>
                <a:lnTo>
                  <a:pt x="606" y="355"/>
                </a:lnTo>
                <a:lnTo>
                  <a:pt x="588" y="297"/>
                </a:lnTo>
                <a:lnTo>
                  <a:pt x="599" y="273"/>
                </a:lnTo>
                <a:lnTo>
                  <a:pt x="668" y="226"/>
                </a:lnTo>
                <a:lnTo>
                  <a:pt x="655" y="221"/>
                </a:lnTo>
                <a:lnTo>
                  <a:pt x="667" y="219"/>
                </a:lnTo>
                <a:lnTo>
                  <a:pt x="657" y="204"/>
                </a:lnTo>
                <a:lnTo>
                  <a:pt x="660" y="190"/>
                </a:lnTo>
                <a:lnTo>
                  <a:pt x="646" y="180"/>
                </a:lnTo>
                <a:lnTo>
                  <a:pt x="660" y="187"/>
                </a:lnTo>
                <a:lnTo>
                  <a:pt x="655" y="170"/>
                </a:lnTo>
                <a:lnTo>
                  <a:pt x="665" y="165"/>
                </a:lnTo>
                <a:lnTo>
                  <a:pt x="667" y="202"/>
                </a:lnTo>
                <a:lnTo>
                  <a:pt x="677" y="180"/>
                </a:lnTo>
                <a:lnTo>
                  <a:pt x="671" y="163"/>
                </a:lnTo>
                <a:lnTo>
                  <a:pt x="678" y="173"/>
                </a:lnTo>
                <a:lnTo>
                  <a:pt x="692" y="143"/>
                </a:lnTo>
                <a:lnTo>
                  <a:pt x="747" y="130"/>
                </a:lnTo>
                <a:lnTo>
                  <a:pt x="733" y="121"/>
                </a:lnTo>
                <a:lnTo>
                  <a:pt x="743" y="98"/>
                </a:lnTo>
                <a:lnTo>
                  <a:pt x="785" y="81"/>
                </a:lnTo>
                <a:lnTo>
                  <a:pt x="786" y="72"/>
                </a:lnTo>
                <a:lnTo>
                  <a:pt x="776" y="64"/>
                </a:lnTo>
                <a:lnTo>
                  <a:pt x="776" y="42"/>
                </a:lnTo>
                <a:lnTo>
                  <a:pt x="753" y="35"/>
                </a:lnTo>
                <a:lnTo>
                  <a:pt x="736" y="71"/>
                </a:lnTo>
                <a:lnTo>
                  <a:pt x="667" y="84"/>
                </a:lnTo>
                <a:lnTo>
                  <a:pt x="662" y="100"/>
                </a:lnTo>
                <a:lnTo>
                  <a:pt x="622" y="106"/>
                </a:lnTo>
                <a:lnTo>
                  <a:pt x="625" y="111"/>
                </a:lnTo>
                <a:lnTo>
                  <a:pt x="585" y="133"/>
                </a:lnTo>
                <a:lnTo>
                  <a:pt x="568" y="132"/>
                </a:lnTo>
                <a:lnTo>
                  <a:pt x="567" y="126"/>
                </a:lnTo>
                <a:lnTo>
                  <a:pt x="570" y="119"/>
                </a:lnTo>
                <a:lnTo>
                  <a:pt x="574" y="114"/>
                </a:lnTo>
                <a:lnTo>
                  <a:pt x="576" y="108"/>
                </a:lnTo>
                <a:lnTo>
                  <a:pt x="570" y="91"/>
                </a:lnTo>
                <a:lnTo>
                  <a:pt x="556" y="98"/>
                </a:lnTo>
                <a:lnTo>
                  <a:pt x="561" y="71"/>
                </a:lnTo>
                <a:lnTo>
                  <a:pt x="540" y="64"/>
                </a:lnTo>
                <a:lnTo>
                  <a:pt x="524" y="81"/>
                </a:lnTo>
                <a:lnTo>
                  <a:pt x="518" y="127"/>
                </a:lnTo>
                <a:lnTo>
                  <a:pt x="505" y="128"/>
                </a:lnTo>
                <a:lnTo>
                  <a:pt x="501" y="107"/>
                </a:lnTo>
                <a:lnTo>
                  <a:pt x="511" y="72"/>
                </a:lnTo>
                <a:lnTo>
                  <a:pt x="502" y="78"/>
                </a:lnTo>
                <a:lnTo>
                  <a:pt x="519" y="60"/>
                </a:lnTo>
                <a:lnTo>
                  <a:pt x="555" y="59"/>
                </a:lnTo>
                <a:lnTo>
                  <a:pt x="549" y="50"/>
                </a:lnTo>
                <a:lnTo>
                  <a:pt x="546" y="50"/>
                </a:lnTo>
                <a:lnTo>
                  <a:pt x="493" y="45"/>
                </a:lnTo>
                <a:lnTo>
                  <a:pt x="502" y="34"/>
                </a:lnTo>
                <a:lnTo>
                  <a:pt x="469" y="49"/>
                </a:lnTo>
                <a:lnTo>
                  <a:pt x="444" y="49"/>
                </a:lnTo>
                <a:lnTo>
                  <a:pt x="475" y="25"/>
                </a:lnTo>
                <a:lnTo>
                  <a:pt x="410" y="12"/>
                </a:lnTo>
                <a:lnTo>
                  <a:pt x="402" y="0"/>
                </a:lnTo>
                <a:lnTo>
                  <a:pt x="401" y="8"/>
                </a:lnTo>
                <a:lnTo>
                  <a:pt x="25" y="8"/>
                </a:lnTo>
                <a:lnTo>
                  <a:pt x="33" y="23"/>
                </a:lnTo>
                <a:lnTo>
                  <a:pt x="24" y="35"/>
                </a:lnTo>
                <a:lnTo>
                  <a:pt x="27" y="22"/>
                </a:lnTo>
                <a:lnTo>
                  <a:pt x="0" y="2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3" name="Freeform 703">
            <a:extLst>
              <a:ext uri="{FF2B5EF4-FFF2-40B4-BE49-F238E27FC236}">
                <a16:creationId xmlns:a16="http://schemas.microsoft.com/office/drawing/2014/main" id="{55AC66FC-1912-4FA6-9D9B-62AA0870F6A1}"/>
              </a:ext>
            </a:extLst>
          </p:cNvPr>
          <p:cNvSpPr>
            <a:spLocks/>
          </p:cNvSpPr>
          <p:nvPr/>
        </p:nvSpPr>
        <p:spPr bwMode="auto">
          <a:xfrm>
            <a:off x="7002321" y="4252126"/>
            <a:ext cx="51101" cy="16225"/>
          </a:xfrm>
          <a:custGeom>
            <a:avLst/>
            <a:gdLst>
              <a:gd name="T0" fmla="*/ 0 w 43"/>
              <a:gd name="T1" fmla="*/ 7406368 h 14"/>
              <a:gd name="T2" fmla="*/ 0 w 43"/>
              <a:gd name="T3" fmla="*/ 7406368 h 14"/>
              <a:gd name="T4" fmla="*/ 41742022 w 43"/>
              <a:gd name="T5" fmla="*/ 0 h 14"/>
              <a:gd name="T6" fmla="*/ 70126962 w 43"/>
              <a:gd name="T7" fmla="*/ 11108871 h 14"/>
              <a:gd name="T8" fmla="*/ 55099114 w 43"/>
              <a:gd name="T9" fmla="*/ 24069679 h 14"/>
              <a:gd name="T10" fmla="*/ 0 w 43"/>
              <a:gd name="T11" fmla="*/ 7406368 h 14"/>
              <a:gd name="T12" fmla="*/ 0 w 43"/>
              <a:gd name="T13" fmla="*/ 7406368 h 14"/>
              <a:gd name="T14" fmla="*/ 0 60000 65536"/>
              <a:gd name="T15" fmla="*/ 0 60000 65536"/>
              <a:gd name="T16" fmla="*/ 0 60000 65536"/>
              <a:gd name="T17" fmla="*/ 0 60000 65536"/>
              <a:gd name="T18" fmla="*/ 0 60000 65536"/>
              <a:gd name="T19" fmla="*/ 0 60000 65536"/>
              <a:gd name="T20" fmla="*/ 0 60000 65536"/>
              <a:gd name="T21" fmla="*/ 0 w 43"/>
              <a:gd name="T22" fmla="*/ 0 h 14"/>
              <a:gd name="T23" fmla="*/ 43 w 43"/>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4">
                <a:moveTo>
                  <a:pt x="0" y="4"/>
                </a:moveTo>
                <a:lnTo>
                  <a:pt x="0" y="4"/>
                </a:lnTo>
                <a:lnTo>
                  <a:pt x="25" y="0"/>
                </a:lnTo>
                <a:lnTo>
                  <a:pt x="42" y="6"/>
                </a:lnTo>
                <a:lnTo>
                  <a:pt x="33" y="13"/>
                </a:lnTo>
                <a:lnTo>
                  <a:pt x="0" y="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4" name="Freeform 704">
            <a:extLst>
              <a:ext uri="{FF2B5EF4-FFF2-40B4-BE49-F238E27FC236}">
                <a16:creationId xmlns:a16="http://schemas.microsoft.com/office/drawing/2014/main" id="{1EF74135-38F5-4B5B-8767-B58DF6090E96}"/>
              </a:ext>
            </a:extLst>
          </p:cNvPr>
          <p:cNvSpPr>
            <a:spLocks/>
          </p:cNvSpPr>
          <p:nvPr/>
        </p:nvSpPr>
        <p:spPr bwMode="auto">
          <a:xfrm>
            <a:off x="3009528" y="5086827"/>
            <a:ext cx="24138" cy="8900"/>
          </a:xfrm>
          <a:custGeom>
            <a:avLst/>
            <a:gdLst>
              <a:gd name="T0" fmla="*/ 0 w 21"/>
              <a:gd name="T1" fmla="*/ 0 h 8"/>
              <a:gd name="T2" fmla="*/ 0 w 21"/>
              <a:gd name="T3" fmla="*/ 0 h 8"/>
              <a:gd name="T4" fmla="*/ 2 w 21"/>
              <a:gd name="T5" fmla="*/ 7 h 8"/>
              <a:gd name="T6" fmla="*/ 20 w 21"/>
              <a:gd name="T7" fmla="*/ 4 h 8"/>
              <a:gd name="T8" fmla="*/ 0 w 21"/>
              <a:gd name="T9" fmla="*/ 0 h 8"/>
              <a:gd name="T10" fmla="*/ 0 w 21"/>
              <a:gd name="T11" fmla="*/ 0 h 8"/>
              <a:gd name="T12" fmla="*/ 0 60000 65536"/>
              <a:gd name="T13" fmla="*/ 0 60000 65536"/>
              <a:gd name="T14" fmla="*/ 0 60000 65536"/>
              <a:gd name="T15" fmla="*/ 0 60000 65536"/>
              <a:gd name="T16" fmla="*/ 0 60000 65536"/>
              <a:gd name="T17" fmla="*/ 0 60000 65536"/>
              <a:gd name="T18" fmla="*/ 0 w 21"/>
              <a:gd name="T19" fmla="*/ 0 h 8"/>
              <a:gd name="T20" fmla="*/ 21 w 21"/>
              <a:gd name="T21" fmla="*/ 8 h 8"/>
            </a:gdLst>
            <a:ahLst/>
            <a:cxnLst>
              <a:cxn ang="T12">
                <a:pos x="T0" y="T1"/>
              </a:cxn>
              <a:cxn ang="T13">
                <a:pos x="T2" y="T3"/>
              </a:cxn>
              <a:cxn ang="T14">
                <a:pos x="T4" y="T5"/>
              </a:cxn>
              <a:cxn ang="T15">
                <a:pos x="T6" y="T7"/>
              </a:cxn>
              <a:cxn ang="T16">
                <a:pos x="T8" y="T9"/>
              </a:cxn>
              <a:cxn ang="T17">
                <a:pos x="T10" y="T11"/>
              </a:cxn>
            </a:cxnLst>
            <a:rect l="T18" t="T19" r="T20" b="T21"/>
            <a:pathLst>
              <a:path w="21" h="8">
                <a:moveTo>
                  <a:pt x="0" y="0"/>
                </a:moveTo>
                <a:lnTo>
                  <a:pt x="0" y="0"/>
                </a:lnTo>
                <a:lnTo>
                  <a:pt x="2" y="7"/>
                </a:lnTo>
                <a:lnTo>
                  <a:pt x="20" y="4"/>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5" name="Freeform 705">
            <a:extLst>
              <a:ext uri="{FF2B5EF4-FFF2-40B4-BE49-F238E27FC236}">
                <a16:creationId xmlns:a16="http://schemas.microsoft.com/office/drawing/2014/main" id="{E3D9AEA2-B142-4632-B159-C828C0E799D8}"/>
              </a:ext>
            </a:extLst>
          </p:cNvPr>
          <p:cNvSpPr>
            <a:spLocks/>
          </p:cNvSpPr>
          <p:nvPr/>
        </p:nvSpPr>
        <p:spPr bwMode="auto">
          <a:xfrm>
            <a:off x="2912978" y="5702047"/>
            <a:ext cx="310339" cy="535119"/>
          </a:xfrm>
          <a:custGeom>
            <a:avLst/>
            <a:gdLst>
              <a:gd name="T0" fmla="*/ 0 w 270"/>
              <a:gd name="T1" fmla="*/ 444 h 481"/>
              <a:gd name="T2" fmla="*/ 0 w 270"/>
              <a:gd name="T3" fmla="*/ 444 h 481"/>
              <a:gd name="T4" fmla="*/ 3 w 270"/>
              <a:gd name="T5" fmla="*/ 455 h 481"/>
              <a:gd name="T6" fmla="*/ 14 w 270"/>
              <a:gd name="T7" fmla="*/ 451 h 481"/>
              <a:gd name="T8" fmla="*/ 18 w 270"/>
              <a:gd name="T9" fmla="*/ 475 h 481"/>
              <a:gd name="T10" fmla="*/ 68 w 270"/>
              <a:gd name="T11" fmla="*/ 480 h 481"/>
              <a:gd name="T12" fmla="*/ 54 w 270"/>
              <a:gd name="T13" fmla="*/ 468 h 481"/>
              <a:gd name="T14" fmla="*/ 64 w 270"/>
              <a:gd name="T15" fmla="*/ 435 h 481"/>
              <a:gd name="T16" fmla="*/ 74 w 270"/>
              <a:gd name="T17" fmla="*/ 442 h 481"/>
              <a:gd name="T18" fmla="*/ 105 w 270"/>
              <a:gd name="T19" fmla="*/ 396 h 481"/>
              <a:gd name="T20" fmla="*/ 81 w 270"/>
              <a:gd name="T21" fmla="*/ 370 h 481"/>
              <a:gd name="T22" fmla="*/ 108 w 270"/>
              <a:gd name="T23" fmla="*/ 354 h 481"/>
              <a:gd name="T24" fmla="*/ 112 w 270"/>
              <a:gd name="T25" fmla="*/ 331 h 481"/>
              <a:gd name="T26" fmla="*/ 124 w 270"/>
              <a:gd name="T27" fmla="*/ 320 h 481"/>
              <a:gd name="T28" fmla="*/ 113 w 270"/>
              <a:gd name="T29" fmla="*/ 316 h 481"/>
              <a:gd name="T30" fmla="*/ 134 w 270"/>
              <a:gd name="T31" fmla="*/ 316 h 481"/>
              <a:gd name="T32" fmla="*/ 131 w 270"/>
              <a:gd name="T33" fmla="*/ 305 h 481"/>
              <a:gd name="T34" fmla="*/ 122 w 270"/>
              <a:gd name="T35" fmla="*/ 312 h 481"/>
              <a:gd name="T36" fmla="*/ 113 w 270"/>
              <a:gd name="T37" fmla="*/ 304 h 481"/>
              <a:gd name="T38" fmla="*/ 112 w 270"/>
              <a:gd name="T39" fmla="*/ 287 h 481"/>
              <a:gd name="T40" fmla="*/ 149 w 270"/>
              <a:gd name="T41" fmla="*/ 288 h 481"/>
              <a:gd name="T42" fmla="*/ 152 w 270"/>
              <a:gd name="T43" fmla="*/ 253 h 481"/>
              <a:gd name="T44" fmla="*/ 210 w 270"/>
              <a:gd name="T45" fmla="*/ 247 h 481"/>
              <a:gd name="T46" fmla="*/ 227 w 270"/>
              <a:gd name="T47" fmla="*/ 223 h 481"/>
              <a:gd name="T48" fmla="*/ 204 w 270"/>
              <a:gd name="T49" fmla="*/ 178 h 481"/>
              <a:gd name="T50" fmla="*/ 216 w 270"/>
              <a:gd name="T51" fmla="*/ 122 h 481"/>
              <a:gd name="T52" fmla="*/ 269 w 270"/>
              <a:gd name="T53" fmla="*/ 76 h 481"/>
              <a:gd name="T54" fmla="*/ 267 w 270"/>
              <a:gd name="T55" fmla="*/ 55 h 481"/>
              <a:gd name="T56" fmla="*/ 256 w 270"/>
              <a:gd name="T57" fmla="*/ 55 h 481"/>
              <a:gd name="T58" fmla="*/ 242 w 270"/>
              <a:gd name="T59" fmla="*/ 79 h 481"/>
              <a:gd name="T60" fmla="*/ 205 w 270"/>
              <a:gd name="T61" fmla="*/ 78 h 481"/>
              <a:gd name="T62" fmla="*/ 213 w 270"/>
              <a:gd name="T63" fmla="*/ 50 h 481"/>
              <a:gd name="T64" fmla="*/ 147 w 270"/>
              <a:gd name="T65" fmla="*/ 7 h 481"/>
              <a:gd name="T66" fmla="*/ 125 w 270"/>
              <a:gd name="T67" fmla="*/ 3 h 481"/>
              <a:gd name="T68" fmla="*/ 123 w 270"/>
              <a:gd name="T69" fmla="*/ 12 h 481"/>
              <a:gd name="T70" fmla="*/ 98 w 270"/>
              <a:gd name="T71" fmla="*/ 0 h 481"/>
              <a:gd name="T72" fmla="*/ 84 w 270"/>
              <a:gd name="T73" fmla="*/ 15 h 481"/>
              <a:gd name="T74" fmla="*/ 82 w 270"/>
              <a:gd name="T75" fmla="*/ 32 h 481"/>
              <a:gd name="T76" fmla="*/ 67 w 270"/>
              <a:gd name="T77" fmla="*/ 39 h 481"/>
              <a:gd name="T78" fmla="*/ 68 w 270"/>
              <a:gd name="T79" fmla="*/ 73 h 481"/>
              <a:gd name="T80" fmla="*/ 51 w 270"/>
              <a:gd name="T81" fmla="*/ 91 h 481"/>
              <a:gd name="T82" fmla="*/ 39 w 270"/>
              <a:gd name="T83" fmla="*/ 138 h 481"/>
              <a:gd name="T84" fmla="*/ 48 w 270"/>
              <a:gd name="T85" fmla="*/ 182 h 481"/>
              <a:gd name="T86" fmla="*/ 31 w 270"/>
              <a:gd name="T87" fmla="*/ 220 h 481"/>
              <a:gd name="T88" fmla="*/ 18 w 270"/>
              <a:gd name="T89" fmla="*/ 313 h 481"/>
              <a:gd name="T90" fmla="*/ 28 w 270"/>
              <a:gd name="T91" fmla="*/ 348 h 481"/>
              <a:gd name="T92" fmla="*/ 19 w 270"/>
              <a:gd name="T93" fmla="*/ 351 h 481"/>
              <a:gd name="T94" fmla="*/ 23 w 270"/>
              <a:gd name="T95" fmla="*/ 381 h 481"/>
              <a:gd name="T96" fmla="*/ 0 w 270"/>
              <a:gd name="T97" fmla="*/ 444 h 481"/>
              <a:gd name="T98" fmla="*/ 0 w 270"/>
              <a:gd name="T99" fmla="*/ 444 h 48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0"/>
              <a:gd name="T151" fmla="*/ 0 h 481"/>
              <a:gd name="T152" fmla="*/ 270 w 270"/>
              <a:gd name="T153" fmla="*/ 481 h 48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0" h="481">
                <a:moveTo>
                  <a:pt x="0" y="444"/>
                </a:moveTo>
                <a:lnTo>
                  <a:pt x="0" y="444"/>
                </a:lnTo>
                <a:lnTo>
                  <a:pt x="3" y="455"/>
                </a:lnTo>
                <a:lnTo>
                  <a:pt x="14" y="451"/>
                </a:lnTo>
                <a:lnTo>
                  <a:pt x="18" y="475"/>
                </a:lnTo>
                <a:lnTo>
                  <a:pt x="68" y="480"/>
                </a:lnTo>
                <a:lnTo>
                  <a:pt x="54" y="468"/>
                </a:lnTo>
                <a:lnTo>
                  <a:pt x="64" y="435"/>
                </a:lnTo>
                <a:lnTo>
                  <a:pt x="74" y="442"/>
                </a:lnTo>
                <a:lnTo>
                  <a:pt x="105" y="396"/>
                </a:lnTo>
                <a:lnTo>
                  <a:pt x="81" y="370"/>
                </a:lnTo>
                <a:lnTo>
                  <a:pt x="108" y="354"/>
                </a:lnTo>
                <a:lnTo>
                  <a:pt x="112" y="331"/>
                </a:lnTo>
                <a:lnTo>
                  <a:pt x="124" y="320"/>
                </a:lnTo>
                <a:lnTo>
                  <a:pt x="113" y="316"/>
                </a:lnTo>
                <a:lnTo>
                  <a:pt x="134" y="316"/>
                </a:lnTo>
                <a:lnTo>
                  <a:pt x="131" y="305"/>
                </a:lnTo>
                <a:lnTo>
                  <a:pt x="122" y="312"/>
                </a:lnTo>
                <a:lnTo>
                  <a:pt x="113" y="304"/>
                </a:lnTo>
                <a:lnTo>
                  <a:pt x="112" y="287"/>
                </a:lnTo>
                <a:lnTo>
                  <a:pt x="149" y="288"/>
                </a:lnTo>
                <a:lnTo>
                  <a:pt x="152" y="253"/>
                </a:lnTo>
                <a:lnTo>
                  <a:pt x="210" y="247"/>
                </a:lnTo>
                <a:lnTo>
                  <a:pt x="227" y="223"/>
                </a:lnTo>
                <a:lnTo>
                  <a:pt x="204" y="178"/>
                </a:lnTo>
                <a:lnTo>
                  <a:pt x="216" y="122"/>
                </a:lnTo>
                <a:lnTo>
                  <a:pt x="269" y="76"/>
                </a:lnTo>
                <a:lnTo>
                  <a:pt x="267" y="55"/>
                </a:lnTo>
                <a:lnTo>
                  <a:pt x="256" y="55"/>
                </a:lnTo>
                <a:lnTo>
                  <a:pt x="242" y="79"/>
                </a:lnTo>
                <a:lnTo>
                  <a:pt x="205" y="78"/>
                </a:lnTo>
                <a:lnTo>
                  <a:pt x="213" y="50"/>
                </a:lnTo>
                <a:lnTo>
                  <a:pt x="147" y="7"/>
                </a:lnTo>
                <a:lnTo>
                  <a:pt x="125" y="3"/>
                </a:lnTo>
                <a:lnTo>
                  <a:pt x="123" y="12"/>
                </a:lnTo>
                <a:lnTo>
                  <a:pt x="98" y="0"/>
                </a:lnTo>
                <a:lnTo>
                  <a:pt x="84" y="15"/>
                </a:lnTo>
                <a:lnTo>
                  <a:pt x="82" y="32"/>
                </a:lnTo>
                <a:lnTo>
                  <a:pt x="67" y="39"/>
                </a:lnTo>
                <a:lnTo>
                  <a:pt x="68" y="73"/>
                </a:lnTo>
                <a:lnTo>
                  <a:pt x="51" y="91"/>
                </a:lnTo>
                <a:lnTo>
                  <a:pt x="39" y="138"/>
                </a:lnTo>
                <a:lnTo>
                  <a:pt x="48" y="182"/>
                </a:lnTo>
                <a:lnTo>
                  <a:pt x="31" y="220"/>
                </a:lnTo>
                <a:lnTo>
                  <a:pt x="18" y="313"/>
                </a:lnTo>
                <a:lnTo>
                  <a:pt x="28" y="348"/>
                </a:lnTo>
                <a:lnTo>
                  <a:pt x="19" y="351"/>
                </a:lnTo>
                <a:lnTo>
                  <a:pt x="23" y="381"/>
                </a:lnTo>
                <a:lnTo>
                  <a:pt x="0" y="44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6" name="Freeform 706">
            <a:extLst>
              <a:ext uri="{FF2B5EF4-FFF2-40B4-BE49-F238E27FC236}">
                <a16:creationId xmlns:a16="http://schemas.microsoft.com/office/drawing/2014/main" id="{73C311A6-1A4D-4EBA-83CA-E3FF3F35E0FB}"/>
              </a:ext>
            </a:extLst>
          </p:cNvPr>
          <p:cNvSpPr>
            <a:spLocks/>
          </p:cNvSpPr>
          <p:nvPr/>
        </p:nvSpPr>
        <p:spPr bwMode="auto">
          <a:xfrm>
            <a:off x="2986540" y="6244953"/>
            <a:ext cx="56321" cy="46726"/>
          </a:xfrm>
          <a:custGeom>
            <a:avLst/>
            <a:gdLst>
              <a:gd name="T0" fmla="*/ 0 w 49"/>
              <a:gd name="T1" fmla="*/ 0 h 42"/>
              <a:gd name="T2" fmla="*/ 0 w 49"/>
              <a:gd name="T3" fmla="*/ 0 h 42"/>
              <a:gd name="T4" fmla="*/ 2 w 49"/>
              <a:gd name="T5" fmla="*/ 41 h 42"/>
              <a:gd name="T6" fmla="*/ 48 w 49"/>
              <a:gd name="T7" fmla="*/ 37 h 42"/>
              <a:gd name="T8" fmla="*/ 11 w 49"/>
              <a:gd name="T9" fmla="*/ 20 h 42"/>
              <a:gd name="T10" fmla="*/ 0 w 49"/>
              <a:gd name="T11" fmla="*/ 0 h 42"/>
              <a:gd name="T12" fmla="*/ 0 w 49"/>
              <a:gd name="T13" fmla="*/ 0 h 42"/>
              <a:gd name="T14" fmla="*/ 0 60000 65536"/>
              <a:gd name="T15" fmla="*/ 0 60000 65536"/>
              <a:gd name="T16" fmla="*/ 0 60000 65536"/>
              <a:gd name="T17" fmla="*/ 0 60000 65536"/>
              <a:gd name="T18" fmla="*/ 0 60000 65536"/>
              <a:gd name="T19" fmla="*/ 0 60000 65536"/>
              <a:gd name="T20" fmla="*/ 0 60000 65536"/>
              <a:gd name="T21" fmla="*/ 0 w 49"/>
              <a:gd name="T22" fmla="*/ 0 h 42"/>
              <a:gd name="T23" fmla="*/ 49 w 49"/>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42">
                <a:moveTo>
                  <a:pt x="0" y="0"/>
                </a:moveTo>
                <a:lnTo>
                  <a:pt x="0" y="0"/>
                </a:lnTo>
                <a:lnTo>
                  <a:pt x="2" y="41"/>
                </a:lnTo>
                <a:lnTo>
                  <a:pt x="48" y="37"/>
                </a:lnTo>
                <a:lnTo>
                  <a:pt x="11" y="20"/>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7" name="Freeform 707">
            <a:extLst>
              <a:ext uri="{FF2B5EF4-FFF2-40B4-BE49-F238E27FC236}">
                <a16:creationId xmlns:a16="http://schemas.microsoft.com/office/drawing/2014/main" id="{02B694A8-55D5-4A2E-9316-39E66FF089F8}"/>
              </a:ext>
            </a:extLst>
          </p:cNvPr>
          <p:cNvSpPr>
            <a:spLocks/>
          </p:cNvSpPr>
          <p:nvPr/>
        </p:nvSpPr>
        <p:spPr bwMode="auto">
          <a:xfrm>
            <a:off x="2970448" y="5514032"/>
            <a:ext cx="189652" cy="205815"/>
          </a:xfrm>
          <a:custGeom>
            <a:avLst/>
            <a:gdLst>
              <a:gd name="T0" fmla="*/ 0 w 165"/>
              <a:gd name="T1" fmla="*/ 18 h 185"/>
              <a:gd name="T2" fmla="*/ 0 w 165"/>
              <a:gd name="T3" fmla="*/ 18 h 185"/>
              <a:gd name="T4" fmla="*/ 13 w 165"/>
              <a:gd name="T5" fmla="*/ 38 h 185"/>
              <a:gd name="T6" fmla="*/ 4 w 165"/>
              <a:gd name="T7" fmla="*/ 80 h 185"/>
              <a:gd name="T8" fmla="*/ 13 w 165"/>
              <a:gd name="T9" fmla="*/ 84 h 185"/>
              <a:gd name="T10" fmla="*/ 9 w 165"/>
              <a:gd name="T11" fmla="*/ 91 h 185"/>
              <a:gd name="T12" fmla="*/ 1 w 165"/>
              <a:gd name="T13" fmla="*/ 108 h 185"/>
              <a:gd name="T14" fmla="*/ 16 w 165"/>
              <a:gd name="T15" fmla="*/ 133 h 185"/>
              <a:gd name="T16" fmla="*/ 24 w 165"/>
              <a:gd name="T17" fmla="*/ 183 h 185"/>
              <a:gd name="T18" fmla="*/ 34 w 165"/>
              <a:gd name="T19" fmla="*/ 184 h 185"/>
              <a:gd name="T20" fmla="*/ 48 w 165"/>
              <a:gd name="T21" fmla="*/ 169 h 185"/>
              <a:gd name="T22" fmla="*/ 73 w 165"/>
              <a:gd name="T23" fmla="*/ 181 h 185"/>
              <a:gd name="T24" fmla="*/ 75 w 165"/>
              <a:gd name="T25" fmla="*/ 172 h 185"/>
              <a:gd name="T26" fmla="*/ 97 w 165"/>
              <a:gd name="T27" fmla="*/ 176 h 185"/>
              <a:gd name="T28" fmla="*/ 106 w 165"/>
              <a:gd name="T29" fmla="*/ 139 h 185"/>
              <a:gd name="T30" fmla="*/ 145 w 165"/>
              <a:gd name="T31" fmla="*/ 133 h 185"/>
              <a:gd name="T32" fmla="*/ 159 w 165"/>
              <a:gd name="T33" fmla="*/ 145 h 185"/>
              <a:gd name="T34" fmla="*/ 164 w 165"/>
              <a:gd name="T35" fmla="*/ 117 h 185"/>
              <a:gd name="T36" fmla="*/ 155 w 165"/>
              <a:gd name="T37" fmla="*/ 93 h 185"/>
              <a:gd name="T38" fmla="*/ 132 w 165"/>
              <a:gd name="T39" fmla="*/ 91 h 185"/>
              <a:gd name="T40" fmla="*/ 122 w 165"/>
              <a:gd name="T41" fmla="*/ 55 h 185"/>
              <a:gd name="T42" fmla="*/ 62 w 165"/>
              <a:gd name="T43" fmla="*/ 31 h 185"/>
              <a:gd name="T44" fmla="*/ 58 w 165"/>
              <a:gd name="T45" fmla="*/ 0 h 185"/>
              <a:gd name="T46" fmla="*/ 17 w 165"/>
              <a:gd name="T47" fmla="*/ 19 h 185"/>
              <a:gd name="T48" fmla="*/ 0 w 165"/>
              <a:gd name="T49" fmla="*/ 18 h 185"/>
              <a:gd name="T50" fmla="*/ 0 w 165"/>
              <a:gd name="T51" fmla="*/ 18 h 1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185"/>
              <a:gd name="T80" fmla="*/ 165 w 165"/>
              <a:gd name="T81" fmla="*/ 185 h 1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185">
                <a:moveTo>
                  <a:pt x="0" y="18"/>
                </a:moveTo>
                <a:lnTo>
                  <a:pt x="0" y="18"/>
                </a:lnTo>
                <a:lnTo>
                  <a:pt x="13" y="38"/>
                </a:lnTo>
                <a:lnTo>
                  <a:pt x="4" y="80"/>
                </a:lnTo>
                <a:lnTo>
                  <a:pt x="13" y="84"/>
                </a:lnTo>
                <a:lnTo>
                  <a:pt x="9" y="91"/>
                </a:lnTo>
                <a:lnTo>
                  <a:pt x="1" y="108"/>
                </a:lnTo>
                <a:lnTo>
                  <a:pt x="16" y="133"/>
                </a:lnTo>
                <a:lnTo>
                  <a:pt x="24" y="183"/>
                </a:lnTo>
                <a:lnTo>
                  <a:pt x="34" y="184"/>
                </a:lnTo>
                <a:lnTo>
                  <a:pt x="48" y="169"/>
                </a:lnTo>
                <a:lnTo>
                  <a:pt x="73" y="181"/>
                </a:lnTo>
                <a:lnTo>
                  <a:pt x="75" y="172"/>
                </a:lnTo>
                <a:lnTo>
                  <a:pt x="97" y="176"/>
                </a:lnTo>
                <a:lnTo>
                  <a:pt x="106" y="139"/>
                </a:lnTo>
                <a:lnTo>
                  <a:pt x="145" y="133"/>
                </a:lnTo>
                <a:lnTo>
                  <a:pt x="159" y="145"/>
                </a:lnTo>
                <a:lnTo>
                  <a:pt x="164" y="117"/>
                </a:lnTo>
                <a:lnTo>
                  <a:pt x="155" y="93"/>
                </a:lnTo>
                <a:lnTo>
                  <a:pt x="132" y="91"/>
                </a:lnTo>
                <a:lnTo>
                  <a:pt x="122" y="55"/>
                </a:lnTo>
                <a:lnTo>
                  <a:pt x="62" y="31"/>
                </a:lnTo>
                <a:lnTo>
                  <a:pt x="58" y="0"/>
                </a:lnTo>
                <a:lnTo>
                  <a:pt x="17" y="19"/>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8" name="Freeform 708">
            <a:extLst>
              <a:ext uri="{FF2B5EF4-FFF2-40B4-BE49-F238E27FC236}">
                <a16:creationId xmlns:a16="http://schemas.microsoft.com/office/drawing/2014/main" id="{809A775B-E5D4-4867-B09A-C8A781646D77}"/>
              </a:ext>
            </a:extLst>
          </p:cNvPr>
          <p:cNvSpPr>
            <a:spLocks/>
          </p:cNvSpPr>
          <p:nvPr/>
        </p:nvSpPr>
        <p:spPr bwMode="auto">
          <a:xfrm>
            <a:off x="2906082" y="5291529"/>
            <a:ext cx="612633" cy="605207"/>
          </a:xfrm>
          <a:custGeom>
            <a:avLst/>
            <a:gdLst>
              <a:gd name="T0" fmla="*/ 0 w 533"/>
              <a:gd name="T1" fmla="*/ 172 h 544"/>
              <a:gd name="T2" fmla="*/ 30 w 533"/>
              <a:gd name="T3" fmla="*/ 205 h 544"/>
              <a:gd name="T4" fmla="*/ 45 w 533"/>
              <a:gd name="T5" fmla="*/ 218 h 544"/>
              <a:gd name="T6" fmla="*/ 73 w 533"/>
              <a:gd name="T7" fmla="*/ 219 h 544"/>
              <a:gd name="T8" fmla="*/ 118 w 533"/>
              <a:gd name="T9" fmla="*/ 231 h 544"/>
              <a:gd name="T10" fmla="*/ 188 w 533"/>
              <a:gd name="T11" fmla="*/ 291 h 544"/>
              <a:gd name="T12" fmla="*/ 220 w 533"/>
              <a:gd name="T13" fmla="*/ 317 h 544"/>
              <a:gd name="T14" fmla="*/ 218 w 533"/>
              <a:gd name="T15" fmla="*/ 372 h 544"/>
              <a:gd name="T16" fmla="*/ 250 w 533"/>
              <a:gd name="T17" fmla="*/ 396 h 544"/>
              <a:gd name="T18" fmla="*/ 262 w 533"/>
              <a:gd name="T19" fmla="*/ 424 h 544"/>
              <a:gd name="T20" fmla="*/ 275 w 533"/>
              <a:gd name="T21" fmla="*/ 445 h 544"/>
              <a:gd name="T22" fmla="*/ 232 w 533"/>
              <a:gd name="T23" fmla="*/ 488 h 544"/>
              <a:gd name="T24" fmla="*/ 281 w 533"/>
              <a:gd name="T25" fmla="*/ 529 h 544"/>
              <a:gd name="T26" fmla="*/ 343 w 533"/>
              <a:gd name="T27" fmla="*/ 462 h 544"/>
              <a:gd name="T28" fmla="*/ 399 w 533"/>
              <a:gd name="T29" fmla="*/ 384 h 544"/>
              <a:gd name="T30" fmla="*/ 445 w 533"/>
              <a:gd name="T31" fmla="*/ 371 h 544"/>
              <a:gd name="T32" fmla="*/ 475 w 533"/>
              <a:gd name="T33" fmla="*/ 249 h 544"/>
              <a:gd name="T34" fmla="*/ 532 w 533"/>
              <a:gd name="T35" fmla="*/ 166 h 544"/>
              <a:gd name="T36" fmla="*/ 502 w 533"/>
              <a:gd name="T37" fmla="*/ 137 h 544"/>
              <a:gd name="T38" fmla="*/ 401 w 533"/>
              <a:gd name="T39" fmla="*/ 106 h 544"/>
              <a:gd name="T40" fmla="*/ 365 w 533"/>
              <a:gd name="T41" fmla="*/ 78 h 544"/>
              <a:gd name="T42" fmla="*/ 334 w 533"/>
              <a:gd name="T43" fmla="*/ 102 h 544"/>
              <a:gd name="T44" fmla="*/ 305 w 533"/>
              <a:gd name="T45" fmla="*/ 98 h 544"/>
              <a:gd name="T46" fmla="*/ 306 w 533"/>
              <a:gd name="T47" fmla="*/ 75 h 544"/>
              <a:gd name="T48" fmla="*/ 305 w 533"/>
              <a:gd name="T49" fmla="*/ 15 h 544"/>
              <a:gd name="T50" fmla="*/ 265 w 533"/>
              <a:gd name="T51" fmla="*/ 39 h 544"/>
              <a:gd name="T52" fmla="*/ 198 w 533"/>
              <a:gd name="T53" fmla="*/ 49 h 544"/>
              <a:gd name="T54" fmla="*/ 194 w 533"/>
              <a:gd name="T55" fmla="*/ 9 h 544"/>
              <a:gd name="T56" fmla="*/ 147 w 533"/>
              <a:gd name="T57" fmla="*/ 16 h 544"/>
              <a:gd name="T58" fmla="*/ 131 w 533"/>
              <a:gd name="T59" fmla="*/ 37 h 544"/>
              <a:gd name="T60" fmla="*/ 111 w 533"/>
              <a:gd name="T61" fmla="*/ 59 h 544"/>
              <a:gd name="T62" fmla="*/ 87 w 533"/>
              <a:gd name="T63" fmla="*/ 42 h 544"/>
              <a:gd name="T64" fmla="*/ 65 w 533"/>
              <a:gd name="T65" fmla="*/ 61 h 544"/>
              <a:gd name="T66" fmla="*/ 59 w 533"/>
              <a:gd name="T67" fmla="*/ 87 h 544"/>
              <a:gd name="T68" fmla="*/ 19 w 533"/>
              <a:gd name="T69" fmla="*/ 140 h 544"/>
              <a:gd name="T70" fmla="*/ 0 w 533"/>
              <a:gd name="T71" fmla="*/ 172 h 5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33"/>
              <a:gd name="T109" fmla="*/ 0 h 544"/>
              <a:gd name="T110" fmla="*/ 533 w 533"/>
              <a:gd name="T111" fmla="*/ 544 h 5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33" h="544">
                <a:moveTo>
                  <a:pt x="0" y="172"/>
                </a:moveTo>
                <a:lnTo>
                  <a:pt x="0" y="172"/>
                </a:lnTo>
                <a:lnTo>
                  <a:pt x="11" y="197"/>
                </a:lnTo>
                <a:lnTo>
                  <a:pt x="30" y="205"/>
                </a:lnTo>
                <a:lnTo>
                  <a:pt x="45" y="196"/>
                </a:lnTo>
                <a:lnTo>
                  <a:pt x="45" y="218"/>
                </a:lnTo>
                <a:lnTo>
                  <a:pt x="56" y="218"/>
                </a:lnTo>
                <a:lnTo>
                  <a:pt x="73" y="219"/>
                </a:lnTo>
                <a:lnTo>
                  <a:pt x="114" y="200"/>
                </a:lnTo>
                <a:lnTo>
                  <a:pt x="118" y="231"/>
                </a:lnTo>
                <a:lnTo>
                  <a:pt x="178" y="255"/>
                </a:lnTo>
                <a:lnTo>
                  <a:pt x="188" y="291"/>
                </a:lnTo>
                <a:lnTo>
                  <a:pt x="211" y="293"/>
                </a:lnTo>
                <a:lnTo>
                  <a:pt x="220" y="317"/>
                </a:lnTo>
                <a:lnTo>
                  <a:pt x="215" y="345"/>
                </a:lnTo>
                <a:lnTo>
                  <a:pt x="218" y="372"/>
                </a:lnTo>
                <a:lnTo>
                  <a:pt x="246" y="377"/>
                </a:lnTo>
                <a:lnTo>
                  <a:pt x="250" y="396"/>
                </a:lnTo>
                <a:lnTo>
                  <a:pt x="264" y="399"/>
                </a:lnTo>
                <a:lnTo>
                  <a:pt x="262" y="424"/>
                </a:lnTo>
                <a:lnTo>
                  <a:pt x="273" y="424"/>
                </a:lnTo>
                <a:lnTo>
                  <a:pt x="275" y="445"/>
                </a:lnTo>
                <a:lnTo>
                  <a:pt x="222" y="491"/>
                </a:lnTo>
                <a:lnTo>
                  <a:pt x="232" y="488"/>
                </a:lnTo>
                <a:lnTo>
                  <a:pt x="273" y="517"/>
                </a:lnTo>
                <a:lnTo>
                  <a:pt x="281" y="529"/>
                </a:lnTo>
                <a:lnTo>
                  <a:pt x="278" y="543"/>
                </a:lnTo>
                <a:lnTo>
                  <a:pt x="343" y="462"/>
                </a:lnTo>
                <a:lnTo>
                  <a:pt x="347" y="421"/>
                </a:lnTo>
                <a:lnTo>
                  <a:pt x="399" y="384"/>
                </a:lnTo>
                <a:lnTo>
                  <a:pt x="432" y="384"/>
                </a:lnTo>
                <a:lnTo>
                  <a:pt x="445" y="371"/>
                </a:lnTo>
                <a:lnTo>
                  <a:pt x="472" y="310"/>
                </a:lnTo>
                <a:lnTo>
                  <a:pt x="475" y="249"/>
                </a:lnTo>
                <a:lnTo>
                  <a:pt x="527" y="191"/>
                </a:lnTo>
                <a:lnTo>
                  <a:pt x="532" y="166"/>
                </a:lnTo>
                <a:lnTo>
                  <a:pt x="524" y="141"/>
                </a:lnTo>
                <a:lnTo>
                  <a:pt x="502" y="137"/>
                </a:lnTo>
                <a:lnTo>
                  <a:pt x="468" y="111"/>
                </a:lnTo>
                <a:lnTo>
                  <a:pt x="401" y="106"/>
                </a:lnTo>
                <a:lnTo>
                  <a:pt x="395" y="90"/>
                </a:lnTo>
                <a:lnTo>
                  <a:pt x="365" y="78"/>
                </a:lnTo>
                <a:lnTo>
                  <a:pt x="352" y="79"/>
                </a:lnTo>
                <a:lnTo>
                  <a:pt x="334" y="102"/>
                </a:lnTo>
                <a:lnTo>
                  <a:pt x="334" y="94"/>
                </a:lnTo>
                <a:lnTo>
                  <a:pt x="305" y="98"/>
                </a:lnTo>
                <a:lnTo>
                  <a:pt x="317" y="93"/>
                </a:lnTo>
                <a:lnTo>
                  <a:pt x="306" y="75"/>
                </a:lnTo>
                <a:lnTo>
                  <a:pt x="327" y="48"/>
                </a:lnTo>
                <a:lnTo>
                  <a:pt x="305" y="15"/>
                </a:lnTo>
                <a:lnTo>
                  <a:pt x="285" y="41"/>
                </a:lnTo>
                <a:lnTo>
                  <a:pt x="265" y="39"/>
                </a:lnTo>
                <a:lnTo>
                  <a:pt x="237" y="43"/>
                </a:lnTo>
                <a:lnTo>
                  <a:pt x="198" y="49"/>
                </a:lnTo>
                <a:lnTo>
                  <a:pt x="191" y="35"/>
                </a:lnTo>
                <a:lnTo>
                  <a:pt x="194" y="9"/>
                </a:lnTo>
                <a:lnTo>
                  <a:pt x="181" y="0"/>
                </a:lnTo>
                <a:lnTo>
                  <a:pt x="147" y="16"/>
                </a:lnTo>
                <a:lnTo>
                  <a:pt x="124" y="11"/>
                </a:lnTo>
                <a:lnTo>
                  <a:pt x="131" y="37"/>
                </a:lnTo>
                <a:lnTo>
                  <a:pt x="144" y="40"/>
                </a:lnTo>
                <a:lnTo>
                  <a:pt x="111" y="59"/>
                </a:lnTo>
                <a:lnTo>
                  <a:pt x="95" y="52"/>
                </a:lnTo>
                <a:lnTo>
                  <a:pt x="87" y="42"/>
                </a:lnTo>
                <a:lnTo>
                  <a:pt x="55" y="47"/>
                </a:lnTo>
                <a:lnTo>
                  <a:pt x="65" y="61"/>
                </a:lnTo>
                <a:lnTo>
                  <a:pt x="52" y="63"/>
                </a:lnTo>
                <a:lnTo>
                  <a:pt x="59" y="87"/>
                </a:lnTo>
                <a:lnTo>
                  <a:pt x="53" y="126"/>
                </a:lnTo>
                <a:lnTo>
                  <a:pt x="19" y="140"/>
                </a:lnTo>
                <a:lnTo>
                  <a:pt x="0" y="17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9" name="Freeform 709">
            <a:extLst>
              <a:ext uri="{FF2B5EF4-FFF2-40B4-BE49-F238E27FC236}">
                <a16:creationId xmlns:a16="http://schemas.microsoft.com/office/drawing/2014/main" id="{E5978EA7-ED59-430A-936F-7AAC511D80FB}"/>
              </a:ext>
            </a:extLst>
          </p:cNvPr>
          <p:cNvSpPr>
            <a:spLocks/>
          </p:cNvSpPr>
          <p:nvPr/>
        </p:nvSpPr>
        <p:spPr bwMode="auto">
          <a:xfrm>
            <a:off x="2664707" y="5086827"/>
            <a:ext cx="14942" cy="41163"/>
          </a:xfrm>
          <a:custGeom>
            <a:avLst/>
            <a:gdLst>
              <a:gd name="T0" fmla="*/ 0 w 13"/>
              <a:gd name="T1" fmla="*/ 8 h 37"/>
              <a:gd name="T2" fmla="*/ 0 w 13"/>
              <a:gd name="T3" fmla="*/ 8 h 37"/>
              <a:gd name="T4" fmla="*/ 5 w 13"/>
              <a:gd name="T5" fmla="*/ 36 h 37"/>
              <a:gd name="T6" fmla="*/ 12 w 13"/>
              <a:gd name="T7" fmla="*/ 0 h 37"/>
              <a:gd name="T8" fmla="*/ 0 w 13"/>
              <a:gd name="T9" fmla="*/ 8 h 37"/>
              <a:gd name="T10" fmla="*/ 0 w 13"/>
              <a:gd name="T11" fmla="*/ 8 h 37"/>
              <a:gd name="T12" fmla="*/ 0 60000 65536"/>
              <a:gd name="T13" fmla="*/ 0 60000 65536"/>
              <a:gd name="T14" fmla="*/ 0 60000 65536"/>
              <a:gd name="T15" fmla="*/ 0 60000 65536"/>
              <a:gd name="T16" fmla="*/ 0 60000 65536"/>
              <a:gd name="T17" fmla="*/ 0 60000 65536"/>
              <a:gd name="T18" fmla="*/ 0 w 13"/>
              <a:gd name="T19" fmla="*/ 0 h 37"/>
              <a:gd name="T20" fmla="*/ 13 w 1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13" h="37">
                <a:moveTo>
                  <a:pt x="0" y="8"/>
                </a:moveTo>
                <a:lnTo>
                  <a:pt x="0" y="8"/>
                </a:lnTo>
                <a:lnTo>
                  <a:pt x="5" y="36"/>
                </a:lnTo>
                <a:lnTo>
                  <a:pt x="12" y="0"/>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0" name="Freeform 710">
            <a:extLst>
              <a:ext uri="{FF2B5EF4-FFF2-40B4-BE49-F238E27FC236}">
                <a16:creationId xmlns:a16="http://schemas.microsoft.com/office/drawing/2014/main" id="{A7719609-0A29-44D8-B66E-E402A76F776A}"/>
              </a:ext>
            </a:extLst>
          </p:cNvPr>
          <p:cNvSpPr>
            <a:spLocks/>
          </p:cNvSpPr>
          <p:nvPr/>
        </p:nvSpPr>
        <p:spPr bwMode="auto">
          <a:xfrm>
            <a:off x="2878496" y="5634183"/>
            <a:ext cx="132182" cy="635245"/>
          </a:xfrm>
          <a:custGeom>
            <a:avLst/>
            <a:gdLst>
              <a:gd name="T0" fmla="*/ 0 w 115"/>
              <a:gd name="T1" fmla="*/ 445 h 571"/>
              <a:gd name="T2" fmla="*/ 0 w 115"/>
              <a:gd name="T3" fmla="*/ 445 h 571"/>
              <a:gd name="T4" fmla="*/ 9 w 115"/>
              <a:gd name="T5" fmla="*/ 430 h 571"/>
              <a:gd name="T6" fmla="*/ 24 w 115"/>
              <a:gd name="T7" fmla="*/ 441 h 571"/>
              <a:gd name="T8" fmla="*/ 39 w 115"/>
              <a:gd name="T9" fmla="*/ 412 h 571"/>
              <a:gd name="T10" fmla="*/ 33 w 115"/>
              <a:gd name="T11" fmla="*/ 400 h 571"/>
              <a:gd name="T12" fmla="*/ 45 w 115"/>
              <a:gd name="T13" fmla="*/ 360 h 571"/>
              <a:gd name="T14" fmla="*/ 24 w 115"/>
              <a:gd name="T15" fmla="*/ 357 h 571"/>
              <a:gd name="T16" fmla="*/ 27 w 115"/>
              <a:gd name="T17" fmla="*/ 292 h 571"/>
              <a:gd name="T18" fmla="*/ 55 w 115"/>
              <a:gd name="T19" fmla="*/ 224 h 571"/>
              <a:gd name="T20" fmla="*/ 54 w 115"/>
              <a:gd name="T21" fmla="*/ 166 h 571"/>
              <a:gd name="T22" fmla="*/ 74 w 115"/>
              <a:gd name="T23" fmla="*/ 58 h 571"/>
              <a:gd name="T24" fmla="*/ 68 w 115"/>
              <a:gd name="T25" fmla="*/ 9 h 571"/>
              <a:gd name="T26" fmla="*/ 81 w 115"/>
              <a:gd name="T27" fmla="*/ 0 h 571"/>
              <a:gd name="T28" fmla="*/ 96 w 115"/>
              <a:gd name="T29" fmla="*/ 25 h 571"/>
              <a:gd name="T30" fmla="*/ 104 w 115"/>
              <a:gd name="T31" fmla="*/ 75 h 571"/>
              <a:gd name="T32" fmla="*/ 114 w 115"/>
              <a:gd name="T33" fmla="*/ 76 h 571"/>
              <a:gd name="T34" fmla="*/ 112 w 115"/>
              <a:gd name="T35" fmla="*/ 93 h 571"/>
              <a:gd name="T36" fmla="*/ 97 w 115"/>
              <a:gd name="T37" fmla="*/ 100 h 571"/>
              <a:gd name="T38" fmla="*/ 98 w 115"/>
              <a:gd name="T39" fmla="*/ 134 h 571"/>
              <a:gd name="T40" fmla="*/ 81 w 115"/>
              <a:gd name="T41" fmla="*/ 152 h 571"/>
              <a:gd name="T42" fmla="*/ 69 w 115"/>
              <a:gd name="T43" fmla="*/ 199 h 571"/>
              <a:gd name="T44" fmla="*/ 78 w 115"/>
              <a:gd name="T45" fmla="*/ 243 h 571"/>
              <a:gd name="T46" fmla="*/ 61 w 115"/>
              <a:gd name="T47" fmla="*/ 281 h 571"/>
              <a:gd name="T48" fmla="*/ 48 w 115"/>
              <a:gd name="T49" fmla="*/ 374 h 571"/>
              <a:gd name="T50" fmla="*/ 58 w 115"/>
              <a:gd name="T51" fmla="*/ 409 h 571"/>
              <a:gd name="T52" fmla="*/ 49 w 115"/>
              <a:gd name="T53" fmla="*/ 412 h 571"/>
              <a:gd name="T54" fmla="*/ 53 w 115"/>
              <a:gd name="T55" fmla="*/ 442 h 571"/>
              <a:gd name="T56" fmla="*/ 30 w 115"/>
              <a:gd name="T57" fmla="*/ 505 h 571"/>
              <a:gd name="T58" fmla="*/ 33 w 115"/>
              <a:gd name="T59" fmla="*/ 516 h 571"/>
              <a:gd name="T60" fmla="*/ 44 w 115"/>
              <a:gd name="T61" fmla="*/ 512 h 571"/>
              <a:gd name="T62" fmla="*/ 48 w 115"/>
              <a:gd name="T63" fmla="*/ 536 h 571"/>
              <a:gd name="T64" fmla="*/ 98 w 115"/>
              <a:gd name="T65" fmla="*/ 541 h 571"/>
              <a:gd name="T66" fmla="*/ 65 w 115"/>
              <a:gd name="T67" fmla="*/ 551 h 571"/>
              <a:gd name="T68" fmla="*/ 61 w 115"/>
              <a:gd name="T69" fmla="*/ 570 h 571"/>
              <a:gd name="T70" fmla="*/ 46 w 115"/>
              <a:gd name="T71" fmla="*/ 565 h 571"/>
              <a:gd name="T72" fmla="*/ 62 w 115"/>
              <a:gd name="T73" fmla="*/ 553 h 571"/>
              <a:gd name="T74" fmla="*/ 38 w 115"/>
              <a:gd name="T75" fmla="*/ 548 h 571"/>
              <a:gd name="T76" fmla="*/ 35 w 115"/>
              <a:gd name="T77" fmla="*/ 527 h 571"/>
              <a:gd name="T78" fmla="*/ 29 w 115"/>
              <a:gd name="T79" fmla="*/ 537 h 571"/>
              <a:gd name="T80" fmla="*/ 20 w 115"/>
              <a:gd name="T81" fmla="*/ 518 h 571"/>
              <a:gd name="T82" fmla="*/ 25 w 115"/>
              <a:gd name="T83" fmla="*/ 513 h 571"/>
              <a:gd name="T84" fmla="*/ 14 w 115"/>
              <a:gd name="T85" fmla="*/ 504 h 571"/>
              <a:gd name="T86" fmla="*/ 24 w 115"/>
              <a:gd name="T87" fmla="*/ 494 h 571"/>
              <a:gd name="T88" fmla="*/ 15 w 115"/>
              <a:gd name="T89" fmla="*/ 466 h 571"/>
              <a:gd name="T90" fmla="*/ 32 w 115"/>
              <a:gd name="T91" fmla="*/ 469 h 571"/>
              <a:gd name="T92" fmla="*/ 15 w 115"/>
              <a:gd name="T93" fmla="*/ 455 h 571"/>
              <a:gd name="T94" fmla="*/ 19 w 115"/>
              <a:gd name="T95" fmla="*/ 444 h 571"/>
              <a:gd name="T96" fmla="*/ 0 w 115"/>
              <a:gd name="T97" fmla="*/ 445 h 571"/>
              <a:gd name="T98" fmla="*/ 0 w 115"/>
              <a:gd name="T99" fmla="*/ 445 h 57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5"/>
              <a:gd name="T151" fmla="*/ 0 h 571"/>
              <a:gd name="T152" fmla="*/ 115 w 115"/>
              <a:gd name="T153" fmla="*/ 571 h 57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5" h="571">
                <a:moveTo>
                  <a:pt x="0" y="445"/>
                </a:moveTo>
                <a:lnTo>
                  <a:pt x="0" y="445"/>
                </a:lnTo>
                <a:lnTo>
                  <a:pt x="9" y="430"/>
                </a:lnTo>
                <a:lnTo>
                  <a:pt x="24" y="441"/>
                </a:lnTo>
                <a:lnTo>
                  <a:pt x="39" y="412"/>
                </a:lnTo>
                <a:lnTo>
                  <a:pt x="33" y="400"/>
                </a:lnTo>
                <a:lnTo>
                  <a:pt x="45" y="360"/>
                </a:lnTo>
                <a:lnTo>
                  <a:pt x="24" y="357"/>
                </a:lnTo>
                <a:lnTo>
                  <a:pt x="27" y="292"/>
                </a:lnTo>
                <a:lnTo>
                  <a:pt x="55" y="224"/>
                </a:lnTo>
                <a:lnTo>
                  <a:pt x="54" y="166"/>
                </a:lnTo>
                <a:lnTo>
                  <a:pt x="74" y="58"/>
                </a:lnTo>
                <a:lnTo>
                  <a:pt x="68" y="9"/>
                </a:lnTo>
                <a:lnTo>
                  <a:pt x="81" y="0"/>
                </a:lnTo>
                <a:lnTo>
                  <a:pt x="96" y="25"/>
                </a:lnTo>
                <a:lnTo>
                  <a:pt x="104" y="75"/>
                </a:lnTo>
                <a:lnTo>
                  <a:pt x="114" y="76"/>
                </a:lnTo>
                <a:lnTo>
                  <a:pt x="112" y="93"/>
                </a:lnTo>
                <a:lnTo>
                  <a:pt x="97" y="100"/>
                </a:lnTo>
                <a:lnTo>
                  <a:pt x="98" y="134"/>
                </a:lnTo>
                <a:lnTo>
                  <a:pt x="81" y="152"/>
                </a:lnTo>
                <a:lnTo>
                  <a:pt x="69" y="199"/>
                </a:lnTo>
                <a:lnTo>
                  <a:pt x="78" y="243"/>
                </a:lnTo>
                <a:lnTo>
                  <a:pt x="61" y="281"/>
                </a:lnTo>
                <a:lnTo>
                  <a:pt x="48" y="374"/>
                </a:lnTo>
                <a:lnTo>
                  <a:pt x="58" y="409"/>
                </a:lnTo>
                <a:lnTo>
                  <a:pt x="49" y="412"/>
                </a:lnTo>
                <a:lnTo>
                  <a:pt x="53" y="442"/>
                </a:lnTo>
                <a:lnTo>
                  <a:pt x="30" y="505"/>
                </a:lnTo>
                <a:lnTo>
                  <a:pt x="33" y="516"/>
                </a:lnTo>
                <a:lnTo>
                  <a:pt x="44" y="512"/>
                </a:lnTo>
                <a:lnTo>
                  <a:pt x="48" y="536"/>
                </a:lnTo>
                <a:lnTo>
                  <a:pt x="98" y="541"/>
                </a:lnTo>
                <a:lnTo>
                  <a:pt x="65" y="551"/>
                </a:lnTo>
                <a:lnTo>
                  <a:pt x="61" y="570"/>
                </a:lnTo>
                <a:lnTo>
                  <a:pt x="46" y="565"/>
                </a:lnTo>
                <a:lnTo>
                  <a:pt x="62" y="553"/>
                </a:lnTo>
                <a:lnTo>
                  <a:pt x="38" y="548"/>
                </a:lnTo>
                <a:lnTo>
                  <a:pt x="35" y="527"/>
                </a:lnTo>
                <a:lnTo>
                  <a:pt x="29" y="537"/>
                </a:lnTo>
                <a:lnTo>
                  <a:pt x="20" y="518"/>
                </a:lnTo>
                <a:lnTo>
                  <a:pt x="25" y="513"/>
                </a:lnTo>
                <a:lnTo>
                  <a:pt x="14" y="504"/>
                </a:lnTo>
                <a:lnTo>
                  <a:pt x="24" y="494"/>
                </a:lnTo>
                <a:lnTo>
                  <a:pt x="15" y="466"/>
                </a:lnTo>
                <a:lnTo>
                  <a:pt x="32" y="469"/>
                </a:lnTo>
                <a:lnTo>
                  <a:pt x="15" y="455"/>
                </a:lnTo>
                <a:lnTo>
                  <a:pt x="19" y="444"/>
                </a:lnTo>
                <a:lnTo>
                  <a:pt x="0" y="44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1" name="Freeform 711">
            <a:extLst>
              <a:ext uri="{FF2B5EF4-FFF2-40B4-BE49-F238E27FC236}">
                <a16:creationId xmlns:a16="http://schemas.microsoft.com/office/drawing/2014/main" id="{AE2EB892-083B-4926-A4AF-A6476C2E6D93}"/>
              </a:ext>
            </a:extLst>
          </p:cNvPr>
          <p:cNvSpPr>
            <a:spLocks/>
          </p:cNvSpPr>
          <p:nvPr/>
        </p:nvSpPr>
        <p:spPr bwMode="auto">
          <a:xfrm>
            <a:off x="2885392" y="6165965"/>
            <a:ext cx="11494" cy="24476"/>
          </a:xfrm>
          <a:custGeom>
            <a:avLst/>
            <a:gdLst>
              <a:gd name="T0" fmla="*/ 0 w 10"/>
              <a:gd name="T1" fmla="*/ 9 h 22"/>
              <a:gd name="T2" fmla="*/ 0 w 10"/>
              <a:gd name="T3" fmla="*/ 9 h 22"/>
              <a:gd name="T4" fmla="*/ 4 w 10"/>
              <a:gd name="T5" fmla="*/ 0 h 22"/>
              <a:gd name="T6" fmla="*/ 9 w 10"/>
              <a:gd name="T7" fmla="*/ 21 h 22"/>
              <a:gd name="T8" fmla="*/ 0 w 10"/>
              <a:gd name="T9" fmla="*/ 9 h 22"/>
              <a:gd name="T10" fmla="*/ 0 w 10"/>
              <a:gd name="T11" fmla="*/ 9 h 22"/>
              <a:gd name="T12" fmla="*/ 0 60000 65536"/>
              <a:gd name="T13" fmla="*/ 0 60000 65536"/>
              <a:gd name="T14" fmla="*/ 0 60000 65536"/>
              <a:gd name="T15" fmla="*/ 0 60000 65536"/>
              <a:gd name="T16" fmla="*/ 0 60000 65536"/>
              <a:gd name="T17" fmla="*/ 0 60000 65536"/>
              <a:gd name="T18" fmla="*/ 0 w 10"/>
              <a:gd name="T19" fmla="*/ 0 h 22"/>
              <a:gd name="T20" fmla="*/ 10 w 10"/>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0" h="22">
                <a:moveTo>
                  <a:pt x="0" y="9"/>
                </a:moveTo>
                <a:lnTo>
                  <a:pt x="0" y="9"/>
                </a:lnTo>
                <a:lnTo>
                  <a:pt x="4" y="0"/>
                </a:lnTo>
                <a:lnTo>
                  <a:pt x="9" y="21"/>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2" name="Freeform 712">
            <a:extLst>
              <a:ext uri="{FF2B5EF4-FFF2-40B4-BE49-F238E27FC236}">
                <a16:creationId xmlns:a16="http://schemas.microsoft.com/office/drawing/2014/main" id="{E06CD000-F4B9-4678-8D0F-0F22AD97FDB2}"/>
              </a:ext>
            </a:extLst>
          </p:cNvPr>
          <p:cNvSpPr>
            <a:spLocks/>
          </p:cNvSpPr>
          <p:nvPr/>
        </p:nvSpPr>
        <p:spPr bwMode="auto">
          <a:xfrm>
            <a:off x="2896887" y="6036913"/>
            <a:ext cx="10345" cy="31151"/>
          </a:xfrm>
          <a:custGeom>
            <a:avLst/>
            <a:gdLst>
              <a:gd name="T0" fmla="*/ 0 w 9"/>
              <a:gd name="T1" fmla="*/ 23 h 28"/>
              <a:gd name="T2" fmla="*/ 0 w 9"/>
              <a:gd name="T3" fmla="*/ 23 h 28"/>
              <a:gd name="T4" fmla="*/ 8 w 9"/>
              <a:gd name="T5" fmla="*/ 0 h 28"/>
              <a:gd name="T6" fmla="*/ 8 w 9"/>
              <a:gd name="T7" fmla="*/ 27 h 28"/>
              <a:gd name="T8" fmla="*/ 0 w 9"/>
              <a:gd name="T9" fmla="*/ 23 h 28"/>
              <a:gd name="T10" fmla="*/ 0 w 9"/>
              <a:gd name="T11" fmla="*/ 23 h 28"/>
              <a:gd name="T12" fmla="*/ 0 60000 65536"/>
              <a:gd name="T13" fmla="*/ 0 60000 65536"/>
              <a:gd name="T14" fmla="*/ 0 60000 65536"/>
              <a:gd name="T15" fmla="*/ 0 60000 65536"/>
              <a:gd name="T16" fmla="*/ 0 60000 65536"/>
              <a:gd name="T17" fmla="*/ 0 60000 65536"/>
              <a:gd name="T18" fmla="*/ 0 w 9"/>
              <a:gd name="T19" fmla="*/ 0 h 28"/>
              <a:gd name="T20" fmla="*/ 9 w 9"/>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9" h="28">
                <a:moveTo>
                  <a:pt x="0" y="23"/>
                </a:moveTo>
                <a:lnTo>
                  <a:pt x="0" y="23"/>
                </a:lnTo>
                <a:lnTo>
                  <a:pt x="8" y="0"/>
                </a:lnTo>
                <a:lnTo>
                  <a:pt x="8" y="27"/>
                </a:lnTo>
                <a:lnTo>
                  <a:pt x="0" y="2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3" name="Freeform 713">
            <a:extLst>
              <a:ext uri="{FF2B5EF4-FFF2-40B4-BE49-F238E27FC236}">
                <a16:creationId xmlns:a16="http://schemas.microsoft.com/office/drawing/2014/main" id="{E43B555A-3022-4CDD-B5AC-2524555140D9}"/>
              </a:ext>
            </a:extLst>
          </p:cNvPr>
          <p:cNvSpPr>
            <a:spLocks/>
          </p:cNvSpPr>
          <p:nvPr/>
        </p:nvSpPr>
        <p:spPr bwMode="auto">
          <a:xfrm>
            <a:off x="2907231" y="6260528"/>
            <a:ext cx="21839" cy="14463"/>
          </a:xfrm>
          <a:custGeom>
            <a:avLst/>
            <a:gdLst>
              <a:gd name="T0" fmla="*/ 0 w 19"/>
              <a:gd name="T1" fmla="*/ 0 h 13"/>
              <a:gd name="T2" fmla="*/ 0 w 19"/>
              <a:gd name="T3" fmla="*/ 0 h 13"/>
              <a:gd name="T4" fmla="*/ 18 w 19"/>
              <a:gd name="T5" fmla="*/ 3 h 13"/>
              <a:gd name="T6" fmla="*/ 18 w 19"/>
              <a:gd name="T7" fmla="*/ 12 h 13"/>
              <a:gd name="T8" fmla="*/ 0 w 19"/>
              <a:gd name="T9" fmla="*/ 0 h 13"/>
              <a:gd name="T10" fmla="*/ 0 w 19"/>
              <a:gd name="T11" fmla="*/ 0 h 13"/>
              <a:gd name="T12" fmla="*/ 0 60000 65536"/>
              <a:gd name="T13" fmla="*/ 0 60000 65536"/>
              <a:gd name="T14" fmla="*/ 0 60000 65536"/>
              <a:gd name="T15" fmla="*/ 0 60000 65536"/>
              <a:gd name="T16" fmla="*/ 0 60000 65536"/>
              <a:gd name="T17" fmla="*/ 0 60000 65536"/>
              <a:gd name="T18" fmla="*/ 0 w 19"/>
              <a:gd name="T19" fmla="*/ 0 h 13"/>
              <a:gd name="T20" fmla="*/ 19 w 1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9" h="13">
                <a:moveTo>
                  <a:pt x="0" y="0"/>
                </a:moveTo>
                <a:lnTo>
                  <a:pt x="0" y="0"/>
                </a:lnTo>
                <a:lnTo>
                  <a:pt x="18" y="3"/>
                </a:lnTo>
                <a:lnTo>
                  <a:pt x="18" y="1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4" name="Freeform 714">
            <a:extLst>
              <a:ext uri="{FF2B5EF4-FFF2-40B4-BE49-F238E27FC236}">
                <a16:creationId xmlns:a16="http://schemas.microsoft.com/office/drawing/2014/main" id="{926AFD02-FCE4-4DC8-B6DD-C5839ECD5A46}"/>
              </a:ext>
            </a:extLst>
          </p:cNvPr>
          <p:cNvSpPr>
            <a:spLocks/>
          </p:cNvSpPr>
          <p:nvPr/>
        </p:nvSpPr>
        <p:spPr bwMode="auto">
          <a:xfrm>
            <a:off x="2911829" y="6230491"/>
            <a:ext cx="32184" cy="31151"/>
          </a:xfrm>
          <a:custGeom>
            <a:avLst/>
            <a:gdLst>
              <a:gd name="T0" fmla="*/ 0 w 28"/>
              <a:gd name="T1" fmla="*/ 5 h 28"/>
              <a:gd name="T2" fmla="*/ 0 w 28"/>
              <a:gd name="T3" fmla="*/ 5 h 28"/>
              <a:gd name="T4" fmla="*/ 7 w 28"/>
              <a:gd name="T5" fmla="*/ 0 h 28"/>
              <a:gd name="T6" fmla="*/ 6 w 28"/>
              <a:gd name="T7" fmla="*/ 13 h 28"/>
              <a:gd name="T8" fmla="*/ 27 w 28"/>
              <a:gd name="T9" fmla="*/ 17 h 28"/>
              <a:gd name="T10" fmla="*/ 14 w 28"/>
              <a:gd name="T11" fmla="*/ 27 h 28"/>
              <a:gd name="T12" fmla="*/ 0 w 28"/>
              <a:gd name="T13" fmla="*/ 5 h 28"/>
              <a:gd name="T14" fmla="*/ 0 w 28"/>
              <a:gd name="T15" fmla="*/ 5 h 28"/>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28"/>
              <a:gd name="T26" fmla="*/ 28 w 28"/>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28">
                <a:moveTo>
                  <a:pt x="0" y="5"/>
                </a:moveTo>
                <a:lnTo>
                  <a:pt x="0" y="5"/>
                </a:lnTo>
                <a:lnTo>
                  <a:pt x="7" y="0"/>
                </a:lnTo>
                <a:lnTo>
                  <a:pt x="6" y="13"/>
                </a:lnTo>
                <a:lnTo>
                  <a:pt x="27" y="17"/>
                </a:lnTo>
                <a:lnTo>
                  <a:pt x="14" y="27"/>
                </a:lnTo>
                <a:lnTo>
                  <a:pt x="0" y="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5" name="Freeform 715">
            <a:extLst>
              <a:ext uri="{FF2B5EF4-FFF2-40B4-BE49-F238E27FC236}">
                <a16:creationId xmlns:a16="http://schemas.microsoft.com/office/drawing/2014/main" id="{6D5E84FF-0D77-4C0F-9A8C-8AC9C2395F79}"/>
              </a:ext>
            </a:extLst>
          </p:cNvPr>
          <p:cNvSpPr>
            <a:spLocks/>
          </p:cNvSpPr>
          <p:nvPr/>
        </p:nvSpPr>
        <p:spPr bwMode="auto">
          <a:xfrm>
            <a:off x="2933667" y="6270541"/>
            <a:ext cx="18390" cy="8900"/>
          </a:xfrm>
          <a:custGeom>
            <a:avLst/>
            <a:gdLst>
              <a:gd name="T0" fmla="*/ 0 w 16"/>
              <a:gd name="T1" fmla="*/ 5 h 8"/>
              <a:gd name="T2" fmla="*/ 0 w 16"/>
              <a:gd name="T3" fmla="*/ 5 h 8"/>
              <a:gd name="T4" fmla="*/ 4 w 16"/>
              <a:gd name="T5" fmla="*/ 0 h 8"/>
              <a:gd name="T6" fmla="*/ 15 w 16"/>
              <a:gd name="T7" fmla="*/ 7 h 8"/>
              <a:gd name="T8" fmla="*/ 0 w 16"/>
              <a:gd name="T9" fmla="*/ 5 h 8"/>
              <a:gd name="T10" fmla="*/ 0 w 16"/>
              <a:gd name="T11" fmla="*/ 5 h 8"/>
              <a:gd name="T12" fmla="*/ 0 60000 65536"/>
              <a:gd name="T13" fmla="*/ 0 60000 65536"/>
              <a:gd name="T14" fmla="*/ 0 60000 65536"/>
              <a:gd name="T15" fmla="*/ 0 60000 65536"/>
              <a:gd name="T16" fmla="*/ 0 60000 65536"/>
              <a:gd name="T17" fmla="*/ 0 60000 65536"/>
              <a:gd name="T18" fmla="*/ 0 w 16"/>
              <a:gd name="T19" fmla="*/ 0 h 8"/>
              <a:gd name="T20" fmla="*/ 16 w 16"/>
              <a:gd name="T21" fmla="*/ 8 h 8"/>
            </a:gdLst>
            <a:ahLst/>
            <a:cxnLst>
              <a:cxn ang="T12">
                <a:pos x="T0" y="T1"/>
              </a:cxn>
              <a:cxn ang="T13">
                <a:pos x="T2" y="T3"/>
              </a:cxn>
              <a:cxn ang="T14">
                <a:pos x="T4" y="T5"/>
              </a:cxn>
              <a:cxn ang="T15">
                <a:pos x="T6" y="T7"/>
              </a:cxn>
              <a:cxn ang="T16">
                <a:pos x="T8" y="T9"/>
              </a:cxn>
              <a:cxn ang="T17">
                <a:pos x="T10" y="T11"/>
              </a:cxn>
            </a:cxnLst>
            <a:rect l="T18" t="T19" r="T20" b="T21"/>
            <a:pathLst>
              <a:path w="16" h="8">
                <a:moveTo>
                  <a:pt x="0" y="5"/>
                </a:moveTo>
                <a:lnTo>
                  <a:pt x="0" y="5"/>
                </a:lnTo>
                <a:lnTo>
                  <a:pt x="4" y="0"/>
                </a:lnTo>
                <a:lnTo>
                  <a:pt x="15" y="7"/>
                </a:lnTo>
                <a:lnTo>
                  <a:pt x="0" y="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6" name="Freeform 716">
            <a:extLst>
              <a:ext uri="{FF2B5EF4-FFF2-40B4-BE49-F238E27FC236}">
                <a16:creationId xmlns:a16="http://schemas.microsoft.com/office/drawing/2014/main" id="{D53E2190-2974-43B0-A06A-0D8F1220AE31}"/>
              </a:ext>
            </a:extLst>
          </p:cNvPr>
          <p:cNvSpPr>
            <a:spLocks/>
          </p:cNvSpPr>
          <p:nvPr/>
        </p:nvSpPr>
        <p:spPr bwMode="auto">
          <a:xfrm>
            <a:off x="2945161" y="6244953"/>
            <a:ext cx="44827" cy="46726"/>
          </a:xfrm>
          <a:custGeom>
            <a:avLst/>
            <a:gdLst>
              <a:gd name="T0" fmla="*/ 0 w 39"/>
              <a:gd name="T1" fmla="*/ 34 h 42"/>
              <a:gd name="T2" fmla="*/ 0 w 39"/>
              <a:gd name="T3" fmla="*/ 34 h 42"/>
              <a:gd name="T4" fmla="*/ 6 w 39"/>
              <a:gd name="T5" fmla="*/ 27 h 42"/>
              <a:gd name="T6" fmla="*/ 26 w 39"/>
              <a:gd name="T7" fmla="*/ 31 h 42"/>
              <a:gd name="T8" fmla="*/ 17 w 39"/>
              <a:gd name="T9" fmla="*/ 21 h 42"/>
              <a:gd name="T10" fmla="*/ 27 w 39"/>
              <a:gd name="T11" fmla="*/ 14 h 42"/>
              <a:gd name="T12" fmla="*/ 12 w 39"/>
              <a:gd name="T13" fmla="*/ 12 h 42"/>
              <a:gd name="T14" fmla="*/ 12 w 39"/>
              <a:gd name="T15" fmla="*/ 2 h 42"/>
              <a:gd name="T16" fmla="*/ 36 w 39"/>
              <a:gd name="T17" fmla="*/ 0 h 42"/>
              <a:gd name="T18" fmla="*/ 38 w 39"/>
              <a:gd name="T19" fmla="*/ 41 h 42"/>
              <a:gd name="T20" fmla="*/ 0 w 39"/>
              <a:gd name="T21" fmla="*/ 34 h 42"/>
              <a:gd name="T22" fmla="*/ 0 w 39"/>
              <a:gd name="T23" fmla="*/ 34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42"/>
              <a:gd name="T38" fmla="*/ 39 w 3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42">
                <a:moveTo>
                  <a:pt x="0" y="34"/>
                </a:moveTo>
                <a:lnTo>
                  <a:pt x="0" y="34"/>
                </a:lnTo>
                <a:lnTo>
                  <a:pt x="6" y="27"/>
                </a:lnTo>
                <a:lnTo>
                  <a:pt x="26" y="31"/>
                </a:lnTo>
                <a:lnTo>
                  <a:pt x="17" y="21"/>
                </a:lnTo>
                <a:lnTo>
                  <a:pt x="27" y="14"/>
                </a:lnTo>
                <a:lnTo>
                  <a:pt x="12" y="12"/>
                </a:lnTo>
                <a:lnTo>
                  <a:pt x="12" y="2"/>
                </a:lnTo>
                <a:lnTo>
                  <a:pt x="36" y="0"/>
                </a:lnTo>
                <a:lnTo>
                  <a:pt x="38" y="41"/>
                </a:lnTo>
                <a:lnTo>
                  <a:pt x="0" y="3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7" name="Freeform 717">
            <a:extLst>
              <a:ext uri="{FF2B5EF4-FFF2-40B4-BE49-F238E27FC236}">
                <a16:creationId xmlns:a16="http://schemas.microsoft.com/office/drawing/2014/main" id="{44ED2386-1DC3-4623-A6DA-1C996E2D987B}"/>
              </a:ext>
            </a:extLst>
          </p:cNvPr>
          <p:cNvSpPr>
            <a:spLocks/>
          </p:cNvSpPr>
          <p:nvPr/>
        </p:nvSpPr>
        <p:spPr bwMode="auto">
          <a:xfrm>
            <a:off x="2827922" y="5181390"/>
            <a:ext cx="188503" cy="251428"/>
          </a:xfrm>
          <a:custGeom>
            <a:avLst/>
            <a:gdLst>
              <a:gd name="T0" fmla="*/ 0 w 164"/>
              <a:gd name="T1" fmla="*/ 150 h 226"/>
              <a:gd name="T2" fmla="*/ 0 w 164"/>
              <a:gd name="T3" fmla="*/ 150 h 226"/>
              <a:gd name="T4" fmla="*/ 20 w 164"/>
              <a:gd name="T5" fmla="*/ 166 h 226"/>
              <a:gd name="T6" fmla="*/ 49 w 164"/>
              <a:gd name="T7" fmla="*/ 170 h 226"/>
              <a:gd name="T8" fmla="*/ 78 w 164"/>
              <a:gd name="T9" fmla="*/ 200 h 226"/>
              <a:gd name="T10" fmla="*/ 117 w 164"/>
              <a:gd name="T11" fmla="*/ 203 h 226"/>
              <a:gd name="T12" fmla="*/ 111 w 164"/>
              <a:gd name="T13" fmla="*/ 219 h 226"/>
              <a:gd name="T14" fmla="*/ 121 w 164"/>
              <a:gd name="T15" fmla="*/ 225 h 226"/>
              <a:gd name="T16" fmla="*/ 127 w 164"/>
              <a:gd name="T17" fmla="*/ 186 h 226"/>
              <a:gd name="T18" fmla="*/ 120 w 164"/>
              <a:gd name="T19" fmla="*/ 162 h 226"/>
              <a:gd name="T20" fmla="*/ 133 w 164"/>
              <a:gd name="T21" fmla="*/ 160 h 226"/>
              <a:gd name="T22" fmla="*/ 123 w 164"/>
              <a:gd name="T23" fmla="*/ 146 h 226"/>
              <a:gd name="T24" fmla="*/ 155 w 164"/>
              <a:gd name="T25" fmla="*/ 141 h 226"/>
              <a:gd name="T26" fmla="*/ 163 w 164"/>
              <a:gd name="T27" fmla="*/ 151 h 226"/>
              <a:gd name="T28" fmla="*/ 151 w 164"/>
              <a:gd name="T29" fmla="*/ 131 h 226"/>
              <a:gd name="T30" fmla="*/ 155 w 164"/>
              <a:gd name="T31" fmla="*/ 84 h 226"/>
              <a:gd name="T32" fmla="*/ 128 w 164"/>
              <a:gd name="T33" fmla="*/ 86 h 226"/>
              <a:gd name="T34" fmla="*/ 120 w 164"/>
              <a:gd name="T35" fmla="*/ 74 h 226"/>
              <a:gd name="T36" fmla="*/ 93 w 164"/>
              <a:gd name="T37" fmla="*/ 71 h 226"/>
              <a:gd name="T38" fmla="*/ 76 w 164"/>
              <a:gd name="T39" fmla="*/ 44 h 226"/>
              <a:gd name="T40" fmla="*/ 102 w 164"/>
              <a:gd name="T41" fmla="*/ 8 h 226"/>
              <a:gd name="T42" fmla="*/ 98 w 164"/>
              <a:gd name="T43" fmla="*/ 0 h 226"/>
              <a:gd name="T44" fmla="*/ 52 w 164"/>
              <a:gd name="T45" fmla="*/ 20 h 226"/>
              <a:gd name="T46" fmla="*/ 27 w 164"/>
              <a:gd name="T47" fmla="*/ 60 h 226"/>
              <a:gd name="T48" fmla="*/ 19 w 164"/>
              <a:gd name="T49" fmla="*/ 50 h 226"/>
              <a:gd name="T50" fmla="*/ 13 w 164"/>
              <a:gd name="T51" fmla="*/ 70 h 226"/>
              <a:gd name="T52" fmla="*/ 19 w 164"/>
              <a:gd name="T53" fmla="*/ 115 h 226"/>
              <a:gd name="T54" fmla="*/ 25 w 164"/>
              <a:gd name="T55" fmla="*/ 115 h 226"/>
              <a:gd name="T56" fmla="*/ 0 w 164"/>
              <a:gd name="T57" fmla="*/ 150 h 226"/>
              <a:gd name="T58" fmla="*/ 0 w 164"/>
              <a:gd name="T59" fmla="*/ 150 h 22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4"/>
              <a:gd name="T91" fmla="*/ 0 h 226"/>
              <a:gd name="T92" fmla="*/ 164 w 164"/>
              <a:gd name="T93" fmla="*/ 226 h 22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4" h="226">
                <a:moveTo>
                  <a:pt x="0" y="150"/>
                </a:moveTo>
                <a:lnTo>
                  <a:pt x="0" y="150"/>
                </a:lnTo>
                <a:lnTo>
                  <a:pt x="20" y="166"/>
                </a:lnTo>
                <a:lnTo>
                  <a:pt x="49" y="170"/>
                </a:lnTo>
                <a:lnTo>
                  <a:pt x="78" y="200"/>
                </a:lnTo>
                <a:lnTo>
                  <a:pt x="117" y="203"/>
                </a:lnTo>
                <a:lnTo>
                  <a:pt x="111" y="219"/>
                </a:lnTo>
                <a:lnTo>
                  <a:pt x="121" y="225"/>
                </a:lnTo>
                <a:lnTo>
                  <a:pt x="127" y="186"/>
                </a:lnTo>
                <a:lnTo>
                  <a:pt x="120" y="162"/>
                </a:lnTo>
                <a:lnTo>
                  <a:pt x="133" y="160"/>
                </a:lnTo>
                <a:lnTo>
                  <a:pt x="123" y="146"/>
                </a:lnTo>
                <a:lnTo>
                  <a:pt x="155" y="141"/>
                </a:lnTo>
                <a:lnTo>
                  <a:pt x="163" y="151"/>
                </a:lnTo>
                <a:lnTo>
                  <a:pt x="151" y="131"/>
                </a:lnTo>
                <a:lnTo>
                  <a:pt x="155" y="84"/>
                </a:lnTo>
                <a:lnTo>
                  <a:pt x="128" y="86"/>
                </a:lnTo>
                <a:lnTo>
                  <a:pt x="120" y="74"/>
                </a:lnTo>
                <a:lnTo>
                  <a:pt x="93" y="71"/>
                </a:lnTo>
                <a:lnTo>
                  <a:pt x="76" y="44"/>
                </a:lnTo>
                <a:lnTo>
                  <a:pt x="102" y="8"/>
                </a:lnTo>
                <a:lnTo>
                  <a:pt x="98" y="0"/>
                </a:lnTo>
                <a:lnTo>
                  <a:pt x="52" y="20"/>
                </a:lnTo>
                <a:lnTo>
                  <a:pt x="27" y="60"/>
                </a:lnTo>
                <a:lnTo>
                  <a:pt x="19" y="50"/>
                </a:lnTo>
                <a:lnTo>
                  <a:pt x="13" y="70"/>
                </a:lnTo>
                <a:lnTo>
                  <a:pt x="19" y="115"/>
                </a:lnTo>
                <a:lnTo>
                  <a:pt x="25" y="115"/>
                </a:lnTo>
                <a:lnTo>
                  <a:pt x="0" y="15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8" name="Freeform 718">
            <a:extLst>
              <a:ext uri="{FF2B5EF4-FFF2-40B4-BE49-F238E27FC236}">
                <a16:creationId xmlns:a16="http://schemas.microsoft.com/office/drawing/2014/main" id="{76BC809E-3675-4C34-9947-BCBD6C81CC3E}"/>
              </a:ext>
            </a:extLst>
          </p:cNvPr>
          <p:cNvSpPr>
            <a:spLocks/>
          </p:cNvSpPr>
          <p:nvPr/>
        </p:nvSpPr>
        <p:spPr bwMode="auto">
          <a:xfrm>
            <a:off x="2719878" y="5202528"/>
            <a:ext cx="50574" cy="41163"/>
          </a:xfrm>
          <a:custGeom>
            <a:avLst/>
            <a:gdLst>
              <a:gd name="T0" fmla="*/ 0 w 44"/>
              <a:gd name="T1" fmla="*/ 0 h 37"/>
              <a:gd name="T2" fmla="*/ 0 w 44"/>
              <a:gd name="T3" fmla="*/ 0 h 37"/>
              <a:gd name="T4" fmla="*/ 1 w 44"/>
              <a:gd name="T5" fmla="*/ 14 h 37"/>
              <a:gd name="T6" fmla="*/ 10 w 44"/>
              <a:gd name="T7" fmla="*/ 12 h 37"/>
              <a:gd name="T8" fmla="*/ 37 w 44"/>
              <a:gd name="T9" fmla="*/ 36 h 37"/>
              <a:gd name="T10" fmla="*/ 43 w 44"/>
              <a:gd name="T11" fmla="*/ 18 h 37"/>
              <a:gd name="T12" fmla="*/ 28 w 44"/>
              <a:gd name="T13" fmla="*/ 1 h 37"/>
              <a:gd name="T14" fmla="*/ 0 w 44"/>
              <a:gd name="T15" fmla="*/ 0 h 37"/>
              <a:gd name="T16" fmla="*/ 0 w 44"/>
              <a:gd name="T17" fmla="*/ 0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37"/>
              <a:gd name="T29" fmla="*/ 44 w 44"/>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37">
                <a:moveTo>
                  <a:pt x="0" y="0"/>
                </a:moveTo>
                <a:lnTo>
                  <a:pt x="0" y="0"/>
                </a:lnTo>
                <a:lnTo>
                  <a:pt x="1" y="14"/>
                </a:lnTo>
                <a:lnTo>
                  <a:pt x="10" y="12"/>
                </a:lnTo>
                <a:lnTo>
                  <a:pt x="37" y="36"/>
                </a:lnTo>
                <a:lnTo>
                  <a:pt x="43" y="18"/>
                </a:lnTo>
                <a:lnTo>
                  <a:pt x="28" y="1"/>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9" name="Freeform 719">
            <a:extLst>
              <a:ext uri="{FF2B5EF4-FFF2-40B4-BE49-F238E27FC236}">
                <a16:creationId xmlns:a16="http://schemas.microsoft.com/office/drawing/2014/main" id="{EB91065C-D149-407F-A0DD-DA4D4B39AA87}"/>
              </a:ext>
            </a:extLst>
          </p:cNvPr>
          <p:cNvSpPr>
            <a:spLocks/>
          </p:cNvSpPr>
          <p:nvPr/>
        </p:nvSpPr>
        <p:spPr bwMode="auto">
          <a:xfrm>
            <a:off x="2731372" y="5014513"/>
            <a:ext cx="170112" cy="52288"/>
          </a:xfrm>
          <a:custGeom>
            <a:avLst/>
            <a:gdLst>
              <a:gd name="T0" fmla="*/ 0 w 148"/>
              <a:gd name="T1" fmla="*/ 18 h 47"/>
              <a:gd name="T2" fmla="*/ 0 w 148"/>
              <a:gd name="T3" fmla="*/ 18 h 47"/>
              <a:gd name="T4" fmla="*/ 20 w 148"/>
              <a:gd name="T5" fmla="*/ 2 h 47"/>
              <a:gd name="T6" fmla="*/ 58 w 148"/>
              <a:gd name="T7" fmla="*/ 0 h 47"/>
              <a:gd name="T8" fmla="*/ 147 w 148"/>
              <a:gd name="T9" fmla="*/ 39 h 47"/>
              <a:gd name="T10" fmla="*/ 99 w 148"/>
              <a:gd name="T11" fmla="*/ 46 h 47"/>
              <a:gd name="T12" fmla="*/ 107 w 148"/>
              <a:gd name="T13" fmla="*/ 37 h 47"/>
              <a:gd name="T14" fmla="*/ 84 w 148"/>
              <a:gd name="T15" fmla="*/ 22 h 47"/>
              <a:gd name="T16" fmla="*/ 40 w 148"/>
              <a:gd name="T17" fmla="*/ 14 h 47"/>
              <a:gd name="T18" fmla="*/ 42 w 148"/>
              <a:gd name="T19" fmla="*/ 7 h 47"/>
              <a:gd name="T20" fmla="*/ 0 w 148"/>
              <a:gd name="T21" fmla="*/ 18 h 47"/>
              <a:gd name="T22" fmla="*/ 0 w 148"/>
              <a:gd name="T23" fmla="*/ 18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8"/>
              <a:gd name="T37" fmla="*/ 0 h 47"/>
              <a:gd name="T38" fmla="*/ 148 w 148"/>
              <a:gd name="T39" fmla="*/ 47 h 4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8" h="47">
                <a:moveTo>
                  <a:pt x="0" y="18"/>
                </a:moveTo>
                <a:lnTo>
                  <a:pt x="0" y="18"/>
                </a:lnTo>
                <a:lnTo>
                  <a:pt x="20" y="2"/>
                </a:lnTo>
                <a:lnTo>
                  <a:pt x="58" y="0"/>
                </a:lnTo>
                <a:lnTo>
                  <a:pt x="147" y="39"/>
                </a:lnTo>
                <a:lnTo>
                  <a:pt x="99" y="46"/>
                </a:lnTo>
                <a:lnTo>
                  <a:pt x="107" y="37"/>
                </a:lnTo>
                <a:lnTo>
                  <a:pt x="84" y="22"/>
                </a:lnTo>
                <a:lnTo>
                  <a:pt x="40" y="14"/>
                </a:lnTo>
                <a:lnTo>
                  <a:pt x="42" y="7"/>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0" name="Freeform 720">
            <a:extLst>
              <a:ext uri="{FF2B5EF4-FFF2-40B4-BE49-F238E27FC236}">
                <a16:creationId xmlns:a16="http://schemas.microsoft.com/office/drawing/2014/main" id="{715873A8-606D-4F59-8F16-F318092F4BB8}"/>
              </a:ext>
            </a:extLst>
          </p:cNvPr>
          <p:cNvSpPr>
            <a:spLocks/>
          </p:cNvSpPr>
          <p:nvPr/>
        </p:nvSpPr>
        <p:spPr bwMode="auto">
          <a:xfrm>
            <a:off x="2937116" y="5065689"/>
            <a:ext cx="54022" cy="30038"/>
          </a:xfrm>
          <a:custGeom>
            <a:avLst/>
            <a:gdLst>
              <a:gd name="T0" fmla="*/ 0 w 47"/>
              <a:gd name="T1" fmla="*/ 0 h 27"/>
              <a:gd name="T2" fmla="*/ 0 w 47"/>
              <a:gd name="T3" fmla="*/ 0 h 27"/>
              <a:gd name="T4" fmla="*/ 0 w 47"/>
              <a:gd name="T5" fmla="*/ 26 h 27"/>
              <a:gd name="T6" fmla="*/ 46 w 47"/>
              <a:gd name="T7" fmla="*/ 17 h 27"/>
              <a:gd name="T8" fmla="*/ 26 w 47"/>
              <a:gd name="T9" fmla="*/ 3 h 27"/>
              <a:gd name="T10" fmla="*/ 0 w 47"/>
              <a:gd name="T11" fmla="*/ 0 h 27"/>
              <a:gd name="T12" fmla="*/ 0 w 47"/>
              <a:gd name="T13" fmla="*/ 0 h 27"/>
              <a:gd name="T14" fmla="*/ 0 60000 65536"/>
              <a:gd name="T15" fmla="*/ 0 60000 65536"/>
              <a:gd name="T16" fmla="*/ 0 60000 65536"/>
              <a:gd name="T17" fmla="*/ 0 60000 65536"/>
              <a:gd name="T18" fmla="*/ 0 60000 65536"/>
              <a:gd name="T19" fmla="*/ 0 60000 65536"/>
              <a:gd name="T20" fmla="*/ 0 60000 65536"/>
              <a:gd name="T21" fmla="*/ 0 w 47"/>
              <a:gd name="T22" fmla="*/ 0 h 27"/>
              <a:gd name="T23" fmla="*/ 47 w 47"/>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27">
                <a:moveTo>
                  <a:pt x="0" y="0"/>
                </a:moveTo>
                <a:lnTo>
                  <a:pt x="0" y="0"/>
                </a:lnTo>
                <a:lnTo>
                  <a:pt x="0" y="26"/>
                </a:lnTo>
                <a:lnTo>
                  <a:pt x="46" y="17"/>
                </a:lnTo>
                <a:lnTo>
                  <a:pt x="26" y="3"/>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1" name="Freeform 721">
            <a:extLst>
              <a:ext uri="{FF2B5EF4-FFF2-40B4-BE49-F238E27FC236}">
                <a16:creationId xmlns:a16="http://schemas.microsoft.com/office/drawing/2014/main" id="{A07C7D0C-846B-4236-BB14-43D756165867}"/>
              </a:ext>
            </a:extLst>
          </p:cNvPr>
          <p:cNvSpPr>
            <a:spLocks/>
          </p:cNvSpPr>
          <p:nvPr/>
        </p:nvSpPr>
        <p:spPr bwMode="auto">
          <a:xfrm>
            <a:off x="2796888" y="5348267"/>
            <a:ext cx="88504" cy="95676"/>
          </a:xfrm>
          <a:custGeom>
            <a:avLst/>
            <a:gdLst>
              <a:gd name="T0" fmla="*/ 0 w 77"/>
              <a:gd name="T1" fmla="*/ 32 h 86"/>
              <a:gd name="T2" fmla="*/ 0 w 77"/>
              <a:gd name="T3" fmla="*/ 32 h 86"/>
              <a:gd name="T4" fmla="*/ 1 w 77"/>
              <a:gd name="T5" fmla="*/ 49 h 86"/>
              <a:gd name="T6" fmla="*/ 14 w 77"/>
              <a:gd name="T7" fmla="*/ 53 h 86"/>
              <a:gd name="T8" fmla="*/ 7 w 77"/>
              <a:gd name="T9" fmla="*/ 67 h 86"/>
              <a:gd name="T10" fmla="*/ 4 w 77"/>
              <a:gd name="T11" fmla="*/ 81 h 86"/>
              <a:gd name="T12" fmla="*/ 22 w 77"/>
              <a:gd name="T13" fmla="*/ 85 h 86"/>
              <a:gd name="T14" fmla="*/ 38 w 77"/>
              <a:gd name="T15" fmla="*/ 61 h 86"/>
              <a:gd name="T16" fmla="*/ 69 w 77"/>
              <a:gd name="T17" fmla="*/ 42 h 86"/>
              <a:gd name="T18" fmla="*/ 76 w 77"/>
              <a:gd name="T19" fmla="*/ 20 h 86"/>
              <a:gd name="T20" fmla="*/ 47 w 77"/>
              <a:gd name="T21" fmla="*/ 16 h 86"/>
              <a:gd name="T22" fmla="*/ 27 w 77"/>
              <a:gd name="T23" fmla="*/ 0 h 86"/>
              <a:gd name="T24" fmla="*/ 9 w 77"/>
              <a:gd name="T25" fmla="*/ 8 h 86"/>
              <a:gd name="T26" fmla="*/ 0 w 77"/>
              <a:gd name="T27" fmla="*/ 32 h 86"/>
              <a:gd name="T28" fmla="*/ 0 w 77"/>
              <a:gd name="T29" fmla="*/ 32 h 8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6"/>
              <a:gd name="T47" fmla="*/ 77 w 77"/>
              <a:gd name="T48" fmla="*/ 86 h 8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6">
                <a:moveTo>
                  <a:pt x="0" y="32"/>
                </a:moveTo>
                <a:lnTo>
                  <a:pt x="0" y="32"/>
                </a:lnTo>
                <a:lnTo>
                  <a:pt x="1" y="49"/>
                </a:lnTo>
                <a:lnTo>
                  <a:pt x="14" y="53"/>
                </a:lnTo>
                <a:lnTo>
                  <a:pt x="7" y="67"/>
                </a:lnTo>
                <a:lnTo>
                  <a:pt x="4" y="81"/>
                </a:lnTo>
                <a:lnTo>
                  <a:pt x="22" y="85"/>
                </a:lnTo>
                <a:lnTo>
                  <a:pt x="38" y="61"/>
                </a:lnTo>
                <a:lnTo>
                  <a:pt x="69" y="42"/>
                </a:lnTo>
                <a:lnTo>
                  <a:pt x="76" y="20"/>
                </a:lnTo>
                <a:lnTo>
                  <a:pt x="47" y="16"/>
                </a:lnTo>
                <a:lnTo>
                  <a:pt x="27" y="0"/>
                </a:lnTo>
                <a:lnTo>
                  <a:pt x="9" y="8"/>
                </a:lnTo>
                <a:lnTo>
                  <a:pt x="0" y="3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2" name="Freeform 722">
            <a:extLst>
              <a:ext uri="{FF2B5EF4-FFF2-40B4-BE49-F238E27FC236}">
                <a16:creationId xmlns:a16="http://schemas.microsoft.com/office/drawing/2014/main" id="{B3A0DCF1-8E21-4CAD-AA10-1ED0A6683CFE}"/>
              </a:ext>
            </a:extLst>
          </p:cNvPr>
          <p:cNvSpPr>
            <a:spLocks/>
          </p:cNvSpPr>
          <p:nvPr/>
        </p:nvSpPr>
        <p:spPr bwMode="auto">
          <a:xfrm>
            <a:off x="2650913" y="5149128"/>
            <a:ext cx="37930" cy="16687"/>
          </a:xfrm>
          <a:custGeom>
            <a:avLst/>
            <a:gdLst>
              <a:gd name="T0" fmla="*/ 0 w 33"/>
              <a:gd name="T1" fmla="*/ 11 h 15"/>
              <a:gd name="T2" fmla="*/ 0 w 33"/>
              <a:gd name="T3" fmla="*/ 11 h 15"/>
              <a:gd name="T4" fmla="*/ 9 w 33"/>
              <a:gd name="T5" fmla="*/ 0 h 15"/>
              <a:gd name="T6" fmla="*/ 32 w 33"/>
              <a:gd name="T7" fmla="*/ 14 h 15"/>
              <a:gd name="T8" fmla="*/ 0 w 33"/>
              <a:gd name="T9" fmla="*/ 11 h 15"/>
              <a:gd name="T10" fmla="*/ 0 w 33"/>
              <a:gd name="T11" fmla="*/ 11 h 15"/>
              <a:gd name="T12" fmla="*/ 0 60000 65536"/>
              <a:gd name="T13" fmla="*/ 0 60000 65536"/>
              <a:gd name="T14" fmla="*/ 0 60000 65536"/>
              <a:gd name="T15" fmla="*/ 0 60000 65536"/>
              <a:gd name="T16" fmla="*/ 0 60000 65536"/>
              <a:gd name="T17" fmla="*/ 0 60000 65536"/>
              <a:gd name="T18" fmla="*/ 0 w 33"/>
              <a:gd name="T19" fmla="*/ 0 h 15"/>
              <a:gd name="T20" fmla="*/ 33 w 33"/>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3" h="15">
                <a:moveTo>
                  <a:pt x="0" y="11"/>
                </a:moveTo>
                <a:lnTo>
                  <a:pt x="0" y="11"/>
                </a:lnTo>
                <a:lnTo>
                  <a:pt x="9" y="0"/>
                </a:lnTo>
                <a:lnTo>
                  <a:pt x="32" y="14"/>
                </a:lnTo>
                <a:lnTo>
                  <a:pt x="0" y="1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3" name="Freeform 723">
            <a:extLst>
              <a:ext uri="{FF2B5EF4-FFF2-40B4-BE49-F238E27FC236}">
                <a16:creationId xmlns:a16="http://schemas.microsoft.com/office/drawing/2014/main" id="{A3DD26C8-3E62-4801-9288-F886BA845551}"/>
              </a:ext>
            </a:extLst>
          </p:cNvPr>
          <p:cNvSpPr>
            <a:spLocks/>
          </p:cNvSpPr>
          <p:nvPr/>
        </p:nvSpPr>
        <p:spPr bwMode="auto">
          <a:xfrm>
            <a:off x="3109526" y="6219365"/>
            <a:ext cx="25287" cy="14463"/>
          </a:xfrm>
          <a:custGeom>
            <a:avLst/>
            <a:gdLst>
              <a:gd name="T0" fmla="*/ 0 w 22"/>
              <a:gd name="T1" fmla="*/ 12 h 13"/>
              <a:gd name="T2" fmla="*/ 0 w 22"/>
              <a:gd name="T3" fmla="*/ 12 h 13"/>
              <a:gd name="T4" fmla="*/ 12 w 22"/>
              <a:gd name="T5" fmla="*/ 5 h 13"/>
              <a:gd name="T6" fmla="*/ 6 w 22"/>
              <a:gd name="T7" fmla="*/ 0 h 13"/>
              <a:gd name="T8" fmla="*/ 21 w 22"/>
              <a:gd name="T9" fmla="*/ 1 h 13"/>
              <a:gd name="T10" fmla="*/ 0 w 22"/>
              <a:gd name="T11" fmla="*/ 12 h 13"/>
              <a:gd name="T12" fmla="*/ 0 w 22"/>
              <a:gd name="T13" fmla="*/ 12 h 13"/>
              <a:gd name="T14" fmla="*/ 0 60000 65536"/>
              <a:gd name="T15" fmla="*/ 0 60000 65536"/>
              <a:gd name="T16" fmla="*/ 0 60000 65536"/>
              <a:gd name="T17" fmla="*/ 0 60000 65536"/>
              <a:gd name="T18" fmla="*/ 0 60000 65536"/>
              <a:gd name="T19" fmla="*/ 0 60000 65536"/>
              <a:gd name="T20" fmla="*/ 0 60000 65536"/>
              <a:gd name="T21" fmla="*/ 0 w 22"/>
              <a:gd name="T22" fmla="*/ 0 h 13"/>
              <a:gd name="T23" fmla="*/ 22 w 22"/>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3">
                <a:moveTo>
                  <a:pt x="0" y="12"/>
                </a:moveTo>
                <a:lnTo>
                  <a:pt x="0" y="12"/>
                </a:lnTo>
                <a:lnTo>
                  <a:pt x="12" y="5"/>
                </a:lnTo>
                <a:lnTo>
                  <a:pt x="6" y="0"/>
                </a:lnTo>
                <a:lnTo>
                  <a:pt x="21" y="1"/>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4" name="Freeform 724">
            <a:extLst>
              <a:ext uri="{FF2B5EF4-FFF2-40B4-BE49-F238E27FC236}">
                <a16:creationId xmlns:a16="http://schemas.microsoft.com/office/drawing/2014/main" id="{638676B9-2514-4195-9A72-8F37B541FA0E}"/>
              </a:ext>
            </a:extLst>
          </p:cNvPr>
          <p:cNvSpPr>
            <a:spLocks/>
          </p:cNvSpPr>
          <p:nvPr/>
        </p:nvSpPr>
        <p:spPr bwMode="auto">
          <a:xfrm>
            <a:off x="3129066" y="6217140"/>
            <a:ext cx="28735" cy="17800"/>
          </a:xfrm>
          <a:custGeom>
            <a:avLst/>
            <a:gdLst>
              <a:gd name="T0" fmla="*/ 0 w 25"/>
              <a:gd name="T1" fmla="*/ 15 h 16"/>
              <a:gd name="T2" fmla="*/ 0 w 25"/>
              <a:gd name="T3" fmla="*/ 15 h 16"/>
              <a:gd name="T4" fmla="*/ 11 w 25"/>
              <a:gd name="T5" fmla="*/ 0 h 16"/>
              <a:gd name="T6" fmla="*/ 24 w 25"/>
              <a:gd name="T7" fmla="*/ 5 h 16"/>
              <a:gd name="T8" fmla="*/ 0 w 25"/>
              <a:gd name="T9" fmla="*/ 15 h 16"/>
              <a:gd name="T10" fmla="*/ 0 w 25"/>
              <a:gd name="T11" fmla="*/ 15 h 16"/>
              <a:gd name="T12" fmla="*/ 0 60000 65536"/>
              <a:gd name="T13" fmla="*/ 0 60000 65536"/>
              <a:gd name="T14" fmla="*/ 0 60000 65536"/>
              <a:gd name="T15" fmla="*/ 0 60000 65536"/>
              <a:gd name="T16" fmla="*/ 0 60000 65536"/>
              <a:gd name="T17" fmla="*/ 0 60000 65536"/>
              <a:gd name="T18" fmla="*/ 0 w 25"/>
              <a:gd name="T19" fmla="*/ 0 h 16"/>
              <a:gd name="T20" fmla="*/ 25 w 2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5" h="16">
                <a:moveTo>
                  <a:pt x="0" y="15"/>
                </a:moveTo>
                <a:lnTo>
                  <a:pt x="0" y="15"/>
                </a:lnTo>
                <a:lnTo>
                  <a:pt x="11" y="0"/>
                </a:lnTo>
                <a:lnTo>
                  <a:pt x="24" y="5"/>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5" name="Freeform 725">
            <a:extLst>
              <a:ext uri="{FF2B5EF4-FFF2-40B4-BE49-F238E27FC236}">
                <a16:creationId xmlns:a16="http://schemas.microsoft.com/office/drawing/2014/main" id="{2874D011-86B6-4115-9010-5D873F9E1291}"/>
              </a:ext>
            </a:extLst>
          </p:cNvPr>
          <p:cNvSpPr>
            <a:spLocks/>
          </p:cNvSpPr>
          <p:nvPr/>
        </p:nvSpPr>
        <p:spPr bwMode="auto">
          <a:xfrm>
            <a:off x="3210674" y="5284854"/>
            <a:ext cx="47126" cy="53401"/>
          </a:xfrm>
          <a:custGeom>
            <a:avLst/>
            <a:gdLst>
              <a:gd name="T0" fmla="*/ 0 w 41"/>
              <a:gd name="T1" fmla="*/ 45 h 48"/>
              <a:gd name="T2" fmla="*/ 0 w 41"/>
              <a:gd name="T3" fmla="*/ 45 h 48"/>
              <a:gd name="T4" fmla="*/ 6 w 41"/>
              <a:gd name="T5" fmla="*/ 0 h 48"/>
              <a:gd name="T6" fmla="*/ 40 w 41"/>
              <a:gd name="T7" fmla="*/ 21 h 48"/>
              <a:gd name="T8" fmla="*/ 20 w 41"/>
              <a:gd name="T9" fmla="*/ 47 h 48"/>
              <a:gd name="T10" fmla="*/ 0 w 41"/>
              <a:gd name="T11" fmla="*/ 45 h 48"/>
              <a:gd name="T12" fmla="*/ 0 w 41"/>
              <a:gd name="T13" fmla="*/ 45 h 48"/>
              <a:gd name="T14" fmla="*/ 0 60000 65536"/>
              <a:gd name="T15" fmla="*/ 0 60000 65536"/>
              <a:gd name="T16" fmla="*/ 0 60000 65536"/>
              <a:gd name="T17" fmla="*/ 0 60000 65536"/>
              <a:gd name="T18" fmla="*/ 0 60000 65536"/>
              <a:gd name="T19" fmla="*/ 0 60000 65536"/>
              <a:gd name="T20" fmla="*/ 0 60000 65536"/>
              <a:gd name="T21" fmla="*/ 0 w 41"/>
              <a:gd name="T22" fmla="*/ 0 h 48"/>
              <a:gd name="T23" fmla="*/ 41 w 41"/>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48">
                <a:moveTo>
                  <a:pt x="0" y="45"/>
                </a:moveTo>
                <a:lnTo>
                  <a:pt x="0" y="45"/>
                </a:lnTo>
                <a:lnTo>
                  <a:pt x="6" y="0"/>
                </a:lnTo>
                <a:lnTo>
                  <a:pt x="40" y="21"/>
                </a:lnTo>
                <a:lnTo>
                  <a:pt x="20" y="47"/>
                </a:lnTo>
                <a:lnTo>
                  <a:pt x="0" y="4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6" name="Freeform 726">
            <a:extLst>
              <a:ext uri="{FF2B5EF4-FFF2-40B4-BE49-F238E27FC236}">
                <a16:creationId xmlns:a16="http://schemas.microsoft.com/office/drawing/2014/main" id="{BC4F0A17-7082-4D6A-BCA4-A2FEB3B6763B}"/>
              </a:ext>
            </a:extLst>
          </p:cNvPr>
          <p:cNvSpPr>
            <a:spLocks/>
          </p:cNvSpPr>
          <p:nvPr/>
        </p:nvSpPr>
        <p:spPr bwMode="auto">
          <a:xfrm>
            <a:off x="2616431" y="5095727"/>
            <a:ext cx="63217" cy="66751"/>
          </a:xfrm>
          <a:custGeom>
            <a:avLst/>
            <a:gdLst>
              <a:gd name="T0" fmla="*/ 0 w 55"/>
              <a:gd name="T1" fmla="*/ 47 h 60"/>
              <a:gd name="T2" fmla="*/ 0 w 55"/>
              <a:gd name="T3" fmla="*/ 47 h 60"/>
              <a:gd name="T4" fmla="*/ 11 w 55"/>
              <a:gd name="T5" fmla="*/ 26 h 60"/>
              <a:gd name="T6" fmla="*/ 25 w 55"/>
              <a:gd name="T7" fmla="*/ 25 h 60"/>
              <a:gd name="T8" fmla="*/ 11 w 55"/>
              <a:gd name="T9" fmla="*/ 7 h 60"/>
              <a:gd name="T10" fmla="*/ 42 w 55"/>
              <a:gd name="T11" fmla="*/ 0 h 60"/>
              <a:gd name="T12" fmla="*/ 47 w 55"/>
              <a:gd name="T13" fmla="*/ 28 h 60"/>
              <a:gd name="T14" fmla="*/ 54 w 55"/>
              <a:gd name="T15" fmla="*/ 30 h 60"/>
              <a:gd name="T16" fmla="*/ 39 w 55"/>
              <a:gd name="T17" fmla="*/ 48 h 60"/>
              <a:gd name="T18" fmla="*/ 30 w 55"/>
              <a:gd name="T19" fmla="*/ 59 h 60"/>
              <a:gd name="T20" fmla="*/ 0 w 55"/>
              <a:gd name="T21" fmla="*/ 47 h 60"/>
              <a:gd name="T22" fmla="*/ 0 w 55"/>
              <a:gd name="T23" fmla="*/ 47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60"/>
              <a:gd name="T38" fmla="*/ 55 w 55"/>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60">
                <a:moveTo>
                  <a:pt x="0" y="47"/>
                </a:moveTo>
                <a:lnTo>
                  <a:pt x="0" y="47"/>
                </a:lnTo>
                <a:lnTo>
                  <a:pt x="11" y="26"/>
                </a:lnTo>
                <a:lnTo>
                  <a:pt x="25" y="25"/>
                </a:lnTo>
                <a:lnTo>
                  <a:pt x="11" y="7"/>
                </a:lnTo>
                <a:lnTo>
                  <a:pt x="42" y="0"/>
                </a:lnTo>
                <a:lnTo>
                  <a:pt x="47" y="28"/>
                </a:lnTo>
                <a:lnTo>
                  <a:pt x="54" y="30"/>
                </a:lnTo>
                <a:lnTo>
                  <a:pt x="39" y="48"/>
                </a:lnTo>
                <a:lnTo>
                  <a:pt x="30" y="59"/>
                </a:lnTo>
                <a:lnTo>
                  <a:pt x="0" y="4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7" name="Freeform 727">
            <a:extLst>
              <a:ext uri="{FF2B5EF4-FFF2-40B4-BE49-F238E27FC236}">
                <a16:creationId xmlns:a16="http://schemas.microsoft.com/office/drawing/2014/main" id="{19664302-30E7-4D9B-8029-61C3CA584B30}"/>
              </a:ext>
            </a:extLst>
          </p:cNvPr>
          <p:cNvSpPr>
            <a:spLocks/>
          </p:cNvSpPr>
          <p:nvPr/>
        </p:nvSpPr>
        <p:spPr bwMode="auto">
          <a:xfrm>
            <a:off x="3103779" y="5242579"/>
            <a:ext cx="75861" cy="104576"/>
          </a:xfrm>
          <a:custGeom>
            <a:avLst/>
            <a:gdLst>
              <a:gd name="T0" fmla="*/ 0 w 66"/>
              <a:gd name="T1" fmla="*/ 31 h 94"/>
              <a:gd name="T2" fmla="*/ 0 w 66"/>
              <a:gd name="T3" fmla="*/ 31 h 94"/>
              <a:gd name="T4" fmla="*/ 9 w 66"/>
              <a:gd name="T5" fmla="*/ 44 h 94"/>
              <a:gd name="T6" fmla="*/ 22 w 66"/>
              <a:gd name="T7" fmla="*/ 53 h 94"/>
              <a:gd name="T8" fmla="*/ 19 w 66"/>
              <a:gd name="T9" fmla="*/ 79 h 94"/>
              <a:gd name="T10" fmla="*/ 26 w 66"/>
              <a:gd name="T11" fmla="*/ 93 h 94"/>
              <a:gd name="T12" fmla="*/ 65 w 66"/>
              <a:gd name="T13" fmla="*/ 87 h 94"/>
              <a:gd name="T14" fmla="*/ 43 w 66"/>
              <a:gd name="T15" fmla="*/ 59 h 94"/>
              <a:gd name="T16" fmla="*/ 58 w 66"/>
              <a:gd name="T17" fmla="*/ 34 h 94"/>
              <a:gd name="T18" fmla="*/ 19 w 66"/>
              <a:gd name="T19" fmla="*/ 0 h 94"/>
              <a:gd name="T20" fmla="*/ 6 w 66"/>
              <a:gd name="T21" fmla="*/ 10 h 94"/>
              <a:gd name="T22" fmla="*/ 11 w 66"/>
              <a:gd name="T23" fmla="*/ 19 h 94"/>
              <a:gd name="T24" fmla="*/ 0 w 66"/>
              <a:gd name="T25" fmla="*/ 31 h 94"/>
              <a:gd name="T26" fmla="*/ 0 w 66"/>
              <a:gd name="T27" fmla="*/ 31 h 9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6"/>
              <a:gd name="T43" fmla="*/ 0 h 94"/>
              <a:gd name="T44" fmla="*/ 66 w 66"/>
              <a:gd name="T45" fmla="*/ 94 h 9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6" h="94">
                <a:moveTo>
                  <a:pt x="0" y="31"/>
                </a:moveTo>
                <a:lnTo>
                  <a:pt x="0" y="31"/>
                </a:lnTo>
                <a:lnTo>
                  <a:pt x="9" y="44"/>
                </a:lnTo>
                <a:lnTo>
                  <a:pt x="22" y="53"/>
                </a:lnTo>
                <a:lnTo>
                  <a:pt x="19" y="79"/>
                </a:lnTo>
                <a:lnTo>
                  <a:pt x="26" y="93"/>
                </a:lnTo>
                <a:lnTo>
                  <a:pt x="65" y="87"/>
                </a:lnTo>
                <a:lnTo>
                  <a:pt x="43" y="59"/>
                </a:lnTo>
                <a:lnTo>
                  <a:pt x="58" y="34"/>
                </a:lnTo>
                <a:lnTo>
                  <a:pt x="19" y="0"/>
                </a:lnTo>
                <a:lnTo>
                  <a:pt x="6" y="10"/>
                </a:lnTo>
                <a:lnTo>
                  <a:pt x="11" y="19"/>
                </a:lnTo>
                <a:lnTo>
                  <a:pt x="0" y="3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8" name="Freeform 728">
            <a:extLst>
              <a:ext uri="{FF2B5EF4-FFF2-40B4-BE49-F238E27FC236}">
                <a16:creationId xmlns:a16="http://schemas.microsoft.com/office/drawing/2014/main" id="{2BF712B0-C7C2-42AE-B132-6C35AEB2CFB3}"/>
              </a:ext>
            </a:extLst>
          </p:cNvPr>
          <p:cNvSpPr>
            <a:spLocks/>
          </p:cNvSpPr>
          <p:nvPr/>
        </p:nvSpPr>
        <p:spPr bwMode="auto">
          <a:xfrm>
            <a:off x="2896887" y="5065689"/>
            <a:ext cx="41378" cy="30038"/>
          </a:xfrm>
          <a:custGeom>
            <a:avLst/>
            <a:gdLst>
              <a:gd name="T0" fmla="*/ 0 w 36"/>
              <a:gd name="T1" fmla="*/ 19 h 27"/>
              <a:gd name="T2" fmla="*/ 0 w 36"/>
              <a:gd name="T3" fmla="*/ 19 h 27"/>
              <a:gd name="T4" fmla="*/ 27 w 36"/>
              <a:gd name="T5" fmla="*/ 19 h 27"/>
              <a:gd name="T6" fmla="*/ 14 w 36"/>
              <a:gd name="T7" fmla="*/ 2 h 27"/>
              <a:gd name="T8" fmla="*/ 35 w 36"/>
              <a:gd name="T9" fmla="*/ 0 h 27"/>
              <a:gd name="T10" fmla="*/ 35 w 36"/>
              <a:gd name="T11" fmla="*/ 26 h 27"/>
              <a:gd name="T12" fmla="*/ 0 w 36"/>
              <a:gd name="T13" fmla="*/ 19 h 27"/>
              <a:gd name="T14" fmla="*/ 0 w 36"/>
              <a:gd name="T15" fmla="*/ 19 h 27"/>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7"/>
              <a:gd name="T26" fmla="*/ 36 w 36"/>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7">
                <a:moveTo>
                  <a:pt x="0" y="19"/>
                </a:moveTo>
                <a:lnTo>
                  <a:pt x="0" y="19"/>
                </a:lnTo>
                <a:lnTo>
                  <a:pt x="27" y="19"/>
                </a:lnTo>
                <a:lnTo>
                  <a:pt x="14" y="2"/>
                </a:lnTo>
                <a:lnTo>
                  <a:pt x="35" y="0"/>
                </a:lnTo>
                <a:lnTo>
                  <a:pt x="35" y="26"/>
                </a:lnTo>
                <a:lnTo>
                  <a:pt x="0" y="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9" name="Freeform 729">
            <a:extLst>
              <a:ext uri="{FF2B5EF4-FFF2-40B4-BE49-F238E27FC236}">
                <a16:creationId xmlns:a16="http://schemas.microsoft.com/office/drawing/2014/main" id="{C64552A8-000A-42EA-A41A-842C50A3E75C}"/>
              </a:ext>
            </a:extLst>
          </p:cNvPr>
          <p:cNvSpPr>
            <a:spLocks/>
          </p:cNvSpPr>
          <p:nvPr/>
        </p:nvSpPr>
        <p:spPr bwMode="auto">
          <a:xfrm>
            <a:off x="2661258" y="5126877"/>
            <a:ext cx="97700" cy="46726"/>
          </a:xfrm>
          <a:custGeom>
            <a:avLst/>
            <a:gdLst>
              <a:gd name="T0" fmla="*/ 0 w 85"/>
              <a:gd name="T1" fmla="*/ 20 h 42"/>
              <a:gd name="T2" fmla="*/ 0 w 85"/>
              <a:gd name="T3" fmla="*/ 20 h 42"/>
              <a:gd name="T4" fmla="*/ 15 w 85"/>
              <a:gd name="T5" fmla="*/ 2 h 42"/>
              <a:gd name="T6" fmla="*/ 60 w 85"/>
              <a:gd name="T7" fmla="*/ 0 h 42"/>
              <a:gd name="T8" fmla="*/ 84 w 85"/>
              <a:gd name="T9" fmla="*/ 13 h 42"/>
              <a:gd name="T10" fmla="*/ 64 w 85"/>
              <a:gd name="T11" fmla="*/ 15 h 42"/>
              <a:gd name="T12" fmla="*/ 29 w 85"/>
              <a:gd name="T13" fmla="*/ 41 h 42"/>
              <a:gd name="T14" fmla="*/ 23 w 85"/>
              <a:gd name="T15" fmla="*/ 34 h 42"/>
              <a:gd name="T16" fmla="*/ 0 w 85"/>
              <a:gd name="T17" fmla="*/ 20 h 42"/>
              <a:gd name="T18" fmla="*/ 0 w 85"/>
              <a:gd name="T19" fmla="*/ 2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42"/>
              <a:gd name="T32" fmla="*/ 85 w 85"/>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42">
                <a:moveTo>
                  <a:pt x="0" y="20"/>
                </a:moveTo>
                <a:lnTo>
                  <a:pt x="0" y="20"/>
                </a:lnTo>
                <a:lnTo>
                  <a:pt x="15" y="2"/>
                </a:lnTo>
                <a:lnTo>
                  <a:pt x="60" y="0"/>
                </a:lnTo>
                <a:lnTo>
                  <a:pt x="84" y="13"/>
                </a:lnTo>
                <a:lnTo>
                  <a:pt x="64" y="15"/>
                </a:lnTo>
                <a:lnTo>
                  <a:pt x="29" y="41"/>
                </a:lnTo>
                <a:lnTo>
                  <a:pt x="23" y="34"/>
                </a:lnTo>
                <a:lnTo>
                  <a:pt x="0" y="2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0" name="Freeform 730">
            <a:extLst>
              <a:ext uri="{FF2B5EF4-FFF2-40B4-BE49-F238E27FC236}">
                <a16:creationId xmlns:a16="http://schemas.microsoft.com/office/drawing/2014/main" id="{25211B52-F394-4B97-B910-E8F00FAA4379}"/>
              </a:ext>
            </a:extLst>
          </p:cNvPr>
          <p:cNvSpPr>
            <a:spLocks/>
          </p:cNvSpPr>
          <p:nvPr/>
        </p:nvSpPr>
        <p:spPr bwMode="auto">
          <a:xfrm>
            <a:off x="2694591" y="5141340"/>
            <a:ext cx="64367" cy="63413"/>
          </a:xfrm>
          <a:custGeom>
            <a:avLst/>
            <a:gdLst>
              <a:gd name="T0" fmla="*/ 0 w 56"/>
              <a:gd name="T1" fmla="*/ 28 h 57"/>
              <a:gd name="T2" fmla="*/ 0 w 56"/>
              <a:gd name="T3" fmla="*/ 28 h 57"/>
              <a:gd name="T4" fmla="*/ 22 w 56"/>
              <a:gd name="T5" fmla="*/ 55 h 57"/>
              <a:gd name="T6" fmla="*/ 50 w 56"/>
              <a:gd name="T7" fmla="*/ 56 h 57"/>
              <a:gd name="T8" fmla="*/ 55 w 56"/>
              <a:gd name="T9" fmla="*/ 0 h 57"/>
              <a:gd name="T10" fmla="*/ 35 w 56"/>
              <a:gd name="T11" fmla="*/ 2 h 57"/>
              <a:gd name="T12" fmla="*/ 0 w 56"/>
              <a:gd name="T13" fmla="*/ 28 h 57"/>
              <a:gd name="T14" fmla="*/ 0 w 56"/>
              <a:gd name="T15" fmla="*/ 28 h 57"/>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57"/>
              <a:gd name="T26" fmla="*/ 56 w 56"/>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57">
                <a:moveTo>
                  <a:pt x="0" y="28"/>
                </a:moveTo>
                <a:lnTo>
                  <a:pt x="0" y="28"/>
                </a:lnTo>
                <a:lnTo>
                  <a:pt x="22" y="55"/>
                </a:lnTo>
                <a:lnTo>
                  <a:pt x="50" y="56"/>
                </a:lnTo>
                <a:lnTo>
                  <a:pt x="55" y="0"/>
                </a:lnTo>
                <a:lnTo>
                  <a:pt x="35" y="2"/>
                </a:lnTo>
                <a:lnTo>
                  <a:pt x="0" y="2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1" name="Freeform 731">
            <a:extLst>
              <a:ext uri="{FF2B5EF4-FFF2-40B4-BE49-F238E27FC236}">
                <a16:creationId xmlns:a16="http://schemas.microsoft.com/office/drawing/2014/main" id="{1353AF21-9142-444E-B4D4-3937D3BC0265}"/>
              </a:ext>
            </a:extLst>
          </p:cNvPr>
          <p:cNvSpPr>
            <a:spLocks/>
          </p:cNvSpPr>
          <p:nvPr/>
        </p:nvSpPr>
        <p:spPr bwMode="auto">
          <a:xfrm>
            <a:off x="2762406" y="5222553"/>
            <a:ext cx="88504" cy="38938"/>
          </a:xfrm>
          <a:custGeom>
            <a:avLst/>
            <a:gdLst>
              <a:gd name="T0" fmla="*/ 0 w 77"/>
              <a:gd name="T1" fmla="*/ 18 h 35"/>
              <a:gd name="T2" fmla="*/ 0 w 77"/>
              <a:gd name="T3" fmla="*/ 18 h 35"/>
              <a:gd name="T4" fmla="*/ 6 w 77"/>
              <a:gd name="T5" fmla="*/ 0 h 35"/>
              <a:gd name="T6" fmla="*/ 22 w 77"/>
              <a:gd name="T7" fmla="*/ 11 h 35"/>
              <a:gd name="T8" fmla="*/ 51 w 77"/>
              <a:gd name="T9" fmla="*/ 0 h 35"/>
              <a:gd name="T10" fmla="*/ 76 w 77"/>
              <a:gd name="T11" fmla="*/ 13 h 35"/>
              <a:gd name="T12" fmla="*/ 70 w 77"/>
              <a:gd name="T13" fmla="*/ 33 h 35"/>
              <a:gd name="T14" fmla="*/ 67 w 77"/>
              <a:gd name="T15" fmla="*/ 17 h 35"/>
              <a:gd name="T16" fmla="*/ 51 w 77"/>
              <a:gd name="T17" fmla="*/ 11 h 35"/>
              <a:gd name="T18" fmla="*/ 36 w 77"/>
              <a:gd name="T19" fmla="*/ 21 h 35"/>
              <a:gd name="T20" fmla="*/ 39 w 77"/>
              <a:gd name="T21" fmla="*/ 30 h 35"/>
              <a:gd name="T22" fmla="*/ 33 w 77"/>
              <a:gd name="T23" fmla="*/ 34 h 35"/>
              <a:gd name="T24" fmla="*/ 0 w 77"/>
              <a:gd name="T25" fmla="*/ 18 h 35"/>
              <a:gd name="T26" fmla="*/ 0 w 77"/>
              <a:gd name="T27" fmla="*/ 18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35"/>
              <a:gd name="T44" fmla="*/ 77 w 77"/>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35">
                <a:moveTo>
                  <a:pt x="0" y="18"/>
                </a:moveTo>
                <a:lnTo>
                  <a:pt x="0" y="18"/>
                </a:lnTo>
                <a:lnTo>
                  <a:pt x="6" y="0"/>
                </a:lnTo>
                <a:lnTo>
                  <a:pt x="22" y="11"/>
                </a:lnTo>
                <a:lnTo>
                  <a:pt x="51" y="0"/>
                </a:lnTo>
                <a:lnTo>
                  <a:pt x="76" y="13"/>
                </a:lnTo>
                <a:lnTo>
                  <a:pt x="70" y="33"/>
                </a:lnTo>
                <a:lnTo>
                  <a:pt x="67" y="17"/>
                </a:lnTo>
                <a:lnTo>
                  <a:pt x="51" y="11"/>
                </a:lnTo>
                <a:lnTo>
                  <a:pt x="36" y="21"/>
                </a:lnTo>
                <a:lnTo>
                  <a:pt x="39" y="30"/>
                </a:lnTo>
                <a:lnTo>
                  <a:pt x="33" y="34"/>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2" name="Freeform 732">
            <a:extLst>
              <a:ext uri="{FF2B5EF4-FFF2-40B4-BE49-F238E27FC236}">
                <a16:creationId xmlns:a16="http://schemas.microsoft.com/office/drawing/2014/main" id="{06B49306-A228-40E0-A62A-F4152D2EF65C}"/>
              </a:ext>
            </a:extLst>
          </p:cNvPr>
          <p:cNvSpPr>
            <a:spLocks/>
          </p:cNvSpPr>
          <p:nvPr/>
        </p:nvSpPr>
        <p:spPr bwMode="auto">
          <a:xfrm>
            <a:off x="3081940" y="5588023"/>
            <a:ext cx="128733" cy="276999"/>
          </a:xfrm>
          <a:custGeom>
            <a:avLst/>
            <a:gdLst>
              <a:gd name="T0" fmla="*/ 0 w 112"/>
              <a:gd name="T1" fmla="*/ 43 h 116"/>
              <a:gd name="T2" fmla="*/ 0 w 112"/>
              <a:gd name="T3" fmla="*/ 43 h 116"/>
              <a:gd name="T4" fmla="*/ 9 w 112"/>
              <a:gd name="T5" fmla="*/ 6 h 116"/>
              <a:gd name="T6" fmla="*/ 48 w 112"/>
              <a:gd name="T7" fmla="*/ 0 h 116"/>
              <a:gd name="T8" fmla="*/ 62 w 112"/>
              <a:gd name="T9" fmla="*/ 12 h 116"/>
              <a:gd name="T10" fmla="*/ 65 w 112"/>
              <a:gd name="T11" fmla="*/ 39 h 116"/>
              <a:gd name="T12" fmla="*/ 93 w 112"/>
              <a:gd name="T13" fmla="*/ 44 h 116"/>
              <a:gd name="T14" fmla="*/ 97 w 112"/>
              <a:gd name="T15" fmla="*/ 63 h 116"/>
              <a:gd name="T16" fmla="*/ 111 w 112"/>
              <a:gd name="T17" fmla="*/ 66 h 116"/>
              <a:gd name="T18" fmla="*/ 109 w 112"/>
              <a:gd name="T19" fmla="*/ 91 h 116"/>
              <a:gd name="T20" fmla="*/ 95 w 112"/>
              <a:gd name="T21" fmla="*/ 115 h 116"/>
              <a:gd name="T22" fmla="*/ 58 w 112"/>
              <a:gd name="T23" fmla="*/ 114 h 116"/>
              <a:gd name="T24" fmla="*/ 66 w 112"/>
              <a:gd name="T25" fmla="*/ 86 h 116"/>
              <a:gd name="T26" fmla="*/ 0 w 112"/>
              <a:gd name="T27" fmla="*/ 43 h 116"/>
              <a:gd name="T28" fmla="*/ 0 w 112"/>
              <a:gd name="T29" fmla="*/ 43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2"/>
              <a:gd name="T46" fmla="*/ 0 h 116"/>
              <a:gd name="T47" fmla="*/ 112 w 112"/>
              <a:gd name="T48" fmla="*/ 116 h 1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2" h="116">
                <a:moveTo>
                  <a:pt x="0" y="43"/>
                </a:moveTo>
                <a:lnTo>
                  <a:pt x="0" y="43"/>
                </a:lnTo>
                <a:lnTo>
                  <a:pt x="9" y="6"/>
                </a:lnTo>
                <a:lnTo>
                  <a:pt x="48" y="0"/>
                </a:lnTo>
                <a:lnTo>
                  <a:pt x="62" y="12"/>
                </a:lnTo>
                <a:lnTo>
                  <a:pt x="65" y="39"/>
                </a:lnTo>
                <a:lnTo>
                  <a:pt x="93" y="44"/>
                </a:lnTo>
                <a:lnTo>
                  <a:pt x="97" y="63"/>
                </a:lnTo>
                <a:lnTo>
                  <a:pt x="111" y="66"/>
                </a:lnTo>
                <a:lnTo>
                  <a:pt x="109" y="91"/>
                </a:lnTo>
                <a:lnTo>
                  <a:pt x="95" y="115"/>
                </a:lnTo>
                <a:lnTo>
                  <a:pt x="58" y="114"/>
                </a:lnTo>
                <a:lnTo>
                  <a:pt x="66" y="86"/>
                </a:lnTo>
                <a:lnTo>
                  <a:pt x="0" y="43"/>
                </a:lnTo>
              </a:path>
            </a:pathLst>
          </a:custGeom>
          <a:solidFill>
            <a:schemeClr val="bg1">
              <a:lumMod val="65000"/>
            </a:schemeClr>
          </a:solidFill>
          <a:ln w="12700">
            <a:solidFill>
              <a:srgbClr val="FFFFFF"/>
            </a:solidFill>
            <a:round/>
            <a:headEnd/>
            <a:tailEnd/>
          </a:ln>
        </p:spPr>
        <p:txBody>
          <a:bodyPr lIns="0" tIns="0" rIns="0" bIns="0" anchor="ctr">
            <a:spAutoFit/>
          </a:bodyPr>
          <a:lstStyle/>
          <a:p>
            <a:endParaRPr lang="en-GB" kern="0" dirty="0">
              <a:solidFill>
                <a:sysClr val="windowText" lastClr="000000"/>
              </a:solidFill>
            </a:endParaRPr>
          </a:p>
        </p:txBody>
      </p:sp>
      <p:sp>
        <p:nvSpPr>
          <p:cNvPr id="133" name="Freeform 733">
            <a:extLst>
              <a:ext uri="{FF2B5EF4-FFF2-40B4-BE49-F238E27FC236}">
                <a16:creationId xmlns:a16="http://schemas.microsoft.com/office/drawing/2014/main" id="{9E6D7F6A-7952-44F2-9895-244DA66F7758}"/>
              </a:ext>
            </a:extLst>
          </p:cNvPr>
          <p:cNvSpPr>
            <a:spLocks/>
          </p:cNvSpPr>
          <p:nvPr/>
        </p:nvSpPr>
        <p:spPr bwMode="auto">
          <a:xfrm>
            <a:off x="2788842" y="5370518"/>
            <a:ext cx="197698" cy="274791"/>
          </a:xfrm>
          <a:custGeom>
            <a:avLst/>
            <a:gdLst>
              <a:gd name="T0" fmla="*/ 0 w 172"/>
              <a:gd name="T1" fmla="*/ 58 h 247"/>
              <a:gd name="T2" fmla="*/ 0 w 172"/>
              <a:gd name="T3" fmla="*/ 58 h 247"/>
              <a:gd name="T4" fmla="*/ 3 w 172"/>
              <a:gd name="T5" fmla="*/ 78 h 247"/>
              <a:gd name="T6" fmla="*/ 34 w 172"/>
              <a:gd name="T7" fmla="*/ 112 h 247"/>
              <a:gd name="T8" fmla="*/ 68 w 172"/>
              <a:gd name="T9" fmla="*/ 193 h 247"/>
              <a:gd name="T10" fmla="*/ 146 w 172"/>
              <a:gd name="T11" fmla="*/ 246 h 247"/>
              <a:gd name="T12" fmla="*/ 159 w 172"/>
              <a:gd name="T13" fmla="*/ 237 h 247"/>
              <a:gd name="T14" fmla="*/ 167 w 172"/>
              <a:gd name="T15" fmla="*/ 220 h 247"/>
              <a:gd name="T16" fmla="*/ 155 w 172"/>
              <a:gd name="T17" fmla="*/ 213 h 247"/>
              <a:gd name="T18" fmla="*/ 162 w 172"/>
              <a:gd name="T19" fmla="*/ 209 h 247"/>
              <a:gd name="T20" fmla="*/ 171 w 172"/>
              <a:gd name="T21" fmla="*/ 167 h 247"/>
              <a:gd name="T22" fmla="*/ 158 w 172"/>
              <a:gd name="T23" fmla="*/ 147 h 247"/>
              <a:gd name="T24" fmla="*/ 147 w 172"/>
              <a:gd name="T25" fmla="*/ 147 h 247"/>
              <a:gd name="T26" fmla="*/ 147 w 172"/>
              <a:gd name="T27" fmla="*/ 125 h 247"/>
              <a:gd name="T28" fmla="*/ 132 w 172"/>
              <a:gd name="T29" fmla="*/ 134 h 247"/>
              <a:gd name="T30" fmla="*/ 113 w 172"/>
              <a:gd name="T31" fmla="*/ 126 h 247"/>
              <a:gd name="T32" fmla="*/ 102 w 172"/>
              <a:gd name="T33" fmla="*/ 101 h 247"/>
              <a:gd name="T34" fmla="*/ 121 w 172"/>
              <a:gd name="T35" fmla="*/ 69 h 247"/>
              <a:gd name="T36" fmla="*/ 155 w 172"/>
              <a:gd name="T37" fmla="*/ 55 h 247"/>
              <a:gd name="T38" fmla="*/ 145 w 172"/>
              <a:gd name="T39" fmla="*/ 49 h 247"/>
              <a:gd name="T40" fmla="*/ 151 w 172"/>
              <a:gd name="T41" fmla="*/ 33 h 247"/>
              <a:gd name="T42" fmla="*/ 112 w 172"/>
              <a:gd name="T43" fmla="*/ 30 h 247"/>
              <a:gd name="T44" fmla="*/ 83 w 172"/>
              <a:gd name="T45" fmla="*/ 0 h 247"/>
              <a:gd name="T46" fmla="*/ 76 w 172"/>
              <a:gd name="T47" fmla="*/ 22 h 247"/>
              <a:gd name="T48" fmla="*/ 45 w 172"/>
              <a:gd name="T49" fmla="*/ 41 h 247"/>
              <a:gd name="T50" fmla="*/ 29 w 172"/>
              <a:gd name="T51" fmla="*/ 65 h 247"/>
              <a:gd name="T52" fmla="*/ 11 w 172"/>
              <a:gd name="T53" fmla="*/ 61 h 247"/>
              <a:gd name="T54" fmla="*/ 14 w 172"/>
              <a:gd name="T55" fmla="*/ 47 h 247"/>
              <a:gd name="T56" fmla="*/ 0 w 172"/>
              <a:gd name="T57" fmla="*/ 58 h 247"/>
              <a:gd name="T58" fmla="*/ 0 w 172"/>
              <a:gd name="T59" fmla="*/ 58 h 24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2"/>
              <a:gd name="T91" fmla="*/ 0 h 247"/>
              <a:gd name="T92" fmla="*/ 172 w 172"/>
              <a:gd name="T93" fmla="*/ 247 h 24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2" h="247">
                <a:moveTo>
                  <a:pt x="0" y="58"/>
                </a:moveTo>
                <a:lnTo>
                  <a:pt x="0" y="58"/>
                </a:lnTo>
                <a:lnTo>
                  <a:pt x="3" y="78"/>
                </a:lnTo>
                <a:lnTo>
                  <a:pt x="34" y="112"/>
                </a:lnTo>
                <a:lnTo>
                  <a:pt x="68" y="193"/>
                </a:lnTo>
                <a:lnTo>
                  <a:pt x="146" y="246"/>
                </a:lnTo>
                <a:lnTo>
                  <a:pt x="159" y="237"/>
                </a:lnTo>
                <a:lnTo>
                  <a:pt x="167" y="220"/>
                </a:lnTo>
                <a:lnTo>
                  <a:pt x="155" y="213"/>
                </a:lnTo>
                <a:lnTo>
                  <a:pt x="162" y="209"/>
                </a:lnTo>
                <a:lnTo>
                  <a:pt x="171" y="167"/>
                </a:lnTo>
                <a:lnTo>
                  <a:pt x="158" y="147"/>
                </a:lnTo>
                <a:lnTo>
                  <a:pt x="147" y="147"/>
                </a:lnTo>
                <a:lnTo>
                  <a:pt x="147" y="125"/>
                </a:lnTo>
                <a:lnTo>
                  <a:pt x="132" y="134"/>
                </a:lnTo>
                <a:lnTo>
                  <a:pt x="113" y="126"/>
                </a:lnTo>
                <a:lnTo>
                  <a:pt x="102" y="101"/>
                </a:lnTo>
                <a:lnTo>
                  <a:pt x="121" y="69"/>
                </a:lnTo>
                <a:lnTo>
                  <a:pt x="155" y="55"/>
                </a:lnTo>
                <a:lnTo>
                  <a:pt x="145" y="49"/>
                </a:lnTo>
                <a:lnTo>
                  <a:pt x="151" y="33"/>
                </a:lnTo>
                <a:lnTo>
                  <a:pt x="112" y="30"/>
                </a:lnTo>
                <a:lnTo>
                  <a:pt x="83" y="0"/>
                </a:lnTo>
                <a:lnTo>
                  <a:pt x="76" y="22"/>
                </a:lnTo>
                <a:lnTo>
                  <a:pt x="45" y="41"/>
                </a:lnTo>
                <a:lnTo>
                  <a:pt x="29" y="65"/>
                </a:lnTo>
                <a:lnTo>
                  <a:pt x="11" y="61"/>
                </a:lnTo>
                <a:lnTo>
                  <a:pt x="14" y="47"/>
                </a:lnTo>
                <a:lnTo>
                  <a:pt x="0" y="5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4" name="Freeform 734">
            <a:extLst>
              <a:ext uri="{FF2B5EF4-FFF2-40B4-BE49-F238E27FC236}">
                <a16:creationId xmlns:a16="http://schemas.microsoft.com/office/drawing/2014/main" id="{FD2B5EB3-F3EB-4406-993B-782ECD460A2E}"/>
              </a:ext>
            </a:extLst>
          </p:cNvPr>
          <p:cNvSpPr>
            <a:spLocks/>
          </p:cNvSpPr>
          <p:nvPr/>
        </p:nvSpPr>
        <p:spPr bwMode="auto">
          <a:xfrm>
            <a:off x="3153204" y="5280404"/>
            <a:ext cx="65516" cy="60076"/>
          </a:xfrm>
          <a:custGeom>
            <a:avLst/>
            <a:gdLst>
              <a:gd name="T0" fmla="*/ 0 w 57"/>
              <a:gd name="T1" fmla="*/ 25 h 54"/>
              <a:gd name="T2" fmla="*/ 0 w 57"/>
              <a:gd name="T3" fmla="*/ 25 h 54"/>
              <a:gd name="T4" fmla="*/ 15 w 57"/>
              <a:gd name="T5" fmla="*/ 0 h 54"/>
              <a:gd name="T6" fmla="*/ 56 w 57"/>
              <a:gd name="T7" fmla="*/ 4 h 54"/>
              <a:gd name="T8" fmla="*/ 50 w 57"/>
              <a:gd name="T9" fmla="*/ 49 h 54"/>
              <a:gd name="T10" fmla="*/ 22 w 57"/>
              <a:gd name="T11" fmla="*/ 53 h 54"/>
              <a:gd name="T12" fmla="*/ 0 w 57"/>
              <a:gd name="T13" fmla="*/ 25 h 54"/>
              <a:gd name="T14" fmla="*/ 0 w 57"/>
              <a:gd name="T15" fmla="*/ 25 h 54"/>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54"/>
              <a:gd name="T26" fmla="*/ 57 w 57"/>
              <a:gd name="T27" fmla="*/ 54 h 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54">
                <a:moveTo>
                  <a:pt x="0" y="25"/>
                </a:moveTo>
                <a:lnTo>
                  <a:pt x="0" y="25"/>
                </a:lnTo>
                <a:lnTo>
                  <a:pt x="15" y="0"/>
                </a:lnTo>
                <a:lnTo>
                  <a:pt x="56" y="4"/>
                </a:lnTo>
                <a:lnTo>
                  <a:pt x="50" y="49"/>
                </a:lnTo>
                <a:lnTo>
                  <a:pt x="22" y="53"/>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5" name="Freeform 735">
            <a:extLst>
              <a:ext uri="{FF2B5EF4-FFF2-40B4-BE49-F238E27FC236}">
                <a16:creationId xmlns:a16="http://schemas.microsoft.com/office/drawing/2014/main" id="{97C8E616-A639-4342-AB7C-2BA723919038}"/>
              </a:ext>
            </a:extLst>
          </p:cNvPr>
          <p:cNvSpPr>
            <a:spLocks/>
          </p:cNvSpPr>
          <p:nvPr/>
        </p:nvSpPr>
        <p:spPr bwMode="auto">
          <a:xfrm>
            <a:off x="3092285" y="5205866"/>
            <a:ext cx="16091" cy="12238"/>
          </a:xfrm>
          <a:custGeom>
            <a:avLst/>
            <a:gdLst>
              <a:gd name="T0" fmla="*/ 0 w 14"/>
              <a:gd name="T1" fmla="*/ 10 h 11"/>
              <a:gd name="T2" fmla="*/ 0 w 14"/>
              <a:gd name="T3" fmla="*/ 10 h 11"/>
              <a:gd name="T4" fmla="*/ 12 w 14"/>
              <a:gd name="T5" fmla="*/ 8 h 11"/>
              <a:gd name="T6" fmla="*/ 13 w 14"/>
              <a:gd name="T7" fmla="*/ 0 h 11"/>
              <a:gd name="T8" fmla="*/ 0 w 14"/>
              <a:gd name="T9" fmla="*/ 10 h 11"/>
              <a:gd name="T10" fmla="*/ 0 w 14"/>
              <a:gd name="T11" fmla="*/ 10 h 11"/>
              <a:gd name="T12" fmla="*/ 0 60000 65536"/>
              <a:gd name="T13" fmla="*/ 0 60000 65536"/>
              <a:gd name="T14" fmla="*/ 0 60000 65536"/>
              <a:gd name="T15" fmla="*/ 0 60000 65536"/>
              <a:gd name="T16" fmla="*/ 0 60000 65536"/>
              <a:gd name="T17" fmla="*/ 0 60000 65536"/>
              <a:gd name="T18" fmla="*/ 0 w 14"/>
              <a:gd name="T19" fmla="*/ 0 h 11"/>
              <a:gd name="T20" fmla="*/ 14 w 14"/>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4" h="11">
                <a:moveTo>
                  <a:pt x="0" y="10"/>
                </a:moveTo>
                <a:lnTo>
                  <a:pt x="0" y="10"/>
                </a:lnTo>
                <a:lnTo>
                  <a:pt x="12" y="8"/>
                </a:lnTo>
                <a:lnTo>
                  <a:pt x="13" y="0"/>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6" name="Freeform 736">
            <a:extLst>
              <a:ext uri="{FF2B5EF4-FFF2-40B4-BE49-F238E27FC236}">
                <a16:creationId xmlns:a16="http://schemas.microsoft.com/office/drawing/2014/main" id="{545FB3BD-6F68-47F3-8B2A-9A4D3CED8999}"/>
              </a:ext>
            </a:extLst>
          </p:cNvPr>
          <p:cNvSpPr>
            <a:spLocks/>
          </p:cNvSpPr>
          <p:nvPr/>
        </p:nvSpPr>
        <p:spPr bwMode="auto">
          <a:xfrm>
            <a:off x="3147457" y="5834436"/>
            <a:ext cx="82757" cy="82326"/>
          </a:xfrm>
          <a:custGeom>
            <a:avLst/>
            <a:gdLst>
              <a:gd name="T0" fmla="*/ 0 w 72"/>
              <a:gd name="T1" fmla="*/ 59 h 74"/>
              <a:gd name="T2" fmla="*/ 0 w 72"/>
              <a:gd name="T3" fmla="*/ 59 h 74"/>
              <a:gd name="T4" fmla="*/ 12 w 72"/>
              <a:gd name="T5" fmla="*/ 3 h 74"/>
              <a:gd name="T6" fmla="*/ 22 w 72"/>
              <a:gd name="T7" fmla="*/ 0 h 74"/>
              <a:gd name="T8" fmla="*/ 63 w 72"/>
              <a:gd name="T9" fmla="*/ 29 h 74"/>
              <a:gd name="T10" fmla="*/ 71 w 72"/>
              <a:gd name="T11" fmla="*/ 41 h 74"/>
              <a:gd name="T12" fmla="*/ 68 w 72"/>
              <a:gd name="T13" fmla="*/ 55 h 74"/>
              <a:gd name="T14" fmla="*/ 49 w 72"/>
              <a:gd name="T15" fmla="*/ 73 h 74"/>
              <a:gd name="T16" fmla="*/ 0 w 72"/>
              <a:gd name="T17" fmla="*/ 59 h 74"/>
              <a:gd name="T18" fmla="*/ 0 w 72"/>
              <a:gd name="T19" fmla="*/ 59 h 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2"/>
              <a:gd name="T31" fmla="*/ 0 h 74"/>
              <a:gd name="T32" fmla="*/ 72 w 72"/>
              <a:gd name="T33" fmla="*/ 74 h 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2" h="74">
                <a:moveTo>
                  <a:pt x="0" y="59"/>
                </a:moveTo>
                <a:lnTo>
                  <a:pt x="0" y="59"/>
                </a:lnTo>
                <a:lnTo>
                  <a:pt x="12" y="3"/>
                </a:lnTo>
                <a:lnTo>
                  <a:pt x="22" y="0"/>
                </a:lnTo>
                <a:lnTo>
                  <a:pt x="63" y="29"/>
                </a:lnTo>
                <a:lnTo>
                  <a:pt x="71" y="41"/>
                </a:lnTo>
                <a:lnTo>
                  <a:pt x="68" y="55"/>
                </a:lnTo>
                <a:lnTo>
                  <a:pt x="49" y="73"/>
                </a:lnTo>
                <a:lnTo>
                  <a:pt x="0" y="5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7" name="Freeform 737">
            <a:extLst>
              <a:ext uri="{FF2B5EF4-FFF2-40B4-BE49-F238E27FC236}">
                <a16:creationId xmlns:a16="http://schemas.microsoft.com/office/drawing/2014/main" id="{A595BE95-CA86-4E4A-97BC-8ECDAC59BA69}"/>
              </a:ext>
            </a:extLst>
          </p:cNvPr>
          <p:cNvSpPr>
            <a:spLocks/>
          </p:cNvSpPr>
          <p:nvPr/>
        </p:nvSpPr>
        <p:spPr bwMode="auto">
          <a:xfrm>
            <a:off x="2915277" y="5183616"/>
            <a:ext cx="211491" cy="174664"/>
          </a:xfrm>
          <a:custGeom>
            <a:avLst/>
            <a:gdLst>
              <a:gd name="T0" fmla="*/ 0 w 184"/>
              <a:gd name="T1" fmla="*/ 42 h 157"/>
              <a:gd name="T2" fmla="*/ 0 w 184"/>
              <a:gd name="T3" fmla="*/ 42 h 157"/>
              <a:gd name="T4" fmla="*/ 17 w 184"/>
              <a:gd name="T5" fmla="*/ 69 h 157"/>
              <a:gd name="T6" fmla="*/ 44 w 184"/>
              <a:gd name="T7" fmla="*/ 72 h 157"/>
              <a:gd name="T8" fmla="*/ 52 w 184"/>
              <a:gd name="T9" fmla="*/ 84 h 157"/>
              <a:gd name="T10" fmla="*/ 79 w 184"/>
              <a:gd name="T11" fmla="*/ 82 h 157"/>
              <a:gd name="T12" fmla="*/ 75 w 184"/>
              <a:gd name="T13" fmla="*/ 129 h 157"/>
              <a:gd name="T14" fmla="*/ 87 w 184"/>
              <a:gd name="T15" fmla="*/ 149 h 157"/>
              <a:gd name="T16" fmla="*/ 103 w 184"/>
              <a:gd name="T17" fmla="*/ 156 h 157"/>
              <a:gd name="T18" fmla="*/ 136 w 184"/>
              <a:gd name="T19" fmla="*/ 137 h 157"/>
              <a:gd name="T20" fmla="*/ 123 w 184"/>
              <a:gd name="T21" fmla="*/ 134 h 157"/>
              <a:gd name="T22" fmla="*/ 116 w 184"/>
              <a:gd name="T23" fmla="*/ 108 h 157"/>
              <a:gd name="T24" fmla="*/ 139 w 184"/>
              <a:gd name="T25" fmla="*/ 113 h 157"/>
              <a:gd name="T26" fmla="*/ 173 w 184"/>
              <a:gd name="T27" fmla="*/ 97 h 157"/>
              <a:gd name="T28" fmla="*/ 164 w 184"/>
              <a:gd name="T29" fmla="*/ 84 h 157"/>
              <a:gd name="T30" fmla="*/ 175 w 184"/>
              <a:gd name="T31" fmla="*/ 72 h 157"/>
              <a:gd name="T32" fmla="*/ 170 w 184"/>
              <a:gd name="T33" fmla="*/ 63 h 157"/>
              <a:gd name="T34" fmla="*/ 183 w 184"/>
              <a:gd name="T35" fmla="*/ 53 h 157"/>
              <a:gd name="T36" fmla="*/ 167 w 184"/>
              <a:gd name="T37" fmla="*/ 51 h 157"/>
              <a:gd name="T38" fmla="*/ 167 w 184"/>
              <a:gd name="T39" fmla="*/ 39 h 157"/>
              <a:gd name="T40" fmla="*/ 141 w 184"/>
              <a:gd name="T41" fmla="*/ 25 h 157"/>
              <a:gd name="T42" fmla="*/ 152 w 184"/>
              <a:gd name="T43" fmla="*/ 21 h 157"/>
              <a:gd name="T44" fmla="*/ 72 w 184"/>
              <a:gd name="T45" fmla="*/ 24 h 157"/>
              <a:gd name="T46" fmla="*/ 46 w 184"/>
              <a:gd name="T47" fmla="*/ 0 h 157"/>
              <a:gd name="T48" fmla="*/ 47 w 184"/>
              <a:gd name="T49" fmla="*/ 11 h 157"/>
              <a:gd name="T50" fmla="*/ 24 w 184"/>
              <a:gd name="T51" fmla="*/ 20 h 157"/>
              <a:gd name="T52" fmla="*/ 31 w 184"/>
              <a:gd name="T53" fmla="*/ 39 h 157"/>
              <a:gd name="T54" fmla="*/ 22 w 184"/>
              <a:gd name="T55" fmla="*/ 46 h 157"/>
              <a:gd name="T56" fmla="*/ 17 w 184"/>
              <a:gd name="T57" fmla="*/ 29 h 157"/>
              <a:gd name="T58" fmla="*/ 26 w 184"/>
              <a:gd name="T59" fmla="*/ 6 h 157"/>
              <a:gd name="T60" fmla="*/ 0 w 184"/>
              <a:gd name="T61" fmla="*/ 42 h 157"/>
              <a:gd name="T62" fmla="*/ 0 w 184"/>
              <a:gd name="T63" fmla="*/ 42 h 1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4"/>
              <a:gd name="T97" fmla="*/ 0 h 157"/>
              <a:gd name="T98" fmla="*/ 184 w 184"/>
              <a:gd name="T99" fmla="*/ 157 h 15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4" h="157">
                <a:moveTo>
                  <a:pt x="0" y="42"/>
                </a:moveTo>
                <a:lnTo>
                  <a:pt x="0" y="42"/>
                </a:lnTo>
                <a:lnTo>
                  <a:pt x="17" y="69"/>
                </a:lnTo>
                <a:lnTo>
                  <a:pt x="44" y="72"/>
                </a:lnTo>
                <a:lnTo>
                  <a:pt x="52" y="84"/>
                </a:lnTo>
                <a:lnTo>
                  <a:pt x="79" y="82"/>
                </a:lnTo>
                <a:lnTo>
                  <a:pt x="75" y="129"/>
                </a:lnTo>
                <a:lnTo>
                  <a:pt x="87" y="149"/>
                </a:lnTo>
                <a:lnTo>
                  <a:pt x="103" y="156"/>
                </a:lnTo>
                <a:lnTo>
                  <a:pt x="136" y="137"/>
                </a:lnTo>
                <a:lnTo>
                  <a:pt x="123" y="134"/>
                </a:lnTo>
                <a:lnTo>
                  <a:pt x="116" y="108"/>
                </a:lnTo>
                <a:lnTo>
                  <a:pt x="139" y="113"/>
                </a:lnTo>
                <a:lnTo>
                  <a:pt x="173" y="97"/>
                </a:lnTo>
                <a:lnTo>
                  <a:pt x="164" y="84"/>
                </a:lnTo>
                <a:lnTo>
                  <a:pt x="175" y="72"/>
                </a:lnTo>
                <a:lnTo>
                  <a:pt x="170" y="63"/>
                </a:lnTo>
                <a:lnTo>
                  <a:pt x="183" y="53"/>
                </a:lnTo>
                <a:lnTo>
                  <a:pt x="167" y="51"/>
                </a:lnTo>
                <a:lnTo>
                  <a:pt x="167" y="39"/>
                </a:lnTo>
                <a:lnTo>
                  <a:pt x="141" y="25"/>
                </a:lnTo>
                <a:lnTo>
                  <a:pt x="152" y="21"/>
                </a:lnTo>
                <a:lnTo>
                  <a:pt x="72" y="24"/>
                </a:lnTo>
                <a:lnTo>
                  <a:pt x="46" y="0"/>
                </a:lnTo>
                <a:lnTo>
                  <a:pt x="47" y="11"/>
                </a:lnTo>
                <a:lnTo>
                  <a:pt x="24" y="20"/>
                </a:lnTo>
                <a:lnTo>
                  <a:pt x="31" y="39"/>
                </a:lnTo>
                <a:lnTo>
                  <a:pt x="22" y="46"/>
                </a:lnTo>
                <a:lnTo>
                  <a:pt x="17" y="29"/>
                </a:lnTo>
                <a:lnTo>
                  <a:pt x="26" y="6"/>
                </a:lnTo>
                <a:lnTo>
                  <a:pt x="0" y="4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8" name="Freeform 738">
            <a:extLst>
              <a:ext uri="{FF2B5EF4-FFF2-40B4-BE49-F238E27FC236}">
                <a16:creationId xmlns:a16="http://schemas.microsoft.com/office/drawing/2014/main" id="{CE364E54-2E11-4C63-A303-5EB591D6D012}"/>
              </a:ext>
            </a:extLst>
          </p:cNvPr>
          <p:cNvSpPr>
            <a:spLocks/>
          </p:cNvSpPr>
          <p:nvPr/>
        </p:nvSpPr>
        <p:spPr bwMode="auto">
          <a:xfrm>
            <a:off x="5660570" y="5014686"/>
            <a:ext cx="109500" cy="225795"/>
          </a:xfrm>
          <a:custGeom>
            <a:avLst/>
            <a:gdLst>
              <a:gd name="T0" fmla="*/ 0 w 95"/>
              <a:gd name="T1" fmla="*/ 17056038 h 203"/>
              <a:gd name="T2" fmla="*/ 0 w 95"/>
              <a:gd name="T3" fmla="*/ 17056038 h 203"/>
              <a:gd name="T4" fmla="*/ 21990127 w 95"/>
              <a:gd name="T5" fmla="*/ 52872417 h 203"/>
              <a:gd name="T6" fmla="*/ 50262967 w 95"/>
              <a:gd name="T7" fmla="*/ 68222847 h 203"/>
              <a:gd name="T8" fmla="*/ 36127169 w 95"/>
              <a:gd name="T9" fmla="*/ 93806917 h 203"/>
              <a:gd name="T10" fmla="*/ 87960510 w 95"/>
              <a:gd name="T11" fmla="*/ 139856901 h 203"/>
              <a:gd name="T12" fmla="*/ 111520992 w 95"/>
              <a:gd name="T13" fmla="*/ 202962959 h 203"/>
              <a:gd name="T14" fmla="*/ 114662975 w 95"/>
              <a:gd name="T15" fmla="*/ 255835356 h 203"/>
              <a:gd name="T16" fmla="*/ 50262967 w 95"/>
              <a:gd name="T17" fmla="*/ 301886645 h 203"/>
              <a:gd name="T18" fmla="*/ 59687661 w 95"/>
              <a:gd name="T19" fmla="*/ 344525504 h 203"/>
              <a:gd name="T20" fmla="*/ 80106161 w 95"/>
              <a:gd name="T21" fmla="*/ 315530166 h 203"/>
              <a:gd name="T22" fmla="*/ 92672857 w 95"/>
              <a:gd name="T23" fmla="*/ 324058182 h 203"/>
              <a:gd name="T24" fmla="*/ 97385204 w 95"/>
              <a:gd name="T25" fmla="*/ 303592249 h 203"/>
              <a:gd name="T26" fmla="*/ 147648151 w 95"/>
              <a:gd name="T27" fmla="*/ 272891389 h 203"/>
              <a:gd name="T28" fmla="*/ 141365440 w 95"/>
              <a:gd name="T29" fmla="*/ 185906926 h 203"/>
              <a:gd name="T30" fmla="*/ 72253084 w 95"/>
              <a:gd name="T31" fmla="*/ 105744835 h 203"/>
              <a:gd name="T32" fmla="*/ 80106161 w 95"/>
              <a:gd name="T33" fmla="*/ 78456467 h 203"/>
              <a:gd name="T34" fmla="*/ 120945686 w 95"/>
              <a:gd name="T35" fmla="*/ 39227581 h 203"/>
              <a:gd name="T36" fmla="*/ 62828390 w 95"/>
              <a:gd name="T37" fmla="*/ 0 h 203"/>
              <a:gd name="T38" fmla="*/ 0 w 95"/>
              <a:gd name="T39" fmla="*/ 17056038 h 203"/>
              <a:gd name="T40" fmla="*/ 0 w 95"/>
              <a:gd name="T41" fmla="*/ 17056038 h 2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5"/>
              <a:gd name="T64" fmla="*/ 0 h 203"/>
              <a:gd name="T65" fmla="*/ 95 w 95"/>
              <a:gd name="T66" fmla="*/ 203 h 2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5" h="203">
                <a:moveTo>
                  <a:pt x="0" y="10"/>
                </a:moveTo>
                <a:lnTo>
                  <a:pt x="0" y="10"/>
                </a:lnTo>
                <a:lnTo>
                  <a:pt x="14" y="31"/>
                </a:lnTo>
                <a:lnTo>
                  <a:pt x="32" y="40"/>
                </a:lnTo>
                <a:lnTo>
                  <a:pt x="23" y="55"/>
                </a:lnTo>
                <a:lnTo>
                  <a:pt x="56" y="82"/>
                </a:lnTo>
                <a:lnTo>
                  <a:pt x="71" y="119"/>
                </a:lnTo>
                <a:lnTo>
                  <a:pt x="73" y="150"/>
                </a:lnTo>
                <a:lnTo>
                  <a:pt x="32" y="177"/>
                </a:lnTo>
                <a:lnTo>
                  <a:pt x="38" y="202"/>
                </a:lnTo>
                <a:lnTo>
                  <a:pt x="51" y="185"/>
                </a:lnTo>
                <a:lnTo>
                  <a:pt x="59" y="190"/>
                </a:lnTo>
                <a:lnTo>
                  <a:pt x="62" y="178"/>
                </a:lnTo>
                <a:lnTo>
                  <a:pt x="94" y="160"/>
                </a:lnTo>
                <a:lnTo>
                  <a:pt x="90" y="109"/>
                </a:lnTo>
                <a:lnTo>
                  <a:pt x="46" y="62"/>
                </a:lnTo>
                <a:lnTo>
                  <a:pt x="51" y="46"/>
                </a:lnTo>
                <a:lnTo>
                  <a:pt x="77" y="23"/>
                </a:lnTo>
                <a:lnTo>
                  <a:pt x="40" y="0"/>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9" name="Freeform 739">
            <a:extLst>
              <a:ext uri="{FF2B5EF4-FFF2-40B4-BE49-F238E27FC236}">
                <a16:creationId xmlns:a16="http://schemas.microsoft.com/office/drawing/2014/main" id="{1EFA42D7-4448-4E18-A729-6CF3DBA94A34}"/>
              </a:ext>
            </a:extLst>
          </p:cNvPr>
          <p:cNvSpPr>
            <a:spLocks/>
          </p:cNvSpPr>
          <p:nvPr/>
        </p:nvSpPr>
        <p:spPr bwMode="auto">
          <a:xfrm>
            <a:off x="4669221" y="4653688"/>
            <a:ext cx="116801" cy="51378"/>
          </a:xfrm>
          <a:custGeom>
            <a:avLst/>
            <a:gdLst>
              <a:gd name="T0" fmla="*/ 0 w 102"/>
              <a:gd name="T1" fmla="*/ 3439837 h 46"/>
              <a:gd name="T2" fmla="*/ 37206018 w 102"/>
              <a:gd name="T3" fmla="*/ 0 h 46"/>
              <a:gd name="T4" fmla="*/ 72863135 w 102"/>
              <a:gd name="T5" fmla="*/ 15478608 h 46"/>
              <a:gd name="T6" fmla="*/ 86814474 w 102"/>
              <a:gd name="T7" fmla="*/ 32676478 h 46"/>
              <a:gd name="T8" fmla="*/ 105418723 w 102"/>
              <a:gd name="T9" fmla="*/ 32676478 h 46"/>
              <a:gd name="T10" fmla="*/ 119371288 w 102"/>
              <a:gd name="T11" fmla="*/ 24077546 h 46"/>
              <a:gd name="T12" fmla="*/ 128672167 w 102"/>
              <a:gd name="T13" fmla="*/ 22356972 h 46"/>
              <a:gd name="T14" fmla="*/ 137974292 w 102"/>
              <a:gd name="T15" fmla="*/ 39556149 h 46"/>
              <a:gd name="T16" fmla="*/ 155027149 w 102"/>
              <a:gd name="T17" fmla="*/ 44715256 h 46"/>
              <a:gd name="T18" fmla="*/ 150376710 w 102"/>
              <a:gd name="T19" fmla="*/ 51593615 h 46"/>
              <a:gd name="T20" fmla="*/ 156577296 w 102"/>
              <a:gd name="T21" fmla="*/ 65352956 h 46"/>
              <a:gd name="T22" fmla="*/ 155027149 w 102"/>
              <a:gd name="T23" fmla="*/ 75671151 h 46"/>
              <a:gd name="T24" fmla="*/ 137974292 w 102"/>
              <a:gd name="T25" fmla="*/ 60192548 h 46"/>
              <a:gd name="T26" fmla="*/ 128672167 w 102"/>
              <a:gd name="T27" fmla="*/ 55033451 h 46"/>
              <a:gd name="T28" fmla="*/ 119371288 w 102"/>
              <a:gd name="T29" fmla="*/ 55033451 h 46"/>
              <a:gd name="T30" fmla="*/ 114719603 w 102"/>
              <a:gd name="T31" fmla="*/ 72231316 h 46"/>
              <a:gd name="T32" fmla="*/ 103868576 w 102"/>
              <a:gd name="T33" fmla="*/ 67072218 h 46"/>
              <a:gd name="T34" fmla="*/ 83714181 w 102"/>
              <a:gd name="T35" fmla="*/ 77391724 h 46"/>
              <a:gd name="T36" fmla="*/ 58910570 w 102"/>
              <a:gd name="T37" fmla="*/ 75671151 h 46"/>
              <a:gd name="T38" fmla="*/ 58910570 w 102"/>
              <a:gd name="T39" fmla="*/ 44715256 h 46"/>
              <a:gd name="T40" fmla="*/ 20153156 w 102"/>
              <a:gd name="T41" fmla="*/ 17197870 h 46"/>
              <a:gd name="T42" fmla="*/ 0 w 102"/>
              <a:gd name="T43" fmla="*/ 3439837 h 46"/>
              <a:gd name="T44" fmla="*/ 0 w 102"/>
              <a:gd name="T45" fmla="*/ 343983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46"/>
              <a:gd name="T71" fmla="*/ 102 w 102"/>
              <a:gd name="T72" fmla="*/ 46 h 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46">
                <a:moveTo>
                  <a:pt x="0" y="2"/>
                </a:moveTo>
                <a:lnTo>
                  <a:pt x="24" y="0"/>
                </a:lnTo>
                <a:lnTo>
                  <a:pt x="47" y="9"/>
                </a:lnTo>
                <a:lnTo>
                  <a:pt x="56" y="19"/>
                </a:lnTo>
                <a:lnTo>
                  <a:pt x="68" y="19"/>
                </a:lnTo>
                <a:lnTo>
                  <a:pt x="77" y="14"/>
                </a:lnTo>
                <a:lnTo>
                  <a:pt x="83" y="13"/>
                </a:lnTo>
                <a:lnTo>
                  <a:pt x="89" y="23"/>
                </a:lnTo>
                <a:lnTo>
                  <a:pt x="100" y="26"/>
                </a:lnTo>
                <a:lnTo>
                  <a:pt x="97" y="30"/>
                </a:lnTo>
                <a:lnTo>
                  <a:pt x="101" y="38"/>
                </a:lnTo>
                <a:lnTo>
                  <a:pt x="100" y="44"/>
                </a:lnTo>
                <a:lnTo>
                  <a:pt x="89" y="35"/>
                </a:lnTo>
                <a:lnTo>
                  <a:pt x="83" y="32"/>
                </a:lnTo>
                <a:lnTo>
                  <a:pt x="77" y="32"/>
                </a:lnTo>
                <a:lnTo>
                  <a:pt x="74" y="42"/>
                </a:lnTo>
                <a:lnTo>
                  <a:pt x="67" y="39"/>
                </a:lnTo>
                <a:lnTo>
                  <a:pt x="54" y="45"/>
                </a:lnTo>
                <a:lnTo>
                  <a:pt x="38" y="44"/>
                </a:lnTo>
                <a:lnTo>
                  <a:pt x="38" y="26"/>
                </a:lnTo>
                <a:lnTo>
                  <a:pt x="13" y="10"/>
                </a:lnTo>
                <a:lnTo>
                  <a:pt x="0" y="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0" name="Freeform 740">
            <a:extLst>
              <a:ext uri="{FF2B5EF4-FFF2-40B4-BE49-F238E27FC236}">
                <a16:creationId xmlns:a16="http://schemas.microsoft.com/office/drawing/2014/main" id="{8C2C812B-C909-499A-B3F4-D6BA4928BD00}"/>
              </a:ext>
            </a:extLst>
          </p:cNvPr>
          <p:cNvSpPr>
            <a:spLocks/>
          </p:cNvSpPr>
          <p:nvPr/>
        </p:nvSpPr>
        <p:spPr bwMode="auto">
          <a:xfrm>
            <a:off x="4752443" y="4682080"/>
            <a:ext cx="96360" cy="77068"/>
          </a:xfrm>
          <a:custGeom>
            <a:avLst/>
            <a:gdLst>
              <a:gd name="T0" fmla="*/ 48621765 w 85"/>
              <a:gd name="T1" fmla="*/ 3439855 h 69"/>
              <a:gd name="T2" fmla="*/ 54698713 w 85"/>
              <a:gd name="T3" fmla="*/ 3439855 h 69"/>
              <a:gd name="T4" fmla="*/ 74451875 w 85"/>
              <a:gd name="T5" fmla="*/ 10319564 h 69"/>
              <a:gd name="T6" fmla="*/ 92683970 w 85"/>
              <a:gd name="T7" fmla="*/ 25796947 h 69"/>
              <a:gd name="T8" fmla="*/ 103320478 w 85"/>
              <a:gd name="T9" fmla="*/ 44715498 h 69"/>
              <a:gd name="T10" fmla="*/ 127630734 w 85"/>
              <a:gd name="T11" fmla="*/ 65353310 h 69"/>
              <a:gd name="T12" fmla="*/ 115475606 w 85"/>
              <a:gd name="T13" fmla="*/ 70512435 h 69"/>
              <a:gd name="T14" fmla="*/ 106358952 w 85"/>
              <a:gd name="T15" fmla="*/ 84271851 h 69"/>
              <a:gd name="T16" fmla="*/ 104840331 w 85"/>
              <a:gd name="T17" fmla="*/ 91150268 h 69"/>
              <a:gd name="T18" fmla="*/ 100282004 w 85"/>
              <a:gd name="T19" fmla="*/ 116948516 h 69"/>
              <a:gd name="T20" fmla="*/ 82048695 w 85"/>
              <a:gd name="T21" fmla="*/ 110068809 h 69"/>
              <a:gd name="T22" fmla="*/ 79010202 w 85"/>
              <a:gd name="T23" fmla="*/ 87710414 h 69"/>
              <a:gd name="T24" fmla="*/ 60776893 w 85"/>
              <a:gd name="T25" fmla="*/ 96310704 h 69"/>
              <a:gd name="T26" fmla="*/ 44063438 w 85"/>
              <a:gd name="T27" fmla="*/ 108348226 h 69"/>
              <a:gd name="T28" fmla="*/ 33426921 w 85"/>
              <a:gd name="T29" fmla="*/ 106628955 h 69"/>
              <a:gd name="T30" fmla="*/ 24310266 w 85"/>
              <a:gd name="T31" fmla="*/ 94590122 h 69"/>
              <a:gd name="T32" fmla="*/ 18233314 w 85"/>
              <a:gd name="T33" fmla="*/ 84271851 h 69"/>
              <a:gd name="T34" fmla="*/ 25830119 w 85"/>
              <a:gd name="T35" fmla="*/ 73952289 h 69"/>
              <a:gd name="T36" fmla="*/ 30388447 w 85"/>
              <a:gd name="T37" fmla="*/ 82551268 h 69"/>
              <a:gd name="T38" fmla="*/ 53180092 w 85"/>
              <a:gd name="T39" fmla="*/ 94590122 h 69"/>
              <a:gd name="T40" fmla="*/ 57738419 w 85"/>
              <a:gd name="T41" fmla="*/ 84271851 h 69"/>
              <a:gd name="T42" fmla="*/ 36466627 w 85"/>
              <a:gd name="T43" fmla="*/ 65353310 h 69"/>
              <a:gd name="T44" fmla="*/ 30388447 w 85"/>
              <a:gd name="T45" fmla="*/ 49874623 h 69"/>
              <a:gd name="T46" fmla="*/ 22791646 w 85"/>
              <a:gd name="T47" fmla="*/ 44715498 h 69"/>
              <a:gd name="T48" fmla="*/ 22791646 w 85"/>
              <a:gd name="T49" fmla="*/ 34395926 h 69"/>
              <a:gd name="T50" fmla="*/ 13674986 w 85"/>
              <a:gd name="T51" fmla="*/ 30957384 h 69"/>
              <a:gd name="T52" fmla="*/ 0 w 85"/>
              <a:gd name="T53" fmla="*/ 29236801 h 69"/>
              <a:gd name="T54" fmla="*/ 4558328 w 85"/>
              <a:gd name="T55" fmla="*/ 17197963 h 69"/>
              <a:gd name="T56" fmla="*/ 6078183 w 85"/>
              <a:gd name="T57" fmla="*/ 10319564 h 69"/>
              <a:gd name="T58" fmla="*/ 16713460 w 85"/>
              <a:gd name="T59" fmla="*/ 10319564 h 69"/>
              <a:gd name="T60" fmla="*/ 22791646 w 85"/>
              <a:gd name="T61" fmla="*/ 15478692 h 69"/>
              <a:gd name="T62" fmla="*/ 39505101 w 85"/>
              <a:gd name="T63" fmla="*/ 30957384 h 69"/>
              <a:gd name="T64" fmla="*/ 41023731 w 85"/>
              <a:gd name="T65" fmla="*/ 20637817 h 69"/>
              <a:gd name="T66" fmla="*/ 34946774 w 85"/>
              <a:gd name="T67" fmla="*/ 8598982 h 69"/>
              <a:gd name="T68" fmla="*/ 39505101 w 85"/>
              <a:gd name="T69" fmla="*/ 0 h 69"/>
              <a:gd name="T70" fmla="*/ 48621765 w 85"/>
              <a:gd name="T71" fmla="*/ 3439855 h 69"/>
              <a:gd name="T72" fmla="*/ 48621765 w 85"/>
              <a:gd name="T73" fmla="*/ 3439855 h 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5"/>
              <a:gd name="T112" fmla="*/ 0 h 69"/>
              <a:gd name="T113" fmla="*/ 85 w 85"/>
              <a:gd name="T114" fmla="*/ 69 h 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5" h="69">
                <a:moveTo>
                  <a:pt x="32" y="2"/>
                </a:moveTo>
                <a:lnTo>
                  <a:pt x="36" y="2"/>
                </a:lnTo>
                <a:lnTo>
                  <a:pt x="49" y="6"/>
                </a:lnTo>
                <a:lnTo>
                  <a:pt x="61" y="15"/>
                </a:lnTo>
                <a:lnTo>
                  <a:pt x="68" y="26"/>
                </a:lnTo>
                <a:lnTo>
                  <a:pt x="84" y="38"/>
                </a:lnTo>
                <a:lnTo>
                  <a:pt x="76" y="41"/>
                </a:lnTo>
                <a:lnTo>
                  <a:pt x="70" y="49"/>
                </a:lnTo>
                <a:lnTo>
                  <a:pt x="69" y="53"/>
                </a:lnTo>
                <a:lnTo>
                  <a:pt x="66" y="68"/>
                </a:lnTo>
                <a:lnTo>
                  <a:pt x="54" y="64"/>
                </a:lnTo>
                <a:lnTo>
                  <a:pt x="52" y="51"/>
                </a:lnTo>
                <a:lnTo>
                  <a:pt x="40" y="56"/>
                </a:lnTo>
                <a:lnTo>
                  <a:pt x="29" y="63"/>
                </a:lnTo>
                <a:lnTo>
                  <a:pt x="22" y="62"/>
                </a:lnTo>
                <a:lnTo>
                  <a:pt x="16" y="55"/>
                </a:lnTo>
                <a:lnTo>
                  <a:pt x="12" y="49"/>
                </a:lnTo>
                <a:lnTo>
                  <a:pt x="17" y="43"/>
                </a:lnTo>
                <a:lnTo>
                  <a:pt x="20" y="48"/>
                </a:lnTo>
                <a:lnTo>
                  <a:pt x="35" y="55"/>
                </a:lnTo>
                <a:lnTo>
                  <a:pt x="38" y="49"/>
                </a:lnTo>
                <a:lnTo>
                  <a:pt x="24" y="38"/>
                </a:lnTo>
                <a:lnTo>
                  <a:pt x="20" y="29"/>
                </a:lnTo>
                <a:lnTo>
                  <a:pt x="15" y="26"/>
                </a:lnTo>
                <a:lnTo>
                  <a:pt x="15" y="20"/>
                </a:lnTo>
                <a:lnTo>
                  <a:pt x="9" y="18"/>
                </a:lnTo>
                <a:lnTo>
                  <a:pt x="0" y="17"/>
                </a:lnTo>
                <a:lnTo>
                  <a:pt x="3" y="10"/>
                </a:lnTo>
                <a:lnTo>
                  <a:pt x="4" y="6"/>
                </a:lnTo>
                <a:lnTo>
                  <a:pt x="11" y="6"/>
                </a:lnTo>
                <a:lnTo>
                  <a:pt x="15" y="9"/>
                </a:lnTo>
                <a:lnTo>
                  <a:pt x="26" y="18"/>
                </a:lnTo>
                <a:lnTo>
                  <a:pt x="27" y="12"/>
                </a:lnTo>
                <a:lnTo>
                  <a:pt x="23" y="5"/>
                </a:lnTo>
                <a:lnTo>
                  <a:pt x="26" y="0"/>
                </a:lnTo>
                <a:lnTo>
                  <a:pt x="32" y="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1" name="Freeform 741">
            <a:extLst>
              <a:ext uri="{FF2B5EF4-FFF2-40B4-BE49-F238E27FC236}">
                <a16:creationId xmlns:a16="http://schemas.microsoft.com/office/drawing/2014/main" id="{34849A92-9597-49BF-977B-9951D462FED2}"/>
              </a:ext>
            </a:extLst>
          </p:cNvPr>
          <p:cNvSpPr>
            <a:spLocks/>
          </p:cNvSpPr>
          <p:nvPr/>
        </p:nvSpPr>
        <p:spPr bwMode="auto">
          <a:xfrm>
            <a:off x="4730542" y="4696953"/>
            <a:ext cx="68622" cy="47322"/>
          </a:xfrm>
          <a:custGeom>
            <a:avLst/>
            <a:gdLst>
              <a:gd name="T0" fmla="*/ 0 w 57"/>
              <a:gd name="T1" fmla="*/ 10017957 h 43"/>
              <a:gd name="T2" fmla="*/ 11994369 w 57"/>
              <a:gd name="T3" fmla="*/ 21705362 h 43"/>
              <a:gd name="T4" fmla="*/ 25702218 w 57"/>
              <a:gd name="T5" fmla="*/ 38401091 h 43"/>
              <a:gd name="T6" fmla="*/ 47977476 w 57"/>
              <a:gd name="T7" fmla="*/ 61775897 h 43"/>
              <a:gd name="T8" fmla="*/ 61685320 w 57"/>
              <a:gd name="T9" fmla="*/ 48419056 h 43"/>
              <a:gd name="T10" fmla="*/ 63398800 w 57"/>
              <a:gd name="T11" fmla="*/ 60106454 h 43"/>
              <a:gd name="T12" fmla="*/ 73679684 w 57"/>
              <a:gd name="T13" fmla="*/ 61775897 h 43"/>
              <a:gd name="T14" fmla="*/ 89101029 w 57"/>
              <a:gd name="T15" fmla="*/ 70124408 h 43"/>
              <a:gd name="T16" fmla="*/ 95954951 w 57"/>
              <a:gd name="T17" fmla="*/ 60106454 h 43"/>
              <a:gd name="T18" fmla="*/ 71966203 w 57"/>
              <a:gd name="T19" fmla="*/ 41739979 h 43"/>
              <a:gd name="T20" fmla="*/ 66825762 w 57"/>
              <a:gd name="T21" fmla="*/ 26713693 h 43"/>
              <a:gd name="T22" fmla="*/ 56544878 w 57"/>
              <a:gd name="T23" fmla="*/ 21705362 h 43"/>
              <a:gd name="T24" fmla="*/ 56544878 w 57"/>
              <a:gd name="T25" fmla="*/ 11687403 h 43"/>
              <a:gd name="T26" fmla="*/ 46263995 w 57"/>
              <a:gd name="T27" fmla="*/ 8348513 h 43"/>
              <a:gd name="T28" fmla="*/ 30842660 w 57"/>
              <a:gd name="T29" fmla="*/ 5008332 h 43"/>
              <a:gd name="T30" fmla="*/ 17134811 w 57"/>
              <a:gd name="T31" fmla="*/ 0 h 43"/>
              <a:gd name="T32" fmla="*/ 5140443 w 57"/>
              <a:gd name="T33" fmla="*/ 1669444 h 43"/>
              <a:gd name="T34" fmla="*/ 0 w 57"/>
              <a:gd name="T35" fmla="*/ 10017957 h 43"/>
              <a:gd name="T36" fmla="*/ 0 w 57"/>
              <a:gd name="T37" fmla="*/ 10017957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7"/>
              <a:gd name="T58" fmla="*/ 0 h 43"/>
              <a:gd name="T59" fmla="*/ 57 w 57"/>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7" h="43">
                <a:moveTo>
                  <a:pt x="0" y="6"/>
                </a:moveTo>
                <a:lnTo>
                  <a:pt x="7" y="13"/>
                </a:lnTo>
                <a:lnTo>
                  <a:pt x="15" y="23"/>
                </a:lnTo>
                <a:lnTo>
                  <a:pt x="28" y="37"/>
                </a:lnTo>
                <a:lnTo>
                  <a:pt x="36" y="29"/>
                </a:lnTo>
                <a:lnTo>
                  <a:pt x="37" y="36"/>
                </a:lnTo>
                <a:lnTo>
                  <a:pt x="43" y="37"/>
                </a:lnTo>
                <a:lnTo>
                  <a:pt x="52" y="42"/>
                </a:lnTo>
                <a:lnTo>
                  <a:pt x="56" y="36"/>
                </a:lnTo>
                <a:lnTo>
                  <a:pt x="42" y="25"/>
                </a:lnTo>
                <a:lnTo>
                  <a:pt x="39" y="16"/>
                </a:lnTo>
                <a:lnTo>
                  <a:pt x="33" y="13"/>
                </a:lnTo>
                <a:lnTo>
                  <a:pt x="33" y="7"/>
                </a:lnTo>
                <a:lnTo>
                  <a:pt x="27" y="5"/>
                </a:lnTo>
                <a:lnTo>
                  <a:pt x="18" y="3"/>
                </a:lnTo>
                <a:lnTo>
                  <a:pt x="10" y="0"/>
                </a:lnTo>
                <a:lnTo>
                  <a:pt x="3" y="1"/>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2" name="Freeform 742">
            <a:extLst>
              <a:ext uri="{FF2B5EF4-FFF2-40B4-BE49-F238E27FC236}">
                <a16:creationId xmlns:a16="http://schemas.microsoft.com/office/drawing/2014/main" id="{DDEA1F90-0863-42CA-BDC2-92B238A78A85}"/>
              </a:ext>
            </a:extLst>
          </p:cNvPr>
          <p:cNvSpPr>
            <a:spLocks/>
          </p:cNvSpPr>
          <p:nvPr/>
        </p:nvSpPr>
        <p:spPr bwMode="auto">
          <a:xfrm>
            <a:off x="4768503" y="4436007"/>
            <a:ext cx="654085" cy="274468"/>
          </a:xfrm>
          <a:custGeom>
            <a:avLst/>
            <a:gdLst>
              <a:gd name="T0" fmla="*/ 837896752 w 572"/>
              <a:gd name="T1" fmla="*/ 173329062 h 246"/>
              <a:gd name="T2" fmla="*/ 749778861 w 572"/>
              <a:gd name="T3" fmla="*/ 163032328 h 246"/>
              <a:gd name="T4" fmla="*/ 717313589 w 572"/>
              <a:gd name="T5" fmla="*/ 130426133 h 246"/>
              <a:gd name="T6" fmla="*/ 675574125 w 572"/>
              <a:gd name="T7" fmla="*/ 135574479 h 246"/>
              <a:gd name="T8" fmla="*/ 635379996 w 572"/>
              <a:gd name="T9" fmla="*/ 121845555 h 246"/>
              <a:gd name="T10" fmla="*/ 562720752 w 572"/>
              <a:gd name="T11" fmla="*/ 70362068 h 246"/>
              <a:gd name="T12" fmla="*/ 471510634 w 572"/>
              <a:gd name="T13" fmla="*/ 51483487 h 246"/>
              <a:gd name="T14" fmla="*/ 408126826 w 572"/>
              <a:gd name="T15" fmla="*/ 30890090 h 246"/>
              <a:gd name="T16" fmla="*/ 344743018 w 572"/>
              <a:gd name="T17" fmla="*/ 17161161 h 246"/>
              <a:gd name="T18" fmla="*/ 284452602 w 572"/>
              <a:gd name="T19" fmla="*/ 36038437 h 246"/>
              <a:gd name="T20" fmla="*/ 216431076 w 572"/>
              <a:gd name="T21" fmla="*/ 36038437 h 246"/>
              <a:gd name="T22" fmla="*/ 216431076 w 572"/>
              <a:gd name="T23" fmla="*/ 84090992 h 246"/>
              <a:gd name="T24" fmla="*/ 242711894 w 572"/>
              <a:gd name="T25" fmla="*/ 106400515 h 246"/>
              <a:gd name="T26" fmla="*/ 242711894 w 572"/>
              <a:gd name="T27" fmla="*/ 139006710 h 246"/>
              <a:gd name="T28" fmla="*/ 216431076 w 572"/>
              <a:gd name="T29" fmla="*/ 140722826 h 246"/>
              <a:gd name="T30" fmla="*/ 177782595 w 572"/>
              <a:gd name="T31" fmla="*/ 123561671 h 246"/>
              <a:gd name="T32" fmla="*/ 151501738 w 572"/>
              <a:gd name="T33" fmla="*/ 130426133 h 246"/>
              <a:gd name="T34" fmla="*/ 120583201 w 572"/>
              <a:gd name="T35" fmla="*/ 118413324 h 246"/>
              <a:gd name="T36" fmla="*/ 46378446 w 572"/>
              <a:gd name="T37" fmla="*/ 116697208 h 246"/>
              <a:gd name="T38" fmla="*/ 30918546 w 572"/>
              <a:gd name="T39" fmla="*/ 133858364 h 246"/>
              <a:gd name="T40" fmla="*/ 27826320 w 572"/>
              <a:gd name="T41" fmla="*/ 156167866 h 246"/>
              <a:gd name="T42" fmla="*/ 4637720 w 572"/>
              <a:gd name="T43" fmla="*/ 145871173 h 246"/>
              <a:gd name="T44" fmla="*/ 0 w 572"/>
              <a:gd name="T45" fmla="*/ 192206333 h 246"/>
              <a:gd name="T46" fmla="*/ 12367668 w 572"/>
              <a:gd name="T47" fmla="*/ 224813839 h 246"/>
              <a:gd name="T48" fmla="*/ 40193983 w 572"/>
              <a:gd name="T49" fmla="*/ 223097723 h 246"/>
              <a:gd name="T50" fmla="*/ 66474811 w 572"/>
              <a:gd name="T51" fmla="*/ 269432843 h 246"/>
              <a:gd name="T52" fmla="*/ 160777174 w 572"/>
              <a:gd name="T53" fmla="*/ 252271688 h 246"/>
              <a:gd name="T54" fmla="*/ 153047229 w 572"/>
              <a:gd name="T55" fmla="*/ 302039039 h 246"/>
              <a:gd name="T56" fmla="*/ 105123311 w 572"/>
              <a:gd name="T57" fmla="*/ 327780772 h 246"/>
              <a:gd name="T58" fmla="*/ 157684948 w 572"/>
              <a:gd name="T59" fmla="*/ 375833399 h 246"/>
              <a:gd name="T60" fmla="*/ 194787976 w 572"/>
              <a:gd name="T61" fmla="*/ 380981746 h 246"/>
              <a:gd name="T62" fmla="*/ 222614286 w 572"/>
              <a:gd name="T63" fmla="*/ 387846208 h 246"/>
              <a:gd name="T64" fmla="*/ 222614286 w 572"/>
              <a:gd name="T65" fmla="*/ 293458461 h 246"/>
              <a:gd name="T66" fmla="*/ 259717276 w 572"/>
              <a:gd name="T67" fmla="*/ 264284497 h 246"/>
              <a:gd name="T68" fmla="*/ 272084939 w 572"/>
              <a:gd name="T69" fmla="*/ 252271688 h 246"/>
              <a:gd name="T70" fmla="*/ 290635812 w 572"/>
              <a:gd name="T71" fmla="*/ 260852265 h 246"/>
              <a:gd name="T72" fmla="*/ 299911249 w 572"/>
              <a:gd name="T73" fmla="*/ 267716728 h 246"/>
              <a:gd name="T74" fmla="*/ 323101084 w 572"/>
              <a:gd name="T75" fmla="*/ 307187385 h 246"/>
              <a:gd name="T76" fmla="*/ 343197526 w 572"/>
              <a:gd name="T77" fmla="*/ 332929119 h 246"/>
              <a:gd name="T78" fmla="*/ 394213671 w 572"/>
              <a:gd name="T79" fmla="*/ 332929119 h 246"/>
              <a:gd name="T80" fmla="*/ 414311279 w 572"/>
              <a:gd name="T81" fmla="*/ 398142901 h 246"/>
              <a:gd name="T82" fmla="*/ 435954379 w 572"/>
              <a:gd name="T83" fmla="*/ 420452403 h 246"/>
              <a:gd name="T84" fmla="*/ 486969280 w 572"/>
              <a:gd name="T85" fmla="*/ 410155710 h 246"/>
              <a:gd name="T86" fmla="*/ 547260862 w 572"/>
              <a:gd name="T87" fmla="*/ 410155710 h 246"/>
              <a:gd name="T88" fmla="*/ 544169878 w 572"/>
              <a:gd name="T89" fmla="*/ 382697861 h 246"/>
              <a:gd name="T90" fmla="*/ 554990807 w 572"/>
              <a:gd name="T91" fmla="*/ 368968937 h 246"/>
              <a:gd name="T92" fmla="*/ 592093796 w 572"/>
              <a:gd name="T93" fmla="*/ 374117284 h 246"/>
              <a:gd name="T94" fmla="*/ 644655433 w 572"/>
              <a:gd name="T95" fmla="*/ 360388359 h 246"/>
              <a:gd name="T96" fmla="*/ 732773479 w 572"/>
              <a:gd name="T97" fmla="*/ 379265630 h 246"/>
              <a:gd name="T98" fmla="*/ 732773479 w 572"/>
              <a:gd name="T99" fmla="*/ 319200194 h 246"/>
              <a:gd name="T100" fmla="*/ 799248270 w 572"/>
              <a:gd name="T101" fmla="*/ 252271688 h 246"/>
              <a:gd name="T102" fmla="*/ 861086587 w 572"/>
              <a:gd name="T103" fmla="*/ 216233261 h 24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2"/>
              <a:gd name="T157" fmla="*/ 0 h 246"/>
              <a:gd name="T158" fmla="*/ 572 w 572"/>
              <a:gd name="T159" fmla="*/ 246 h 24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2" h="246">
                <a:moveTo>
                  <a:pt x="557" y="126"/>
                </a:moveTo>
                <a:lnTo>
                  <a:pt x="571" y="121"/>
                </a:lnTo>
                <a:lnTo>
                  <a:pt x="542" y="101"/>
                </a:lnTo>
                <a:lnTo>
                  <a:pt x="524" y="109"/>
                </a:lnTo>
                <a:lnTo>
                  <a:pt x="497" y="102"/>
                </a:lnTo>
                <a:lnTo>
                  <a:pt x="485" y="95"/>
                </a:lnTo>
                <a:lnTo>
                  <a:pt x="474" y="95"/>
                </a:lnTo>
                <a:lnTo>
                  <a:pt x="467" y="84"/>
                </a:lnTo>
                <a:lnTo>
                  <a:pt x="464" y="76"/>
                </a:lnTo>
                <a:lnTo>
                  <a:pt x="454" y="76"/>
                </a:lnTo>
                <a:lnTo>
                  <a:pt x="446" y="76"/>
                </a:lnTo>
                <a:lnTo>
                  <a:pt x="437" y="79"/>
                </a:lnTo>
                <a:lnTo>
                  <a:pt x="424" y="66"/>
                </a:lnTo>
                <a:lnTo>
                  <a:pt x="418" y="68"/>
                </a:lnTo>
                <a:lnTo>
                  <a:pt x="411" y="71"/>
                </a:lnTo>
                <a:lnTo>
                  <a:pt x="404" y="73"/>
                </a:lnTo>
                <a:lnTo>
                  <a:pt x="392" y="63"/>
                </a:lnTo>
                <a:lnTo>
                  <a:pt x="364" y="41"/>
                </a:lnTo>
                <a:lnTo>
                  <a:pt x="342" y="27"/>
                </a:lnTo>
                <a:lnTo>
                  <a:pt x="328" y="15"/>
                </a:lnTo>
                <a:lnTo>
                  <a:pt x="305" y="30"/>
                </a:lnTo>
                <a:lnTo>
                  <a:pt x="301" y="19"/>
                </a:lnTo>
                <a:lnTo>
                  <a:pt x="268" y="18"/>
                </a:lnTo>
                <a:lnTo>
                  <a:pt x="264" y="18"/>
                </a:lnTo>
                <a:lnTo>
                  <a:pt x="249" y="0"/>
                </a:lnTo>
                <a:lnTo>
                  <a:pt x="233" y="2"/>
                </a:lnTo>
                <a:lnTo>
                  <a:pt x="223" y="10"/>
                </a:lnTo>
                <a:lnTo>
                  <a:pt x="202" y="14"/>
                </a:lnTo>
                <a:lnTo>
                  <a:pt x="195" y="10"/>
                </a:lnTo>
                <a:lnTo>
                  <a:pt x="184" y="21"/>
                </a:lnTo>
                <a:lnTo>
                  <a:pt x="176" y="19"/>
                </a:lnTo>
                <a:lnTo>
                  <a:pt x="146" y="22"/>
                </a:lnTo>
                <a:lnTo>
                  <a:pt x="140" y="21"/>
                </a:lnTo>
                <a:lnTo>
                  <a:pt x="136" y="23"/>
                </a:lnTo>
                <a:lnTo>
                  <a:pt x="148" y="36"/>
                </a:lnTo>
                <a:lnTo>
                  <a:pt x="140" y="49"/>
                </a:lnTo>
                <a:lnTo>
                  <a:pt x="141" y="58"/>
                </a:lnTo>
                <a:lnTo>
                  <a:pt x="141" y="62"/>
                </a:lnTo>
                <a:lnTo>
                  <a:pt x="157" y="62"/>
                </a:lnTo>
                <a:lnTo>
                  <a:pt x="162" y="71"/>
                </a:lnTo>
                <a:lnTo>
                  <a:pt x="162" y="79"/>
                </a:lnTo>
                <a:lnTo>
                  <a:pt x="157" y="81"/>
                </a:lnTo>
                <a:lnTo>
                  <a:pt x="151" y="76"/>
                </a:lnTo>
                <a:lnTo>
                  <a:pt x="144" y="79"/>
                </a:lnTo>
                <a:lnTo>
                  <a:pt x="140" y="82"/>
                </a:lnTo>
                <a:lnTo>
                  <a:pt x="129" y="76"/>
                </a:lnTo>
                <a:lnTo>
                  <a:pt x="125" y="69"/>
                </a:lnTo>
                <a:lnTo>
                  <a:pt x="115" y="72"/>
                </a:lnTo>
                <a:lnTo>
                  <a:pt x="115" y="75"/>
                </a:lnTo>
                <a:lnTo>
                  <a:pt x="108" y="69"/>
                </a:lnTo>
                <a:lnTo>
                  <a:pt x="98" y="76"/>
                </a:lnTo>
                <a:lnTo>
                  <a:pt x="86" y="79"/>
                </a:lnTo>
                <a:lnTo>
                  <a:pt x="82" y="76"/>
                </a:lnTo>
                <a:lnTo>
                  <a:pt x="78" y="69"/>
                </a:lnTo>
                <a:lnTo>
                  <a:pt x="63" y="68"/>
                </a:lnTo>
                <a:lnTo>
                  <a:pt x="36" y="66"/>
                </a:lnTo>
                <a:lnTo>
                  <a:pt x="30" y="68"/>
                </a:lnTo>
                <a:lnTo>
                  <a:pt x="28" y="72"/>
                </a:lnTo>
                <a:lnTo>
                  <a:pt x="24" y="71"/>
                </a:lnTo>
                <a:lnTo>
                  <a:pt x="20" y="78"/>
                </a:lnTo>
                <a:lnTo>
                  <a:pt x="16" y="84"/>
                </a:lnTo>
                <a:lnTo>
                  <a:pt x="16" y="86"/>
                </a:lnTo>
                <a:lnTo>
                  <a:pt x="18" y="91"/>
                </a:lnTo>
                <a:lnTo>
                  <a:pt x="14" y="93"/>
                </a:lnTo>
                <a:lnTo>
                  <a:pt x="9" y="84"/>
                </a:lnTo>
                <a:lnTo>
                  <a:pt x="3" y="85"/>
                </a:lnTo>
                <a:lnTo>
                  <a:pt x="0" y="98"/>
                </a:lnTo>
                <a:lnTo>
                  <a:pt x="0" y="105"/>
                </a:lnTo>
                <a:lnTo>
                  <a:pt x="0" y="112"/>
                </a:lnTo>
                <a:lnTo>
                  <a:pt x="4" y="118"/>
                </a:lnTo>
                <a:lnTo>
                  <a:pt x="8" y="123"/>
                </a:lnTo>
                <a:lnTo>
                  <a:pt x="8" y="131"/>
                </a:lnTo>
                <a:lnTo>
                  <a:pt x="14" y="130"/>
                </a:lnTo>
                <a:lnTo>
                  <a:pt x="22" y="124"/>
                </a:lnTo>
                <a:lnTo>
                  <a:pt x="26" y="130"/>
                </a:lnTo>
                <a:lnTo>
                  <a:pt x="32" y="137"/>
                </a:lnTo>
                <a:lnTo>
                  <a:pt x="37" y="144"/>
                </a:lnTo>
                <a:lnTo>
                  <a:pt x="43" y="157"/>
                </a:lnTo>
                <a:lnTo>
                  <a:pt x="55" y="154"/>
                </a:lnTo>
                <a:lnTo>
                  <a:pt x="74" y="150"/>
                </a:lnTo>
                <a:lnTo>
                  <a:pt x="104" y="147"/>
                </a:lnTo>
                <a:lnTo>
                  <a:pt x="111" y="156"/>
                </a:lnTo>
                <a:lnTo>
                  <a:pt x="112" y="172"/>
                </a:lnTo>
                <a:lnTo>
                  <a:pt x="99" y="176"/>
                </a:lnTo>
                <a:lnTo>
                  <a:pt x="86" y="179"/>
                </a:lnTo>
                <a:lnTo>
                  <a:pt x="87" y="191"/>
                </a:lnTo>
                <a:lnTo>
                  <a:pt x="68" y="191"/>
                </a:lnTo>
                <a:lnTo>
                  <a:pt x="86" y="215"/>
                </a:lnTo>
                <a:lnTo>
                  <a:pt x="94" y="217"/>
                </a:lnTo>
                <a:lnTo>
                  <a:pt x="102" y="219"/>
                </a:lnTo>
                <a:lnTo>
                  <a:pt x="106" y="229"/>
                </a:lnTo>
                <a:lnTo>
                  <a:pt x="110" y="225"/>
                </a:lnTo>
                <a:lnTo>
                  <a:pt x="126" y="222"/>
                </a:lnTo>
                <a:lnTo>
                  <a:pt x="134" y="226"/>
                </a:lnTo>
                <a:lnTo>
                  <a:pt x="140" y="231"/>
                </a:lnTo>
                <a:lnTo>
                  <a:pt x="144" y="226"/>
                </a:lnTo>
                <a:lnTo>
                  <a:pt x="155" y="228"/>
                </a:lnTo>
                <a:lnTo>
                  <a:pt x="137" y="174"/>
                </a:lnTo>
                <a:lnTo>
                  <a:pt x="144" y="171"/>
                </a:lnTo>
                <a:lnTo>
                  <a:pt x="167" y="159"/>
                </a:lnTo>
                <a:lnTo>
                  <a:pt x="171" y="158"/>
                </a:lnTo>
                <a:lnTo>
                  <a:pt x="168" y="154"/>
                </a:lnTo>
                <a:lnTo>
                  <a:pt x="173" y="156"/>
                </a:lnTo>
                <a:lnTo>
                  <a:pt x="173" y="150"/>
                </a:lnTo>
                <a:lnTo>
                  <a:pt x="176" y="147"/>
                </a:lnTo>
                <a:lnTo>
                  <a:pt x="178" y="148"/>
                </a:lnTo>
                <a:lnTo>
                  <a:pt x="183" y="148"/>
                </a:lnTo>
                <a:lnTo>
                  <a:pt x="188" y="152"/>
                </a:lnTo>
                <a:lnTo>
                  <a:pt x="195" y="145"/>
                </a:lnTo>
                <a:lnTo>
                  <a:pt x="198" y="147"/>
                </a:lnTo>
                <a:lnTo>
                  <a:pt x="194" y="156"/>
                </a:lnTo>
                <a:lnTo>
                  <a:pt x="197" y="169"/>
                </a:lnTo>
                <a:lnTo>
                  <a:pt x="209" y="176"/>
                </a:lnTo>
                <a:lnTo>
                  <a:pt x="209" y="179"/>
                </a:lnTo>
                <a:lnTo>
                  <a:pt x="205" y="185"/>
                </a:lnTo>
                <a:lnTo>
                  <a:pt x="207" y="188"/>
                </a:lnTo>
                <a:lnTo>
                  <a:pt x="222" y="194"/>
                </a:lnTo>
                <a:lnTo>
                  <a:pt x="226" y="202"/>
                </a:lnTo>
                <a:lnTo>
                  <a:pt x="240" y="197"/>
                </a:lnTo>
                <a:lnTo>
                  <a:pt x="255" y="194"/>
                </a:lnTo>
                <a:lnTo>
                  <a:pt x="268" y="218"/>
                </a:lnTo>
                <a:lnTo>
                  <a:pt x="272" y="229"/>
                </a:lnTo>
                <a:lnTo>
                  <a:pt x="268" y="232"/>
                </a:lnTo>
                <a:lnTo>
                  <a:pt x="266" y="236"/>
                </a:lnTo>
                <a:lnTo>
                  <a:pt x="278" y="240"/>
                </a:lnTo>
                <a:lnTo>
                  <a:pt x="282" y="245"/>
                </a:lnTo>
                <a:lnTo>
                  <a:pt x="298" y="240"/>
                </a:lnTo>
                <a:lnTo>
                  <a:pt x="304" y="245"/>
                </a:lnTo>
                <a:lnTo>
                  <a:pt x="315" y="239"/>
                </a:lnTo>
                <a:lnTo>
                  <a:pt x="323" y="238"/>
                </a:lnTo>
                <a:lnTo>
                  <a:pt x="333" y="239"/>
                </a:lnTo>
                <a:lnTo>
                  <a:pt x="354" y="239"/>
                </a:lnTo>
                <a:lnTo>
                  <a:pt x="349" y="235"/>
                </a:lnTo>
                <a:lnTo>
                  <a:pt x="349" y="228"/>
                </a:lnTo>
                <a:lnTo>
                  <a:pt x="352" y="223"/>
                </a:lnTo>
                <a:lnTo>
                  <a:pt x="352" y="219"/>
                </a:lnTo>
                <a:lnTo>
                  <a:pt x="345" y="216"/>
                </a:lnTo>
                <a:lnTo>
                  <a:pt x="359" y="215"/>
                </a:lnTo>
                <a:lnTo>
                  <a:pt x="371" y="216"/>
                </a:lnTo>
                <a:lnTo>
                  <a:pt x="373" y="219"/>
                </a:lnTo>
                <a:lnTo>
                  <a:pt x="383" y="218"/>
                </a:lnTo>
                <a:lnTo>
                  <a:pt x="376" y="207"/>
                </a:lnTo>
                <a:lnTo>
                  <a:pt x="383" y="206"/>
                </a:lnTo>
                <a:lnTo>
                  <a:pt x="417" y="210"/>
                </a:lnTo>
                <a:lnTo>
                  <a:pt x="444" y="212"/>
                </a:lnTo>
                <a:lnTo>
                  <a:pt x="464" y="221"/>
                </a:lnTo>
                <a:lnTo>
                  <a:pt x="474" y="221"/>
                </a:lnTo>
                <a:lnTo>
                  <a:pt x="478" y="231"/>
                </a:lnTo>
                <a:lnTo>
                  <a:pt x="485" y="210"/>
                </a:lnTo>
                <a:lnTo>
                  <a:pt x="474" y="186"/>
                </a:lnTo>
                <a:lnTo>
                  <a:pt x="508" y="179"/>
                </a:lnTo>
                <a:lnTo>
                  <a:pt x="512" y="166"/>
                </a:lnTo>
                <a:lnTo>
                  <a:pt x="517" y="147"/>
                </a:lnTo>
                <a:lnTo>
                  <a:pt x="552" y="148"/>
                </a:lnTo>
                <a:lnTo>
                  <a:pt x="557" y="12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3" name="Freeform 743">
            <a:extLst>
              <a:ext uri="{FF2B5EF4-FFF2-40B4-BE49-F238E27FC236}">
                <a16:creationId xmlns:a16="http://schemas.microsoft.com/office/drawing/2014/main" id="{D8C37E11-C4BD-4A84-BF63-578417B77BEB}"/>
              </a:ext>
            </a:extLst>
          </p:cNvPr>
          <p:cNvSpPr>
            <a:spLocks/>
          </p:cNvSpPr>
          <p:nvPr/>
        </p:nvSpPr>
        <p:spPr bwMode="auto">
          <a:xfrm>
            <a:off x="4926183" y="4614477"/>
            <a:ext cx="287623" cy="169007"/>
          </a:xfrm>
          <a:custGeom>
            <a:avLst/>
            <a:gdLst>
              <a:gd name="T0" fmla="*/ 37557332 w 250"/>
              <a:gd name="T1" fmla="*/ 114387181 h 153"/>
              <a:gd name="T2" fmla="*/ 43817105 w 250"/>
              <a:gd name="T3" fmla="*/ 95883169 h 153"/>
              <a:gd name="T4" fmla="*/ 53205497 w 250"/>
              <a:gd name="T5" fmla="*/ 87472254 h 153"/>
              <a:gd name="T6" fmla="*/ 70419843 w 250"/>
              <a:gd name="T7" fmla="*/ 90836620 h 153"/>
              <a:gd name="T8" fmla="*/ 89197899 w 250"/>
              <a:gd name="T9" fmla="*/ 97565352 h 153"/>
              <a:gd name="T10" fmla="*/ 93892720 w 250"/>
              <a:gd name="T11" fmla="*/ 102611900 h 153"/>
              <a:gd name="T12" fmla="*/ 106412245 w 250"/>
              <a:gd name="T13" fmla="*/ 114387181 h 153"/>
              <a:gd name="T14" fmla="*/ 115800637 w 250"/>
              <a:gd name="T15" fmla="*/ 144665176 h 153"/>
              <a:gd name="T16" fmla="*/ 129885103 w 250"/>
              <a:gd name="T17" fmla="*/ 141300810 h 153"/>
              <a:gd name="T18" fmla="*/ 151793020 w 250"/>
              <a:gd name="T19" fmla="*/ 144665176 h 153"/>
              <a:gd name="T20" fmla="*/ 183090619 w 250"/>
              <a:gd name="T21" fmla="*/ 178308874 h 153"/>
              <a:gd name="T22" fmla="*/ 215953120 w 250"/>
              <a:gd name="T23" fmla="*/ 198495069 h 153"/>
              <a:gd name="T24" fmla="*/ 247250681 w 250"/>
              <a:gd name="T25" fmla="*/ 220362150 h 153"/>
              <a:gd name="T26" fmla="*/ 259770205 w 250"/>
              <a:gd name="T27" fmla="*/ 255687991 h 153"/>
              <a:gd name="T28" fmla="*/ 278548241 w 250"/>
              <a:gd name="T29" fmla="*/ 227090881 h 153"/>
              <a:gd name="T30" fmla="*/ 281678122 w 250"/>
              <a:gd name="T31" fmla="*/ 201859435 h 153"/>
              <a:gd name="T32" fmla="*/ 269159849 w 250"/>
              <a:gd name="T33" fmla="*/ 163169188 h 153"/>
              <a:gd name="T34" fmla="*/ 295762587 w 250"/>
              <a:gd name="T35" fmla="*/ 154758273 h 153"/>
              <a:gd name="T36" fmla="*/ 328625167 w 250"/>
              <a:gd name="T37" fmla="*/ 163169188 h 153"/>
              <a:gd name="T38" fmla="*/ 381830644 w 250"/>
              <a:gd name="T39" fmla="*/ 158122639 h 153"/>
              <a:gd name="T40" fmla="*/ 381830644 w 250"/>
              <a:gd name="T41" fmla="*/ 136254261 h 153"/>
              <a:gd name="T42" fmla="*/ 317670504 w 250"/>
              <a:gd name="T43" fmla="*/ 136254261 h 153"/>
              <a:gd name="T44" fmla="*/ 286372944 w 250"/>
              <a:gd name="T45" fmla="*/ 132889895 h 153"/>
              <a:gd name="T46" fmla="*/ 258205265 w 250"/>
              <a:gd name="T47" fmla="*/ 144665176 h 153"/>
              <a:gd name="T48" fmla="*/ 239427229 w 250"/>
              <a:gd name="T49" fmla="*/ 141300810 h 153"/>
              <a:gd name="T50" fmla="*/ 223777823 w 250"/>
              <a:gd name="T51" fmla="*/ 142982993 h 153"/>
              <a:gd name="T52" fmla="*/ 204999787 w 250"/>
              <a:gd name="T53" fmla="*/ 132889895 h 153"/>
              <a:gd name="T54" fmla="*/ 204999787 w 250"/>
              <a:gd name="T55" fmla="*/ 124480278 h 153"/>
              <a:gd name="T56" fmla="*/ 201869906 w 250"/>
              <a:gd name="T57" fmla="*/ 95883169 h 153"/>
              <a:gd name="T58" fmla="*/ 140839687 w 250"/>
              <a:gd name="T59" fmla="*/ 72332588 h 153"/>
              <a:gd name="T60" fmla="*/ 109542126 w 250"/>
              <a:gd name="T61" fmla="*/ 50464210 h 153"/>
              <a:gd name="T62" fmla="*/ 70419843 w 250"/>
              <a:gd name="T63" fmla="*/ 60557308 h 153"/>
              <a:gd name="T64" fmla="*/ 45382045 w 250"/>
              <a:gd name="T65" fmla="*/ 26914936 h 153"/>
              <a:gd name="T66" fmla="*/ 46946986 w 250"/>
              <a:gd name="T67" fmla="*/ 0 h 153"/>
              <a:gd name="T68" fmla="*/ 28167689 w 250"/>
              <a:gd name="T69" fmla="*/ 117751546 h 1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0"/>
              <a:gd name="T106" fmla="*/ 0 h 153"/>
              <a:gd name="T107" fmla="*/ 250 w 250"/>
              <a:gd name="T108" fmla="*/ 153 h 1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0" h="153">
                <a:moveTo>
                  <a:pt x="18" y="70"/>
                </a:moveTo>
                <a:lnTo>
                  <a:pt x="24" y="68"/>
                </a:lnTo>
                <a:lnTo>
                  <a:pt x="26" y="62"/>
                </a:lnTo>
                <a:lnTo>
                  <a:pt x="28" y="57"/>
                </a:lnTo>
                <a:lnTo>
                  <a:pt x="36" y="60"/>
                </a:lnTo>
                <a:lnTo>
                  <a:pt x="34" y="52"/>
                </a:lnTo>
                <a:lnTo>
                  <a:pt x="41" y="49"/>
                </a:lnTo>
                <a:lnTo>
                  <a:pt x="45" y="54"/>
                </a:lnTo>
                <a:lnTo>
                  <a:pt x="51" y="54"/>
                </a:lnTo>
                <a:lnTo>
                  <a:pt x="57" y="58"/>
                </a:lnTo>
                <a:lnTo>
                  <a:pt x="60" y="60"/>
                </a:lnTo>
                <a:lnTo>
                  <a:pt x="60" y="61"/>
                </a:lnTo>
                <a:lnTo>
                  <a:pt x="61" y="66"/>
                </a:lnTo>
                <a:lnTo>
                  <a:pt x="68" y="68"/>
                </a:lnTo>
                <a:lnTo>
                  <a:pt x="68" y="75"/>
                </a:lnTo>
                <a:lnTo>
                  <a:pt x="74" y="86"/>
                </a:lnTo>
                <a:lnTo>
                  <a:pt x="81" y="87"/>
                </a:lnTo>
                <a:lnTo>
                  <a:pt x="83" y="84"/>
                </a:lnTo>
                <a:lnTo>
                  <a:pt x="91" y="80"/>
                </a:lnTo>
                <a:lnTo>
                  <a:pt x="97" y="86"/>
                </a:lnTo>
                <a:lnTo>
                  <a:pt x="105" y="94"/>
                </a:lnTo>
                <a:lnTo>
                  <a:pt x="117" y="106"/>
                </a:lnTo>
                <a:lnTo>
                  <a:pt x="137" y="111"/>
                </a:lnTo>
                <a:lnTo>
                  <a:pt x="138" y="118"/>
                </a:lnTo>
                <a:lnTo>
                  <a:pt x="151" y="124"/>
                </a:lnTo>
                <a:lnTo>
                  <a:pt x="158" y="131"/>
                </a:lnTo>
                <a:lnTo>
                  <a:pt x="153" y="152"/>
                </a:lnTo>
                <a:lnTo>
                  <a:pt x="166" y="152"/>
                </a:lnTo>
                <a:lnTo>
                  <a:pt x="173" y="141"/>
                </a:lnTo>
                <a:lnTo>
                  <a:pt x="178" y="135"/>
                </a:lnTo>
                <a:lnTo>
                  <a:pt x="182" y="130"/>
                </a:lnTo>
                <a:lnTo>
                  <a:pt x="180" y="120"/>
                </a:lnTo>
                <a:lnTo>
                  <a:pt x="170" y="116"/>
                </a:lnTo>
                <a:lnTo>
                  <a:pt x="172" y="97"/>
                </a:lnTo>
                <a:lnTo>
                  <a:pt x="181" y="90"/>
                </a:lnTo>
                <a:lnTo>
                  <a:pt x="189" y="92"/>
                </a:lnTo>
                <a:lnTo>
                  <a:pt x="207" y="89"/>
                </a:lnTo>
                <a:lnTo>
                  <a:pt x="210" y="97"/>
                </a:lnTo>
                <a:lnTo>
                  <a:pt x="221" y="96"/>
                </a:lnTo>
                <a:lnTo>
                  <a:pt x="244" y="94"/>
                </a:lnTo>
                <a:lnTo>
                  <a:pt x="249" y="86"/>
                </a:lnTo>
                <a:lnTo>
                  <a:pt x="244" y="81"/>
                </a:lnTo>
                <a:lnTo>
                  <a:pt x="229" y="81"/>
                </a:lnTo>
                <a:lnTo>
                  <a:pt x="203" y="81"/>
                </a:lnTo>
                <a:lnTo>
                  <a:pt x="193" y="81"/>
                </a:lnTo>
                <a:lnTo>
                  <a:pt x="183" y="79"/>
                </a:lnTo>
                <a:lnTo>
                  <a:pt x="167" y="87"/>
                </a:lnTo>
                <a:lnTo>
                  <a:pt x="165" y="86"/>
                </a:lnTo>
                <a:lnTo>
                  <a:pt x="161" y="82"/>
                </a:lnTo>
                <a:lnTo>
                  <a:pt x="153" y="84"/>
                </a:lnTo>
                <a:lnTo>
                  <a:pt x="145" y="87"/>
                </a:lnTo>
                <a:lnTo>
                  <a:pt x="143" y="85"/>
                </a:lnTo>
                <a:lnTo>
                  <a:pt x="141" y="82"/>
                </a:lnTo>
                <a:lnTo>
                  <a:pt x="131" y="79"/>
                </a:lnTo>
                <a:lnTo>
                  <a:pt x="129" y="78"/>
                </a:lnTo>
                <a:lnTo>
                  <a:pt x="131" y="74"/>
                </a:lnTo>
                <a:lnTo>
                  <a:pt x="136" y="71"/>
                </a:lnTo>
                <a:lnTo>
                  <a:pt x="129" y="57"/>
                </a:lnTo>
                <a:lnTo>
                  <a:pt x="118" y="36"/>
                </a:lnTo>
                <a:lnTo>
                  <a:pt x="90" y="43"/>
                </a:lnTo>
                <a:lnTo>
                  <a:pt x="83" y="36"/>
                </a:lnTo>
                <a:lnTo>
                  <a:pt x="70" y="30"/>
                </a:lnTo>
                <a:lnTo>
                  <a:pt x="58" y="39"/>
                </a:lnTo>
                <a:lnTo>
                  <a:pt x="45" y="36"/>
                </a:lnTo>
                <a:lnTo>
                  <a:pt x="32" y="27"/>
                </a:lnTo>
                <a:lnTo>
                  <a:pt x="29" y="16"/>
                </a:lnTo>
                <a:lnTo>
                  <a:pt x="31" y="8"/>
                </a:lnTo>
                <a:lnTo>
                  <a:pt x="30" y="0"/>
                </a:lnTo>
                <a:lnTo>
                  <a:pt x="0" y="16"/>
                </a:lnTo>
                <a:lnTo>
                  <a:pt x="18" y="7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4" name="Freeform 744">
            <a:extLst>
              <a:ext uri="{FF2B5EF4-FFF2-40B4-BE49-F238E27FC236}">
                <a16:creationId xmlns:a16="http://schemas.microsoft.com/office/drawing/2014/main" id="{C375A887-D5E3-4F99-9950-A79EB6CA9A6B}"/>
              </a:ext>
            </a:extLst>
          </p:cNvPr>
          <p:cNvSpPr>
            <a:spLocks/>
          </p:cNvSpPr>
          <p:nvPr/>
        </p:nvSpPr>
        <p:spPr bwMode="auto">
          <a:xfrm>
            <a:off x="4886764" y="4667208"/>
            <a:ext cx="220462" cy="150078"/>
          </a:xfrm>
          <a:custGeom>
            <a:avLst/>
            <a:gdLst>
              <a:gd name="T0" fmla="*/ 0 w 191"/>
              <a:gd name="T1" fmla="*/ 32855643 h 134"/>
              <a:gd name="T2" fmla="*/ 1575071 w 191"/>
              <a:gd name="T3" fmla="*/ 63983358 h 134"/>
              <a:gd name="T4" fmla="*/ 17325780 w 191"/>
              <a:gd name="T5" fmla="*/ 44960360 h 134"/>
              <a:gd name="T6" fmla="*/ 39378027 w 191"/>
              <a:gd name="T7" fmla="*/ 69171089 h 134"/>
              <a:gd name="T8" fmla="*/ 29927604 w 191"/>
              <a:gd name="T9" fmla="*/ 83005040 h 134"/>
              <a:gd name="T10" fmla="*/ 3150142 w 191"/>
              <a:gd name="T11" fmla="*/ 69171089 h 134"/>
              <a:gd name="T12" fmla="*/ 0 w 191"/>
              <a:gd name="T13" fmla="*/ 89922036 h 134"/>
              <a:gd name="T14" fmla="*/ 3150142 w 191"/>
              <a:gd name="T15" fmla="*/ 102026743 h 134"/>
              <a:gd name="T16" fmla="*/ 17325780 w 191"/>
              <a:gd name="T17" fmla="*/ 103755986 h 134"/>
              <a:gd name="T18" fmla="*/ 11025498 w 191"/>
              <a:gd name="T19" fmla="*/ 117589937 h 134"/>
              <a:gd name="T20" fmla="*/ 23627322 w 191"/>
              <a:gd name="T21" fmla="*/ 126236156 h 134"/>
              <a:gd name="T22" fmla="*/ 23627322 w 191"/>
              <a:gd name="T23" fmla="*/ 167738009 h 134"/>
              <a:gd name="T24" fmla="*/ 64580420 w 191"/>
              <a:gd name="T25" fmla="*/ 155633302 h 134"/>
              <a:gd name="T26" fmla="*/ 88206497 w 191"/>
              <a:gd name="T27" fmla="*/ 143528595 h 134"/>
              <a:gd name="T28" fmla="*/ 141760149 w 191"/>
              <a:gd name="T29" fmla="*/ 171196496 h 134"/>
              <a:gd name="T30" fmla="*/ 173262853 w 191"/>
              <a:gd name="T31" fmla="*/ 186761047 h 134"/>
              <a:gd name="T32" fmla="*/ 181138205 w 191"/>
              <a:gd name="T33" fmla="*/ 195407266 h 134"/>
              <a:gd name="T34" fmla="*/ 184288346 w 191"/>
              <a:gd name="T35" fmla="*/ 214428948 h 134"/>
              <a:gd name="T36" fmla="*/ 215791011 w 191"/>
              <a:gd name="T37" fmla="*/ 229992143 h 134"/>
              <a:gd name="T38" fmla="*/ 261469310 w 191"/>
              <a:gd name="T39" fmla="*/ 174655025 h 134"/>
              <a:gd name="T40" fmla="*/ 291396905 w 191"/>
              <a:gd name="T41" fmla="*/ 174655025 h 134"/>
              <a:gd name="T42" fmla="*/ 296122116 w 191"/>
              <a:gd name="T43" fmla="*/ 152174814 h 134"/>
              <a:gd name="T44" fmla="*/ 299272257 w 191"/>
              <a:gd name="T45" fmla="*/ 141799351 h 134"/>
              <a:gd name="T46" fmla="*/ 289821834 w 191"/>
              <a:gd name="T47" fmla="*/ 127965400 h 134"/>
              <a:gd name="T48" fmla="*/ 267769592 w 191"/>
              <a:gd name="T49" fmla="*/ 119319181 h 134"/>
              <a:gd name="T50" fmla="*/ 266194522 w 191"/>
              <a:gd name="T51" fmla="*/ 107214474 h 134"/>
              <a:gd name="T52" fmla="*/ 234691857 w 191"/>
              <a:gd name="T53" fmla="*/ 98568255 h 134"/>
              <a:gd name="T54" fmla="*/ 215791011 w 191"/>
              <a:gd name="T55" fmla="*/ 77817308 h 134"/>
              <a:gd name="T56" fmla="*/ 207915658 w 191"/>
              <a:gd name="T57" fmla="*/ 65712601 h 134"/>
              <a:gd name="T58" fmla="*/ 193738769 w 191"/>
              <a:gd name="T59" fmla="*/ 53606580 h 134"/>
              <a:gd name="T60" fmla="*/ 184288346 w 191"/>
              <a:gd name="T61" fmla="*/ 60524870 h 134"/>
              <a:gd name="T62" fmla="*/ 177988064 w 191"/>
              <a:gd name="T63" fmla="*/ 65712601 h 134"/>
              <a:gd name="T64" fmla="*/ 166962571 w 191"/>
              <a:gd name="T65" fmla="*/ 63983358 h 134"/>
              <a:gd name="T66" fmla="*/ 157512109 w 191"/>
              <a:gd name="T67" fmla="*/ 44960360 h 134"/>
              <a:gd name="T68" fmla="*/ 157512109 w 191"/>
              <a:gd name="T69" fmla="*/ 32855643 h 134"/>
              <a:gd name="T70" fmla="*/ 146485360 w 191"/>
              <a:gd name="T71" fmla="*/ 29397156 h 134"/>
              <a:gd name="T72" fmla="*/ 143335219 w 191"/>
              <a:gd name="T73" fmla="*/ 19021687 h 134"/>
              <a:gd name="T74" fmla="*/ 130734655 w 191"/>
              <a:gd name="T75" fmla="*/ 8646222 h 134"/>
              <a:gd name="T76" fmla="*/ 121284232 w 191"/>
              <a:gd name="T77" fmla="*/ 8646222 h 134"/>
              <a:gd name="T78" fmla="*/ 114983950 w 191"/>
              <a:gd name="T79" fmla="*/ 0 h 134"/>
              <a:gd name="T80" fmla="*/ 103957202 w 191"/>
              <a:gd name="T81" fmla="*/ 5187733 h 134"/>
              <a:gd name="T82" fmla="*/ 107108598 w 191"/>
              <a:gd name="T83" fmla="*/ 19021687 h 134"/>
              <a:gd name="T84" fmla="*/ 102382131 w 191"/>
              <a:gd name="T85" fmla="*/ 15563200 h 134"/>
              <a:gd name="T86" fmla="*/ 94506779 w 191"/>
              <a:gd name="T87" fmla="*/ 13833956 h 134"/>
              <a:gd name="T88" fmla="*/ 88206497 w 191"/>
              <a:gd name="T89" fmla="*/ 32855643 h 134"/>
              <a:gd name="T90" fmla="*/ 75605913 w 191"/>
              <a:gd name="T91" fmla="*/ 36314131 h 134"/>
              <a:gd name="T92" fmla="*/ 64580420 w 191"/>
              <a:gd name="T93" fmla="*/ 32855643 h 134"/>
              <a:gd name="T94" fmla="*/ 55128742 w 191"/>
              <a:gd name="T95" fmla="*/ 41501862 h 134"/>
              <a:gd name="T96" fmla="*/ 45678319 w 191"/>
              <a:gd name="T97" fmla="*/ 32855643 h 134"/>
              <a:gd name="T98" fmla="*/ 31502675 w 191"/>
              <a:gd name="T99" fmla="*/ 24209424 h 134"/>
              <a:gd name="T100" fmla="*/ 0 w 191"/>
              <a:gd name="T101" fmla="*/ 32855643 h 134"/>
              <a:gd name="T102" fmla="*/ 0 w 191"/>
              <a:gd name="T103" fmla="*/ 32855643 h 1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1"/>
              <a:gd name="T157" fmla="*/ 0 h 134"/>
              <a:gd name="T158" fmla="*/ 191 w 191"/>
              <a:gd name="T159" fmla="*/ 134 h 13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1" h="134">
                <a:moveTo>
                  <a:pt x="0" y="19"/>
                </a:moveTo>
                <a:lnTo>
                  <a:pt x="1" y="37"/>
                </a:lnTo>
                <a:lnTo>
                  <a:pt x="11" y="26"/>
                </a:lnTo>
                <a:lnTo>
                  <a:pt x="25" y="40"/>
                </a:lnTo>
                <a:lnTo>
                  <a:pt x="19" y="48"/>
                </a:lnTo>
                <a:lnTo>
                  <a:pt x="2" y="40"/>
                </a:lnTo>
                <a:lnTo>
                  <a:pt x="0" y="52"/>
                </a:lnTo>
                <a:lnTo>
                  <a:pt x="2" y="59"/>
                </a:lnTo>
                <a:lnTo>
                  <a:pt x="11" y="60"/>
                </a:lnTo>
                <a:lnTo>
                  <a:pt x="7" y="68"/>
                </a:lnTo>
                <a:lnTo>
                  <a:pt x="15" y="73"/>
                </a:lnTo>
                <a:lnTo>
                  <a:pt x="15" y="97"/>
                </a:lnTo>
                <a:lnTo>
                  <a:pt x="41" y="90"/>
                </a:lnTo>
                <a:lnTo>
                  <a:pt x="56" y="83"/>
                </a:lnTo>
                <a:lnTo>
                  <a:pt x="90" y="99"/>
                </a:lnTo>
                <a:lnTo>
                  <a:pt x="110" y="108"/>
                </a:lnTo>
                <a:lnTo>
                  <a:pt x="115" y="113"/>
                </a:lnTo>
                <a:lnTo>
                  <a:pt x="117" y="124"/>
                </a:lnTo>
                <a:lnTo>
                  <a:pt x="137" y="133"/>
                </a:lnTo>
                <a:lnTo>
                  <a:pt x="166" y="101"/>
                </a:lnTo>
                <a:lnTo>
                  <a:pt x="185" y="101"/>
                </a:lnTo>
                <a:lnTo>
                  <a:pt x="188" y="88"/>
                </a:lnTo>
                <a:lnTo>
                  <a:pt x="190" y="82"/>
                </a:lnTo>
                <a:lnTo>
                  <a:pt x="184" y="74"/>
                </a:lnTo>
                <a:lnTo>
                  <a:pt x="170" y="69"/>
                </a:lnTo>
                <a:lnTo>
                  <a:pt x="169" y="62"/>
                </a:lnTo>
                <a:lnTo>
                  <a:pt x="149" y="57"/>
                </a:lnTo>
                <a:lnTo>
                  <a:pt x="137" y="45"/>
                </a:lnTo>
                <a:lnTo>
                  <a:pt x="132" y="38"/>
                </a:lnTo>
                <a:lnTo>
                  <a:pt x="123" y="31"/>
                </a:lnTo>
                <a:lnTo>
                  <a:pt x="117" y="35"/>
                </a:lnTo>
                <a:lnTo>
                  <a:pt x="113" y="38"/>
                </a:lnTo>
                <a:lnTo>
                  <a:pt x="106" y="37"/>
                </a:lnTo>
                <a:lnTo>
                  <a:pt x="100" y="26"/>
                </a:lnTo>
                <a:lnTo>
                  <a:pt x="100" y="19"/>
                </a:lnTo>
                <a:lnTo>
                  <a:pt x="93" y="17"/>
                </a:lnTo>
                <a:lnTo>
                  <a:pt x="91" y="11"/>
                </a:lnTo>
                <a:lnTo>
                  <a:pt x="83" y="5"/>
                </a:lnTo>
                <a:lnTo>
                  <a:pt x="77" y="5"/>
                </a:lnTo>
                <a:lnTo>
                  <a:pt x="73" y="0"/>
                </a:lnTo>
                <a:lnTo>
                  <a:pt x="66" y="3"/>
                </a:lnTo>
                <a:lnTo>
                  <a:pt x="68" y="11"/>
                </a:lnTo>
                <a:lnTo>
                  <a:pt x="65" y="9"/>
                </a:lnTo>
                <a:lnTo>
                  <a:pt x="60" y="8"/>
                </a:lnTo>
                <a:lnTo>
                  <a:pt x="56" y="19"/>
                </a:lnTo>
                <a:lnTo>
                  <a:pt x="48" y="21"/>
                </a:lnTo>
                <a:lnTo>
                  <a:pt x="41" y="19"/>
                </a:lnTo>
                <a:lnTo>
                  <a:pt x="35" y="24"/>
                </a:lnTo>
                <a:lnTo>
                  <a:pt x="29" y="19"/>
                </a:lnTo>
                <a:lnTo>
                  <a:pt x="20" y="14"/>
                </a:lnTo>
                <a:lnTo>
                  <a:pt x="0" y="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5" name="Freeform 745">
            <a:extLst>
              <a:ext uri="{FF2B5EF4-FFF2-40B4-BE49-F238E27FC236}">
                <a16:creationId xmlns:a16="http://schemas.microsoft.com/office/drawing/2014/main" id="{D68A8DB0-4D69-4C87-A962-C8F9E969D524}"/>
              </a:ext>
            </a:extLst>
          </p:cNvPr>
          <p:cNvSpPr>
            <a:spLocks/>
          </p:cNvSpPr>
          <p:nvPr/>
        </p:nvSpPr>
        <p:spPr bwMode="auto">
          <a:xfrm>
            <a:off x="5134965" y="4665855"/>
            <a:ext cx="181042" cy="77068"/>
          </a:xfrm>
          <a:custGeom>
            <a:avLst/>
            <a:gdLst>
              <a:gd name="T0" fmla="*/ 62060649 w 160"/>
              <a:gd name="T1" fmla="*/ 82551268 h 69"/>
              <a:gd name="T2" fmla="*/ 43896322 w 160"/>
              <a:gd name="T3" fmla="*/ 82551268 h 69"/>
              <a:gd name="T4" fmla="*/ 9082166 w 160"/>
              <a:gd name="T5" fmla="*/ 87710414 h 69"/>
              <a:gd name="T6" fmla="*/ 0 w 160"/>
              <a:gd name="T7" fmla="*/ 99749247 h 69"/>
              <a:gd name="T8" fmla="*/ 9082166 w 160"/>
              <a:gd name="T9" fmla="*/ 104909684 h 69"/>
              <a:gd name="T10" fmla="*/ 16649818 w 160"/>
              <a:gd name="T11" fmla="*/ 110068809 h 69"/>
              <a:gd name="T12" fmla="*/ 65087217 w 160"/>
              <a:gd name="T13" fmla="*/ 108348226 h 69"/>
              <a:gd name="T14" fmla="*/ 96874808 w 160"/>
              <a:gd name="T15" fmla="*/ 108348226 h 69"/>
              <a:gd name="T16" fmla="*/ 112011337 w 160"/>
              <a:gd name="T17" fmla="*/ 116948516 h 69"/>
              <a:gd name="T18" fmla="*/ 116552418 w 160"/>
              <a:gd name="T19" fmla="*/ 101469830 h 69"/>
              <a:gd name="T20" fmla="*/ 130175663 w 160"/>
              <a:gd name="T21" fmla="*/ 99749247 h 69"/>
              <a:gd name="T22" fmla="*/ 149853274 w 160"/>
              <a:gd name="T23" fmla="*/ 94590122 h 69"/>
              <a:gd name="T24" fmla="*/ 166503125 w 160"/>
              <a:gd name="T25" fmla="*/ 91150268 h 69"/>
              <a:gd name="T26" fmla="*/ 196777413 w 160"/>
              <a:gd name="T27" fmla="*/ 72233018 h 69"/>
              <a:gd name="T28" fmla="*/ 230078269 w 160"/>
              <a:gd name="T29" fmla="*/ 53314477 h 69"/>
              <a:gd name="T30" fmla="*/ 240673716 w 160"/>
              <a:gd name="T31" fmla="*/ 42996227 h 69"/>
              <a:gd name="T32" fmla="*/ 236132635 w 160"/>
              <a:gd name="T33" fmla="*/ 25796947 h 69"/>
              <a:gd name="T34" fmla="*/ 220996106 w 160"/>
              <a:gd name="T35" fmla="*/ 25796947 h 69"/>
              <a:gd name="T36" fmla="*/ 205859577 w 160"/>
              <a:gd name="T37" fmla="*/ 17197963 h 69"/>
              <a:gd name="T38" fmla="*/ 189208534 w 160"/>
              <a:gd name="T39" fmla="*/ 10319564 h 69"/>
              <a:gd name="T40" fmla="*/ 149853274 w 160"/>
              <a:gd name="T41" fmla="*/ 6879710 h 69"/>
              <a:gd name="T42" fmla="*/ 98388092 w 160"/>
              <a:gd name="T43" fmla="*/ 0 h 69"/>
              <a:gd name="T44" fmla="*/ 89305928 w 160"/>
              <a:gd name="T45" fmla="*/ 1719272 h 69"/>
              <a:gd name="T46" fmla="*/ 92333726 w 160"/>
              <a:gd name="T47" fmla="*/ 10319564 h 69"/>
              <a:gd name="T48" fmla="*/ 98388092 w 160"/>
              <a:gd name="T49" fmla="*/ 20637817 h 69"/>
              <a:gd name="T50" fmla="*/ 83251563 w 160"/>
              <a:gd name="T51" fmla="*/ 22357093 h 69"/>
              <a:gd name="T52" fmla="*/ 80224976 w 160"/>
              <a:gd name="T53" fmla="*/ 17197963 h 69"/>
              <a:gd name="T54" fmla="*/ 63573933 w 160"/>
              <a:gd name="T55" fmla="*/ 15478692 h 69"/>
              <a:gd name="T56" fmla="*/ 40868524 w 160"/>
              <a:gd name="T57" fmla="*/ 17197963 h 69"/>
              <a:gd name="T58" fmla="*/ 51465202 w 160"/>
              <a:gd name="T59" fmla="*/ 22357093 h 69"/>
              <a:gd name="T60" fmla="*/ 52978486 w 160"/>
              <a:gd name="T61" fmla="*/ 29236801 h 69"/>
              <a:gd name="T62" fmla="*/ 46924120 w 160"/>
              <a:gd name="T63" fmla="*/ 37835780 h 69"/>
              <a:gd name="T64" fmla="*/ 46924120 w 160"/>
              <a:gd name="T65" fmla="*/ 49874623 h 69"/>
              <a:gd name="T66" fmla="*/ 54491769 w 160"/>
              <a:gd name="T67" fmla="*/ 56754331 h 69"/>
              <a:gd name="T68" fmla="*/ 83251563 w 160"/>
              <a:gd name="T69" fmla="*/ 56754331 h 69"/>
              <a:gd name="T70" fmla="*/ 93847010 w 160"/>
              <a:gd name="T71" fmla="*/ 56754331 h 69"/>
              <a:gd name="T72" fmla="*/ 102929173 w 160"/>
              <a:gd name="T73" fmla="*/ 67072582 h 69"/>
              <a:gd name="T74" fmla="*/ 93847010 w 160"/>
              <a:gd name="T75" fmla="*/ 80831997 h 69"/>
              <a:gd name="T76" fmla="*/ 83251563 w 160"/>
              <a:gd name="T77" fmla="*/ 80831997 h 69"/>
              <a:gd name="T78" fmla="*/ 72656096 w 160"/>
              <a:gd name="T79" fmla="*/ 79111414 h 69"/>
              <a:gd name="T80" fmla="*/ 68115014 w 160"/>
              <a:gd name="T81" fmla="*/ 80831997 h 69"/>
              <a:gd name="T82" fmla="*/ 62060649 w 160"/>
              <a:gd name="T83" fmla="*/ 82551268 h 69"/>
              <a:gd name="T84" fmla="*/ 62060649 w 160"/>
              <a:gd name="T85" fmla="*/ 82551268 h 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0"/>
              <a:gd name="T130" fmla="*/ 0 h 69"/>
              <a:gd name="T131" fmla="*/ 160 w 160"/>
              <a:gd name="T132" fmla="*/ 69 h 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0" h="69">
                <a:moveTo>
                  <a:pt x="41" y="48"/>
                </a:moveTo>
                <a:lnTo>
                  <a:pt x="29" y="48"/>
                </a:lnTo>
                <a:lnTo>
                  <a:pt x="6" y="51"/>
                </a:lnTo>
                <a:lnTo>
                  <a:pt x="0" y="58"/>
                </a:lnTo>
                <a:lnTo>
                  <a:pt x="6" y="61"/>
                </a:lnTo>
                <a:lnTo>
                  <a:pt x="11" y="64"/>
                </a:lnTo>
                <a:lnTo>
                  <a:pt x="43" y="63"/>
                </a:lnTo>
                <a:lnTo>
                  <a:pt x="64" y="63"/>
                </a:lnTo>
                <a:lnTo>
                  <a:pt x="74" y="68"/>
                </a:lnTo>
                <a:lnTo>
                  <a:pt x="77" y="59"/>
                </a:lnTo>
                <a:lnTo>
                  <a:pt x="86" y="58"/>
                </a:lnTo>
                <a:lnTo>
                  <a:pt x="99" y="55"/>
                </a:lnTo>
                <a:lnTo>
                  <a:pt x="110" y="53"/>
                </a:lnTo>
                <a:lnTo>
                  <a:pt x="130" y="42"/>
                </a:lnTo>
                <a:lnTo>
                  <a:pt x="152" y="31"/>
                </a:lnTo>
                <a:lnTo>
                  <a:pt x="159" y="25"/>
                </a:lnTo>
                <a:lnTo>
                  <a:pt x="156" y="15"/>
                </a:lnTo>
                <a:lnTo>
                  <a:pt x="146" y="15"/>
                </a:lnTo>
                <a:lnTo>
                  <a:pt x="136" y="10"/>
                </a:lnTo>
                <a:lnTo>
                  <a:pt x="125" y="6"/>
                </a:lnTo>
                <a:lnTo>
                  <a:pt x="99" y="4"/>
                </a:lnTo>
                <a:lnTo>
                  <a:pt x="65" y="0"/>
                </a:lnTo>
                <a:lnTo>
                  <a:pt x="59" y="1"/>
                </a:lnTo>
                <a:lnTo>
                  <a:pt x="61" y="6"/>
                </a:lnTo>
                <a:lnTo>
                  <a:pt x="65" y="12"/>
                </a:lnTo>
                <a:lnTo>
                  <a:pt x="55" y="13"/>
                </a:lnTo>
                <a:lnTo>
                  <a:pt x="53" y="10"/>
                </a:lnTo>
                <a:lnTo>
                  <a:pt x="42" y="9"/>
                </a:lnTo>
                <a:lnTo>
                  <a:pt x="27" y="10"/>
                </a:lnTo>
                <a:lnTo>
                  <a:pt x="34" y="13"/>
                </a:lnTo>
                <a:lnTo>
                  <a:pt x="35" y="17"/>
                </a:lnTo>
                <a:lnTo>
                  <a:pt x="31" y="22"/>
                </a:lnTo>
                <a:lnTo>
                  <a:pt x="31" y="29"/>
                </a:lnTo>
                <a:lnTo>
                  <a:pt x="36" y="33"/>
                </a:lnTo>
                <a:lnTo>
                  <a:pt x="55" y="33"/>
                </a:lnTo>
                <a:lnTo>
                  <a:pt x="62" y="33"/>
                </a:lnTo>
                <a:lnTo>
                  <a:pt x="68" y="39"/>
                </a:lnTo>
                <a:lnTo>
                  <a:pt x="62" y="47"/>
                </a:lnTo>
                <a:lnTo>
                  <a:pt x="55" y="47"/>
                </a:lnTo>
                <a:lnTo>
                  <a:pt x="48" y="46"/>
                </a:lnTo>
                <a:lnTo>
                  <a:pt x="45" y="47"/>
                </a:lnTo>
                <a:lnTo>
                  <a:pt x="41" y="4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6" name="Freeform 746">
            <a:extLst>
              <a:ext uri="{FF2B5EF4-FFF2-40B4-BE49-F238E27FC236}">
                <a16:creationId xmlns:a16="http://schemas.microsoft.com/office/drawing/2014/main" id="{B027E49D-713A-4007-8722-5D14C2C7EACA}"/>
              </a:ext>
            </a:extLst>
          </p:cNvPr>
          <p:cNvSpPr>
            <a:spLocks/>
          </p:cNvSpPr>
          <p:nvPr/>
        </p:nvSpPr>
        <p:spPr bwMode="auto">
          <a:xfrm>
            <a:off x="5117445" y="4713178"/>
            <a:ext cx="116801" cy="79771"/>
          </a:xfrm>
          <a:custGeom>
            <a:avLst/>
            <a:gdLst>
              <a:gd name="T0" fmla="*/ 0 w 102"/>
              <a:gd name="T1" fmla="*/ 102674656 h 71"/>
              <a:gd name="T2" fmla="*/ 1550147 w 102"/>
              <a:gd name="T3" fmla="*/ 107894661 h 71"/>
              <a:gd name="T4" fmla="*/ 12402423 w 102"/>
              <a:gd name="T5" fmla="*/ 109635982 h 71"/>
              <a:gd name="T6" fmla="*/ 40307556 w 102"/>
              <a:gd name="T7" fmla="*/ 111375984 h 71"/>
              <a:gd name="T8" fmla="*/ 72863135 w 102"/>
              <a:gd name="T9" fmla="*/ 73090648 h 71"/>
              <a:gd name="T10" fmla="*/ 82164034 w 102"/>
              <a:gd name="T11" fmla="*/ 97453332 h 71"/>
              <a:gd name="T12" fmla="*/ 91466159 w 102"/>
              <a:gd name="T13" fmla="*/ 121817314 h 71"/>
              <a:gd name="T14" fmla="*/ 111619309 w 102"/>
              <a:gd name="T15" fmla="*/ 111375984 h 71"/>
              <a:gd name="T16" fmla="*/ 133322607 w 102"/>
              <a:gd name="T17" fmla="*/ 102674656 h 71"/>
              <a:gd name="T18" fmla="*/ 155027149 w 102"/>
              <a:gd name="T19" fmla="*/ 109635982 h 71"/>
              <a:gd name="T20" fmla="*/ 156577296 w 102"/>
              <a:gd name="T21" fmla="*/ 73090648 h 71"/>
              <a:gd name="T22" fmla="*/ 141074585 w 102"/>
              <a:gd name="T23" fmla="*/ 66129322 h 71"/>
              <a:gd name="T24" fmla="*/ 131772460 w 102"/>
              <a:gd name="T25" fmla="*/ 67869323 h 71"/>
              <a:gd name="T26" fmla="*/ 137974292 w 102"/>
              <a:gd name="T27" fmla="*/ 45246662 h 71"/>
              <a:gd name="T28" fmla="*/ 119371288 w 102"/>
              <a:gd name="T29" fmla="*/ 40025327 h 71"/>
              <a:gd name="T30" fmla="*/ 103868576 w 102"/>
              <a:gd name="T31" fmla="*/ 38285326 h 71"/>
              <a:gd name="T32" fmla="*/ 82164034 w 102"/>
              <a:gd name="T33" fmla="*/ 38285326 h 71"/>
              <a:gd name="T34" fmla="*/ 65111157 w 102"/>
              <a:gd name="T35" fmla="*/ 38285326 h 71"/>
              <a:gd name="T36" fmla="*/ 43407859 w 102"/>
              <a:gd name="T37" fmla="*/ 38285326 h 71"/>
              <a:gd name="T38" fmla="*/ 26354992 w 102"/>
              <a:gd name="T39" fmla="*/ 34805322 h 71"/>
              <a:gd name="T40" fmla="*/ 23253454 w 102"/>
              <a:gd name="T41" fmla="*/ 31324000 h 71"/>
              <a:gd name="T42" fmla="*/ 26354992 w 102"/>
              <a:gd name="T43" fmla="*/ 22622672 h 71"/>
              <a:gd name="T44" fmla="*/ 34105725 w 102"/>
              <a:gd name="T45" fmla="*/ 17402661 h 71"/>
              <a:gd name="T46" fmla="*/ 63561010 w 102"/>
              <a:gd name="T47" fmla="*/ 10441332 h 71"/>
              <a:gd name="T48" fmla="*/ 62010864 w 102"/>
              <a:gd name="T49" fmla="*/ 0 h 71"/>
              <a:gd name="T50" fmla="*/ 40307556 w 102"/>
              <a:gd name="T51" fmla="*/ 3480005 h 71"/>
              <a:gd name="T52" fmla="*/ 20153156 w 102"/>
              <a:gd name="T53" fmla="*/ 1740002 h 71"/>
              <a:gd name="T54" fmla="*/ 7750735 w 102"/>
              <a:gd name="T55" fmla="*/ 13921338 h 71"/>
              <a:gd name="T56" fmla="*/ 3100294 w 102"/>
              <a:gd name="T57" fmla="*/ 38285326 h 71"/>
              <a:gd name="T58" fmla="*/ 4650441 w 102"/>
              <a:gd name="T59" fmla="*/ 45246662 h 71"/>
              <a:gd name="T60" fmla="*/ 3100294 w 102"/>
              <a:gd name="T61" fmla="*/ 46986664 h 71"/>
              <a:gd name="T62" fmla="*/ 17052863 w 102"/>
              <a:gd name="T63" fmla="*/ 50466668 h 71"/>
              <a:gd name="T64" fmla="*/ 23253454 w 102"/>
              <a:gd name="T65" fmla="*/ 64389320 h 71"/>
              <a:gd name="T66" fmla="*/ 20153156 w 102"/>
              <a:gd name="T67" fmla="*/ 80050655 h 71"/>
              <a:gd name="T68" fmla="*/ 15502716 w 102"/>
              <a:gd name="T69" fmla="*/ 81791976 h 71"/>
              <a:gd name="T70" fmla="*/ 10852276 w 102"/>
              <a:gd name="T71" fmla="*/ 88752004 h 71"/>
              <a:gd name="T72" fmla="*/ 0 w 102"/>
              <a:gd name="T73" fmla="*/ 102674656 h 71"/>
              <a:gd name="T74" fmla="*/ 0 w 102"/>
              <a:gd name="T75" fmla="*/ 102674656 h 7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2"/>
              <a:gd name="T115" fmla="*/ 0 h 71"/>
              <a:gd name="T116" fmla="*/ 102 w 102"/>
              <a:gd name="T117" fmla="*/ 71 h 7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2" h="71">
                <a:moveTo>
                  <a:pt x="0" y="59"/>
                </a:moveTo>
                <a:lnTo>
                  <a:pt x="1" y="62"/>
                </a:lnTo>
                <a:lnTo>
                  <a:pt x="8" y="63"/>
                </a:lnTo>
                <a:lnTo>
                  <a:pt x="26" y="64"/>
                </a:lnTo>
                <a:lnTo>
                  <a:pt x="47" y="42"/>
                </a:lnTo>
                <a:lnTo>
                  <a:pt x="53" y="56"/>
                </a:lnTo>
                <a:lnTo>
                  <a:pt x="59" y="70"/>
                </a:lnTo>
                <a:lnTo>
                  <a:pt x="72" y="64"/>
                </a:lnTo>
                <a:lnTo>
                  <a:pt x="86" y="59"/>
                </a:lnTo>
                <a:lnTo>
                  <a:pt x="100" y="63"/>
                </a:lnTo>
                <a:lnTo>
                  <a:pt x="101" y="42"/>
                </a:lnTo>
                <a:lnTo>
                  <a:pt x="91" y="38"/>
                </a:lnTo>
                <a:lnTo>
                  <a:pt x="85" y="39"/>
                </a:lnTo>
                <a:lnTo>
                  <a:pt x="89" y="26"/>
                </a:lnTo>
                <a:lnTo>
                  <a:pt x="77" y="23"/>
                </a:lnTo>
                <a:lnTo>
                  <a:pt x="67" y="22"/>
                </a:lnTo>
                <a:lnTo>
                  <a:pt x="53" y="22"/>
                </a:lnTo>
                <a:lnTo>
                  <a:pt x="42" y="22"/>
                </a:lnTo>
                <a:lnTo>
                  <a:pt x="28" y="22"/>
                </a:lnTo>
                <a:lnTo>
                  <a:pt x="17" y="20"/>
                </a:lnTo>
                <a:lnTo>
                  <a:pt x="15" y="18"/>
                </a:lnTo>
                <a:lnTo>
                  <a:pt x="17" y="13"/>
                </a:lnTo>
                <a:lnTo>
                  <a:pt x="22" y="10"/>
                </a:lnTo>
                <a:lnTo>
                  <a:pt x="41" y="6"/>
                </a:lnTo>
                <a:lnTo>
                  <a:pt x="40" y="0"/>
                </a:lnTo>
                <a:lnTo>
                  <a:pt x="26" y="2"/>
                </a:lnTo>
                <a:lnTo>
                  <a:pt x="13" y="1"/>
                </a:lnTo>
                <a:lnTo>
                  <a:pt x="5" y="8"/>
                </a:lnTo>
                <a:lnTo>
                  <a:pt x="2" y="22"/>
                </a:lnTo>
                <a:lnTo>
                  <a:pt x="3" y="26"/>
                </a:lnTo>
                <a:lnTo>
                  <a:pt x="2" y="27"/>
                </a:lnTo>
                <a:lnTo>
                  <a:pt x="11" y="29"/>
                </a:lnTo>
                <a:lnTo>
                  <a:pt x="15" y="37"/>
                </a:lnTo>
                <a:lnTo>
                  <a:pt x="13" y="46"/>
                </a:lnTo>
                <a:lnTo>
                  <a:pt x="10" y="47"/>
                </a:lnTo>
                <a:lnTo>
                  <a:pt x="7" y="51"/>
                </a:lnTo>
                <a:lnTo>
                  <a:pt x="0" y="5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7" name="Freeform 747">
            <a:extLst>
              <a:ext uri="{FF2B5EF4-FFF2-40B4-BE49-F238E27FC236}">
                <a16:creationId xmlns:a16="http://schemas.microsoft.com/office/drawing/2014/main" id="{8043C5E2-C7CB-4A63-B4D5-162D9FF00E21}"/>
              </a:ext>
            </a:extLst>
          </p:cNvPr>
          <p:cNvSpPr>
            <a:spLocks/>
          </p:cNvSpPr>
          <p:nvPr/>
        </p:nvSpPr>
        <p:spPr bwMode="auto">
          <a:xfrm>
            <a:off x="4333418" y="4638814"/>
            <a:ext cx="56941" cy="54083"/>
          </a:xfrm>
          <a:custGeom>
            <a:avLst/>
            <a:gdLst>
              <a:gd name="T0" fmla="*/ 0 w 48"/>
              <a:gd name="T1" fmla="*/ 20152825 h 49"/>
              <a:gd name="T2" fmla="*/ 46584378 w 48"/>
              <a:gd name="T3" fmla="*/ 18473316 h 49"/>
              <a:gd name="T4" fmla="*/ 51574823 w 48"/>
              <a:gd name="T5" fmla="*/ 0 h 49"/>
              <a:gd name="T6" fmla="*/ 78194824 w 48"/>
              <a:gd name="T7" fmla="*/ 48703209 h 49"/>
              <a:gd name="T8" fmla="*/ 71540469 w 48"/>
              <a:gd name="T9" fmla="*/ 75572772 h 49"/>
              <a:gd name="T10" fmla="*/ 29946545 w 48"/>
              <a:gd name="T11" fmla="*/ 80611301 h 49"/>
              <a:gd name="T12" fmla="*/ 14973917 w 48"/>
              <a:gd name="T13" fmla="*/ 75572772 h 49"/>
              <a:gd name="T14" fmla="*/ 13310006 w 48"/>
              <a:gd name="T15" fmla="*/ 48703209 h 49"/>
              <a:gd name="T16" fmla="*/ 0 w 48"/>
              <a:gd name="T17" fmla="*/ 21832340 h 49"/>
              <a:gd name="T18" fmla="*/ 0 w 48"/>
              <a:gd name="T19" fmla="*/ 20152825 h 49"/>
              <a:gd name="T20" fmla="*/ 0 w 48"/>
              <a:gd name="T21" fmla="*/ 20152825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9"/>
              <a:gd name="T35" fmla="*/ 48 w 48"/>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9">
                <a:moveTo>
                  <a:pt x="0" y="12"/>
                </a:moveTo>
                <a:lnTo>
                  <a:pt x="28" y="11"/>
                </a:lnTo>
                <a:lnTo>
                  <a:pt x="31" y="0"/>
                </a:lnTo>
                <a:lnTo>
                  <a:pt x="47" y="29"/>
                </a:lnTo>
                <a:lnTo>
                  <a:pt x="43" y="45"/>
                </a:lnTo>
                <a:lnTo>
                  <a:pt x="18" y="48"/>
                </a:lnTo>
                <a:lnTo>
                  <a:pt x="9" y="45"/>
                </a:lnTo>
                <a:lnTo>
                  <a:pt x="8" y="29"/>
                </a:lnTo>
                <a:lnTo>
                  <a:pt x="0" y="13"/>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8" name="Freeform 748">
            <a:extLst>
              <a:ext uri="{FF2B5EF4-FFF2-40B4-BE49-F238E27FC236}">
                <a16:creationId xmlns:a16="http://schemas.microsoft.com/office/drawing/2014/main" id="{B55A0DD7-4E48-406D-93E4-0B3AE2F1CEF9}"/>
              </a:ext>
            </a:extLst>
          </p:cNvPr>
          <p:cNvSpPr>
            <a:spLocks/>
          </p:cNvSpPr>
          <p:nvPr/>
        </p:nvSpPr>
        <p:spPr bwMode="auto">
          <a:xfrm>
            <a:off x="4362618" y="4686137"/>
            <a:ext cx="29201" cy="52729"/>
          </a:xfrm>
          <a:custGeom>
            <a:avLst/>
            <a:gdLst>
              <a:gd name="T0" fmla="*/ 0 w 25"/>
              <a:gd name="T1" fmla="*/ 60733038 h 47"/>
              <a:gd name="T2" fmla="*/ 0 w 25"/>
              <a:gd name="T3" fmla="*/ 60733038 h 47"/>
              <a:gd name="T4" fmla="*/ 1612900 w 25"/>
              <a:gd name="T5" fmla="*/ 19087337 h 47"/>
              <a:gd name="T6" fmla="*/ 19354799 w 25"/>
              <a:gd name="T7" fmla="*/ 0 h 47"/>
              <a:gd name="T8" fmla="*/ 38709598 w 25"/>
              <a:gd name="T9" fmla="*/ 46850265 h 47"/>
              <a:gd name="T10" fmla="*/ 20967704 w 25"/>
              <a:gd name="T11" fmla="*/ 79820370 h 47"/>
              <a:gd name="T12" fmla="*/ 0 w 25"/>
              <a:gd name="T13" fmla="*/ 60733038 h 47"/>
              <a:gd name="T14" fmla="*/ 0 w 25"/>
              <a:gd name="T15" fmla="*/ 60733038 h 47"/>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47"/>
              <a:gd name="T26" fmla="*/ 25 w 25"/>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47">
                <a:moveTo>
                  <a:pt x="0" y="35"/>
                </a:moveTo>
                <a:lnTo>
                  <a:pt x="0" y="35"/>
                </a:lnTo>
                <a:lnTo>
                  <a:pt x="1" y="11"/>
                </a:lnTo>
                <a:lnTo>
                  <a:pt x="12" y="0"/>
                </a:lnTo>
                <a:lnTo>
                  <a:pt x="24" y="27"/>
                </a:lnTo>
                <a:lnTo>
                  <a:pt x="13" y="46"/>
                </a:lnTo>
                <a:lnTo>
                  <a:pt x="0" y="3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9" name="Freeform 749">
            <a:extLst>
              <a:ext uri="{FF2B5EF4-FFF2-40B4-BE49-F238E27FC236}">
                <a16:creationId xmlns:a16="http://schemas.microsoft.com/office/drawing/2014/main" id="{91F4980C-1E3A-4BE7-A200-8DEF8ABE3F9D}"/>
              </a:ext>
            </a:extLst>
          </p:cNvPr>
          <p:cNvSpPr>
            <a:spLocks/>
          </p:cNvSpPr>
          <p:nvPr/>
        </p:nvSpPr>
        <p:spPr bwMode="auto">
          <a:xfrm>
            <a:off x="4209318" y="4567156"/>
            <a:ext cx="119721" cy="47322"/>
          </a:xfrm>
          <a:custGeom>
            <a:avLst/>
            <a:gdLst>
              <a:gd name="T0" fmla="*/ 0 w 105"/>
              <a:gd name="T1" fmla="*/ 42239311 h 41"/>
              <a:gd name="T2" fmla="*/ 0 w 105"/>
              <a:gd name="T3" fmla="*/ 42239311 h 41"/>
              <a:gd name="T4" fmla="*/ 1537305 w 105"/>
              <a:gd name="T5" fmla="*/ 45911833 h 41"/>
              <a:gd name="T6" fmla="*/ 3074610 w 105"/>
              <a:gd name="T7" fmla="*/ 58766978 h 41"/>
              <a:gd name="T8" fmla="*/ 19981242 w 105"/>
              <a:gd name="T9" fmla="*/ 62440845 h 41"/>
              <a:gd name="T10" fmla="*/ 53795752 w 105"/>
              <a:gd name="T11" fmla="*/ 55094467 h 41"/>
              <a:gd name="T12" fmla="*/ 89146332 w 105"/>
              <a:gd name="T13" fmla="*/ 73459734 h 41"/>
              <a:gd name="T14" fmla="*/ 138331392 w 105"/>
              <a:gd name="T15" fmla="*/ 60604589 h 41"/>
              <a:gd name="T16" fmla="*/ 159848693 w 105"/>
              <a:gd name="T17" fmla="*/ 23874044 h 41"/>
              <a:gd name="T18" fmla="*/ 152163412 w 105"/>
              <a:gd name="T19" fmla="*/ 0 h 41"/>
              <a:gd name="T20" fmla="*/ 89146332 w 105"/>
              <a:gd name="T21" fmla="*/ 1836256 h 41"/>
              <a:gd name="T22" fmla="*/ 70702380 w 105"/>
              <a:gd name="T23" fmla="*/ 40403056 h 41"/>
              <a:gd name="T24" fmla="*/ 0 w 105"/>
              <a:gd name="T25" fmla="*/ 42239311 h 41"/>
              <a:gd name="T26" fmla="*/ 0 w 105"/>
              <a:gd name="T27" fmla="*/ 42239311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5"/>
              <a:gd name="T43" fmla="*/ 0 h 41"/>
              <a:gd name="T44" fmla="*/ 105 w 105"/>
              <a:gd name="T45" fmla="*/ 41 h 4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5" h="41">
                <a:moveTo>
                  <a:pt x="0" y="23"/>
                </a:moveTo>
                <a:lnTo>
                  <a:pt x="0" y="23"/>
                </a:lnTo>
                <a:lnTo>
                  <a:pt x="1" y="25"/>
                </a:lnTo>
                <a:lnTo>
                  <a:pt x="2" y="32"/>
                </a:lnTo>
                <a:lnTo>
                  <a:pt x="13" y="34"/>
                </a:lnTo>
                <a:lnTo>
                  <a:pt x="35" y="30"/>
                </a:lnTo>
                <a:lnTo>
                  <a:pt x="58" y="40"/>
                </a:lnTo>
                <a:lnTo>
                  <a:pt x="90" y="33"/>
                </a:lnTo>
                <a:lnTo>
                  <a:pt x="104" y="13"/>
                </a:lnTo>
                <a:lnTo>
                  <a:pt x="99" y="0"/>
                </a:lnTo>
                <a:lnTo>
                  <a:pt x="58" y="1"/>
                </a:lnTo>
                <a:lnTo>
                  <a:pt x="46" y="22"/>
                </a:lnTo>
                <a:lnTo>
                  <a:pt x="0" y="2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0" name="Freeform 750">
            <a:extLst>
              <a:ext uri="{FF2B5EF4-FFF2-40B4-BE49-F238E27FC236}">
                <a16:creationId xmlns:a16="http://schemas.microsoft.com/office/drawing/2014/main" id="{E211A3E5-A626-4167-82E1-6D2198386F44}"/>
              </a:ext>
            </a:extLst>
          </p:cNvPr>
          <p:cNvSpPr>
            <a:spLocks/>
          </p:cNvSpPr>
          <p:nvPr/>
        </p:nvSpPr>
        <p:spPr bwMode="auto">
          <a:xfrm>
            <a:off x="4107117" y="4515778"/>
            <a:ext cx="52561" cy="39209"/>
          </a:xfrm>
          <a:custGeom>
            <a:avLst/>
            <a:gdLst>
              <a:gd name="T0" fmla="*/ 0 w 45"/>
              <a:gd name="T1" fmla="*/ 11676657 h 33"/>
              <a:gd name="T2" fmla="*/ 0 w 45"/>
              <a:gd name="T3" fmla="*/ 11676657 h 33"/>
              <a:gd name="T4" fmla="*/ 16128999 w 45"/>
              <a:gd name="T5" fmla="*/ 1946109 h 33"/>
              <a:gd name="T6" fmla="*/ 48387003 w 45"/>
              <a:gd name="T7" fmla="*/ 0 h 33"/>
              <a:gd name="T8" fmla="*/ 69354696 w 45"/>
              <a:gd name="T9" fmla="*/ 25300818 h 33"/>
              <a:gd name="T10" fmla="*/ 70967596 w 45"/>
              <a:gd name="T11" fmla="*/ 44761905 h 33"/>
              <a:gd name="T12" fmla="*/ 62903099 w 45"/>
              <a:gd name="T13" fmla="*/ 62278289 h 33"/>
              <a:gd name="T14" fmla="*/ 0 w 45"/>
              <a:gd name="T15" fmla="*/ 11676657 h 33"/>
              <a:gd name="T16" fmla="*/ 0 w 45"/>
              <a:gd name="T17" fmla="*/ 11676657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
              <a:gd name="T28" fmla="*/ 0 h 33"/>
              <a:gd name="T29" fmla="*/ 45 w 45"/>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 h="33">
                <a:moveTo>
                  <a:pt x="0" y="6"/>
                </a:moveTo>
                <a:lnTo>
                  <a:pt x="0" y="6"/>
                </a:lnTo>
                <a:lnTo>
                  <a:pt x="10" y="1"/>
                </a:lnTo>
                <a:lnTo>
                  <a:pt x="30" y="0"/>
                </a:lnTo>
                <a:lnTo>
                  <a:pt x="43" y="13"/>
                </a:lnTo>
                <a:lnTo>
                  <a:pt x="44" y="23"/>
                </a:lnTo>
                <a:lnTo>
                  <a:pt x="39" y="32"/>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1" name="Freeform 751">
            <a:extLst>
              <a:ext uri="{FF2B5EF4-FFF2-40B4-BE49-F238E27FC236}">
                <a16:creationId xmlns:a16="http://schemas.microsoft.com/office/drawing/2014/main" id="{131EE606-1F8D-4B48-8188-352E524DF4AE}"/>
              </a:ext>
            </a:extLst>
          </p:cNvPr>
          <p:cNvSpPr>
            <a:spLocks/>
          </p:cNvSpPr>
          <p:nvPr/>
        </p:nvSpPr>
        <p:spPr bwMode="auto">
          <a:xfrm>
            <a:off x="4412258" y="4656392"/>
            <a:ext cx="99281" cy="52729"/>
          </a:xfrm>
          <a:custGeom>
            <a:avLst/>
            <a:gdLst>
              <a:gd name="T0" fmla="*/ 0 w 86"/>
              <a:gd name="T1" fmla="*/ 53237874 h 48"/>
              <a:gd name="T2" fmla="*/ 0 w 86"/>
              <a:gd name="T3" fmla="*/ 53237874 h 48"/>
              <a:gd name="T4" fmla="*/ 7877839 w 86"/>
              <a:gd name="T5" fmla="*/ 0 h 48"/>
              <a:gd name="T6" fmla="*/ 133927029 w 86"/>
              <a:gd name="T7" fmla="*/ 11645907 h 48"/>
              <a:gd name="T8" fmla="*/ 110292264 w 86"/>
              <a:gd name="T9" fmla="*/ 44918452 h 48"/>
              <a:gd name="T10" fmla="*/ 119746672 w 86"/>
              <a:gd name="T11" fmla="*/ 63219891 h 48"/>
              <a:gd name="T12" fmla="*/ 86658754 w 86"/>
              <a:gd name="T13" fmla="*/ 64883776 h 48"/>
              <a:gd name="T14" fmla="*/ 66175857 w 86"/>
              <a:gd name="T15" fmla="*/ 78192272 h 48"/>
              <a:gd name="T16" fmla="*/ 12605046 w 86"/>
              <a:gd name="T17" fmla="*/ 78192272 h 48"/>
              <a:gd name="T18" fmla="*/ 0 w 86"/>
              <a:gd name="T19" fmla="*/ 53237874 h 48"/>
              <a:gd name="T20" fmla="*/ 0 w 86"/>
              <a:gd name="T21" fmla="*/ 53237874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48"/>
              <a:gd name="T35" fmla="*/ 86 w 86"/>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48">
                <a:moveTo>
                  <a:pt x="0" y="32"/>
                </a:moveTo>
                <a:lnTo>
                  <a:pt x="0" y="32"/>
                </a:lnTo>
                <a:lnTo>
                  <a:pt x="5" y="0"/>
                </a:lnTo>
                <a:lnTo>
                  <a:pt x="85" y="7"/>
                </a:lnTo>
                <a:lnTo>
                  <a:pt x="70" y="27"/>
                </a:lnTo>
                <a:lnTo>
                  <a:pt x="76" y="38"/>
                </a:lnTo>
                <a:lnTo>
                  <a:pt x="55" y="39"/>
                </a:lnTo>
                <a:lnTo>
                  <a:pt x="42" y="47"/>
                </a:lnTo>
                <a:lnTo>
                  <a:pt x="8" y="47"/>
                </a:lnTo>
                <a:lnTo>
                  <a:pt x="0" y="3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2" name="Freeform 752">
            <a:extLst>
              <a:ext uri="{FF2B5EF4-FFF2-40B4-BE49-F238E27FC236}">
                <a16:creationId xmlns:a16="http://schemas.microsoft.com/office/drawing/2014/main" id="{7436FE4F-A3CC-4C95-902D-8B1D92D535B1}"/>
              </a:ext>
            </a:extLst>
          </p:cNvPr>
          <p:cNvSpPr>
            <a:spLocks/>
          </p:cNvSpPr>
          <p:nvPr/>
        </p:nvSpPr>
        <p:spPr bwMode="auto">
          <a:xfrm>
            <a:off x="4323199" y="4552282"/>
            <a:ext cx="90522" cy="37857"/>
          </a:xfrm>
          <a:custGeom>
            <a:avLst/>
            <a:gdLst>
              <a:gd name="T0" fmla="*/ 0 w 79"/>
              <a:gd name="T1" fmla="*/ 25637190 h 34"/>
              <a:gd name="T2" fmla="*/ 7760624 w 79"/>
              <a:gd name="T3" fmla="*/ 47856961 h 34"/>
              <a:gd name="T4" fmla="*/ 37253235 w 79"/>
              <a:gd name="T5" fmla="*/ 56403123 h 34"/>
              <a:gd name="T6" fmla="*/ 85373103 w 79"/>
              <a:gd name="T7" fmla="*/ 34183352 h 34"/>
              <a:gd name="T8" fmla="*/ 114865707 w 79"/>
              <a:gd name="T9" fmla="*/ 39310788 h 34"/>
              <a:gd name="T10" fmla="*/ 121073955 w 79"/>
              <a:gd name="T11" fmla="*/ 17092330 h 34"/>
              <a:gd name="T12" fmla="*/ 68298222 w 79"/>
              <a:gd name="T13" fmla="*/ 11963587 h 34"/>
              <a:gd name="T14" fmla="*/ 37253235 w 79"/>
              <a:gd name="T15" fmla="*/ 0 h 34"/>
              <a:gd name="T16" fmla="*/ 1552374 w 79"/>
              <a:gd name="T17" fmla="*/ 23928480 h 34"/>
              <a:gd name="T18" fmla="*/ 0 w 79"/>
              <a:gd name="T19" fmla="*/ 25637190 h 34"/>
              <a:gd name="T20" fmla="*/ 0 w 79"/>
              <a:gd name="T21" fmla="*/ 25637190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9"/>
              <a:gd name="T34" fmla="*/ 0 h 34"/>
              <a:gd name="T35" fmla="*/ 79 w 79"/>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9" h="34">
                <a:moveTo>
                  <a:pt x="0" y="15"/>
                </a:moveTo>
                <a:lnTo>
                  <a:pt x="5" y="28"/>
                </a:lnTo>
                <a:lnTo>
                  <a:pt x="24" y="33"/>
                </a:lnTo>
                <a:lnTo>
                  <a:pt x="55" y="20"/>
                </a:lnTo>
                <a:lnTo>
                  <a:pt x="74" y="23"/>
                </a:lnTo>
                <a:lnTo>
                  <a:pt x="78" y="10"/>
                </a:lnTo>
                <a:lnTo>
                  <a:pt x="44" y="7"/>
                </a:lnTo>
                <a:lnTo>
                  <a:pt x="24" y="0"/>
                </a:lnTo>
                <a:lnTo>
                  <a:pt x="1" y="14"/>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3" name="Group 167">
            <a:extLst>
              <a:ext uri="{FF2B5EF4-FFF2-40B4-BE49-F238E27FC236}">
                <a16:creationId xmlns:a16="http://schemas.microsoft.com/office/drawing/2014/main" id="{DE3B1FBB-4F24-4945-9D06-9819C9B568DC}"/>
              </a:ext>
            </a:extLst>
          </p:cNvPr>
          <p:cNvGrpSpPr>
            <a:grpSpLocks/>
          </p:cNvGrpSpPr>
          <p:nvPr/>
        </p:nvGrpSpPr>
        <p:grpSpPr bwMode="auto">
          <a:xfrm>
            <a:off x="4188877" y="4385980"/>
            <a:ext cx="71541" cy="62194"/>
            <a:chOff x="3191" y="2547"/>
            <a:chExt cx="63" cy="55"/>
          </a:xfrm>
          <a:solidFill>
            <a:srgbClr val="00B050"/>
          </a:solidFill>
        </p:grpSpPr>
        <p:sp>
          <p:nvSpPr>
            <p:cNvPr id="260" name="Freeform 754">
              <a:extLst>
                <a:ext uri="{FF2B5EF4-FFF2-40B4-BE49-F238E27FC236}">
                  <a16:creationId xmlns:a16="http://schemas.microsoft.com/office/drawing/2014/main" id="{848A4F6B-0C2A-4B12-BC5C-BFB1B79291F2}"/>
                </a:ext>
              </a:extLst>
            </p:cNvPr>
            <p:cNvSpPr>
              <a:spLocks/>
            </p:cNvSpPr>
            <p:nvPr/>
          </p:nvSpPr>
          <p:spPr bwMode="auto">
            <a:xfrm>
              <a:off x="3191" y="2547"/>
              <a:ext cx="37" cy="55"/>
            </a:xfrm>
            <a:custGeom>
              <a:avLst/>
              <a:gdLst>
                <a:gd name="T0" fmla="*/ 0 w 37"/>
                <a:gd name="T1" fmla="*/ 41 h 55"/>
                <a:gd name="T2" fmla="*/ 0 w 37"/>
                <a:gd name="T3" fmla="*/ 41 h 55"/>
                <a:gd name="T4" fmla="*/ 3 w 37"/>
                <a:gd name="T5" fmla="*/ 15 h 55"/>
                <a:gd name="T6" fmla="*/ 31 w 37"/>
                <a:gd name="T7" fmla="*/ 0 h 55"/>
                <a:gd name="T8" fmla="*/ 26 w 37"/>
                <a:gd name="T9" fmla="*/ 21 h 55"/>
                <a:gd name="T10" fmla="*/ 36 w 37"/>
                <a:gd name="T11" fmla="*/ 27 h 55"/>
                <a:gd name="T12" fmla="*/ 18 w 37"/>
                <a:gd name="T13" fmla="*/ 39 h 55"/>
                <a:gd name="T14" fmla="*/ 18 w 37"/>
                <a:gd name="T15" fmla="*/ 54 h 55"/>
                <a:gd name="T16" fmla="*/ 7 w 37"/>
                <a:gd name="T17" fmla="*/ 54 h 55"/>
                <a:gd name="T18" fmla="*/ 0 w 37"/>
                <a:gd name="T19" fmla="*/ 41 h 55"/>
                <a:gd name="T20" fmla="*/ 0 w 37"/>
                <a:gd name="T21" fmla="*/ 41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55"/>
                <a:gd name="T35" fmla="*/ 37 w 37"/>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55">
                  <a:moveTo>
                    <a:pt x="0" y="41"/>
                  </a:moveTo>
                  <a:lnTo>
                    <a:pt x="0" y="41"/>
                  </a:lnTo>
                  <a:lnTo>
                    <a:pt x="3" y="15"/>
                  </a:lnTo>
                  <a:lnTo>
                    <a:pt x="31" y="0"/>
                  </a:lnTo>
                  <a:lnTo>
                    <a:pt x="26" y="21"/>
                  </a:lnTo>
                  <a:lnTo>
                    <a:pt x="36" y="27"/>
                  </a:lnTo>
                  <a:lnTo>
                    <a:pt x="18" y="39"/>
                  </a:lnTo>
                  <a:lnTo>
                    <a:pt x="18" y="54"/>
                  </a:lnTo>
                  <a:lnTo>
                    <a:pt x="7" y="54"/>
                  </a:lnTo>
                  <a:lnTo>
                    <a:pt x="0" y="4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1" name="Freeform 755">
              <a:extLst>
                <a:ext uri="{FF2B5EF4-FFF2-40B4-BE49-F238E27FC236}">
                  <a16:creationId xmlns:a16="http://schemas.microsoft.com/office/drawing/2014/main" id="{3B6A42B4-0FA5-4494-8935-4A0A8D921406}"/>
                </a:ext>
              </a:extLst>
            </p:cNvPr>
            <p:cNvSpPr>
              <a:spLocks/>
            </p:cNvSpPr>
            <p:nvPr/>
          </p:nvSpPr>
          <p:spPr bwMode="auto">
            <a:xfrm>
              <a:off x="3216" y="2588"/>
              <a:ext cx="13" cy="7"/>
            </a:xfrm>
            <a:custGeom>
              <a:avLst/>
              <a:gdLst>
                <a:gd name="T0" fmla="*/ 0 w 13"/>
                <a:gd name="T1" fmla="*/ 6 h 7"/>
                <a:gd name="T2" fmla="*/ 0 w 13"/>
                <a:gd name="T3" fmla="*/ 6 h 7"/>
                <a:gd name="T4" fmla="*/ 10 w 13"/>
                <a:gd name="T5" fmla="*/ 0 h 7"/>
                <a:gd name="T6" fmla="*/ 12 w 13"/>
                <a:gd name="T7" fmla="*/ 4 h 7"/>
                <a:gd name="T8" fmla="*/ 0 w 13"/>
                <a:gd name="T9" fmla="*/ 6 h 7"/>
                <a:gd name="T10" fmla="*/ 0 w 13"/>
                <a:gd name="T11" fmla="*/ 6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0" y="6"/>
                  </a:moveTo>
                  <a:lnTo>
                    <a:pt x="0" y="6"/>
                  </a:lnTo>
                  <a:lnTo>
                    <a:pt x="10" y="0"/>
                  </a:lnTo>
                  <a:lnTo>
                    <a:pt x="12" y="4"/>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2" name="Freeform 756">
              <a:extLst>
                <a:ext uri="{FF2B5EF4-FFF2-40B4-BE49-F238E27FC236}">
                  <a16:creationId xmlns:a16="http://schemas.microsoft.com/office/drawing/2014/main" id="{C21EF6C5-637A-41A6-999A-A123A9FF536F}"/>
                </a:ext>
              </a:extLst>
            </p:cNvPr>
            <p:cNvSpPr>
              <a:spLocks/>
            </p:cNvSpPr>
            <p:nvPr/>
          </p:nvSpPr>
          <p:spPr bwMode="auto">
            <a:xfrm>
              <a:off x="3232" y="2576"/>
              <a:ext cx="22" cy="24"/>
            </a:xfrm>
            <a:custGeom>
              <a:avLst/>
              <a:gdLst>
                <a:gd name="T0" fmla="*/ 0 w 22"/>
                <a:gd name="T1" fmla="*/ 12 h 24"/>
                <a:gd name="T2" fmla="*/ 0 w 22"/>
                <a:gd name="T3" fmla="*/ 12 h 24"/>
                <a:gd name="T4" fmla="*/ 16 w 22"/>
                <a:gd name="T5" fmla="*/ 23 h 24"/>
                <a:gd name="T6" fmla="*/ 21 w 22"/>
                <a:gd name="T7" fmla="*/ 11 h 24"/>
                <a:gd name="T8" fmla="*/ 17 w 22"/>
                <a:gd name="T9" fmla="*/ 0 h 24"/>
                <a:gd name="T10" fmla="*/ 0 w 22"/>
                <a:gd name="T11" fmla="*/ 12 h 24"/>
                <a:gd name="T12" fmla="*/ 0 w 22"/>
                <a:gd name="T13" fmla="*/ 12 h 24"/>
                <a:gd name="T14" fmla="*/ 0 60000 65536"/>
                <a:gd name="T15" fmla="*/ 0 60000 65536"/>
                <a:gd name="T16" fmla="*/ 0 60000 65536"/>
                <a:gd name="T17" fmla="*/ 0 60000 65536"/>
                <a:gd name="T18" fmla="*/ 0 60000 65536"/>
                <a:gd name="T19" fmla="*/ 0 60000 65536"/>
                <a:gd name="T20" fmla="*/ 0 60000 65536"/>
                <a:gd name="T21" fmla="*/ 0 w 22"/>
                <a:gd name="T22" fmla="*/ 0 h 24"/>
                <a:gd name="T23" fmla="*/ 22 w 2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4">
                  <a:moveTo>
                    <a:pt x="0" y="12"/>
                  </a:moveTo>
                  <a:lnTo>
                    <a:pt x="0" y="12"/>
                  </a:lnTo>
                  <a:lnTo>
                    <a:pt x="16" y="23"/>
                  </a:lnTo>
                  <a:lnTo>
                    <a:pt x="21" y="11"/>
                  </a:lnTo>
                  <a:lnTo>
                    <a:pt x="17"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54" name="Freeform 757">
            <a:extLst>
              <a:ext uri="{FF2B5EF4-FFF2-40B4-BE49-F238E27FC236}">
                <a16:creationId xmlns:a16="http://schemas.microsoft.com/office/drawing/2014/main" id="{78505EE0-DBC4-400C-A718-6C2C024583C9}"/>
              </a:ext>
            </a:extLst>
          </p:cNvPr>
          <p:cNvSpPr>
            <a:spLocks/>
          </p:cNvSpPr>
          <p:nvPr/>
        </p:nvSpPr>
        <p:spPr bwMode="auto">
          <a:xfrm>
            <a:off x="4384520" y="4089879"/>
            <a:ext cx="170821" cy="250131"/>
          </a:xfrm>
          <a:custGeom>
            <a:avLst/>
            <a:gdLst>
              <a:gd name="T0" fmla="*/ 0 w 149"/>
              <a:gd name="T1" fmla="*/ 39536435 h 224"/>
              <a:gd name="T2" fmla="*/ 0 w 149"/>
              <a:gd name="T3" fmla="*/ 39536435 h 224"/>
              <a:gd name="T4" fmla="*/ 15539579 w 149"/>
              <a:gd name="T5" fmla="*/ 27504408 h 224"/>
              <a:gd name="T6" fmla="*/ 38847698 w 149"/>
              <a:gd name="T7" fmla="*/ 51569784 h 224"/>
              <a:gd name="T8" fmla="*/ 83910746 w 149"/>
              <a:gd name="T9" fmla="*/ 55007506 h 224"/>
              <a:gd name="T10" fmla="*/ 108773316 w 149"/>
              <a:gd name="T11" fmla="*/ 41256607 h 224"/>
              <a:gd name="T12" fmla="*/ 116543103 w 149"/>
              <a:gd name="T13" fmla="*/ 8595619 h 224"/>
              <a:gd name="T14" fmla="*/ 158498456 w 149"/>
              <a:gd name="T15" fmla="*/ 0 h 224"/>
              <a:gd name="T16" fmla="*/ 180253400 w 149"/>
              <a:gd name="T17" fmla="*/ 12033343 h 224"/>
              <a:gd name="T18" fmla="*/ 177144488 w 149"/>
              <a:gd name="T19" fmla="*/ 39536435 h 224"/>
              <a:gd name="T20" fmla="*/ 169375947 w 149"/>
              <a:gd name="T21" fmla="*/ 67040844 h 224"/>
              <a:gd name="T22" fmla="*/ 198899392 w 149"/>
              <a:gd name="T23" fmla="*/ 99701845 h 224"/>
              <a:gd name="T24" fmla="*/ 181806609 w 149"/>
              <a:gd name="T25" fmla="*/ 123768522 h 224"/>
              <a:gd name="T26" fmla="*/ 203561514 w 149"/>
              <a:gd name="T27" fmla="*/ 166742669 h 224"/>
              <a:gd name="T28" fmla="*/ 194238517 w 149"/>
              <a:gd name="T29" fmla="*/ 204561585 h 224"/>
              <a:gd name="T30" fmla="*/ 229977293 w 149"/>
              <a:gd name="T31" fmla="*/ 283635746 h 224"/>
              <a:gd name="T32" fmla="*/ 149174213 w 149"/>
              <a:gd name="T33" fmla="*/ 359270956 h 224"/>
              <a:gd name="T34" fmla="*/ 51278369 w 149"/>
              <a:gd name="T35" fmla="*/ 383337633 h 224"/>
              <a:gd name="T36" fmla="*/ 46617494 w 149"/>
              <a:gd name="T37" fmla="*/ 367866572 h 224"/>
              <a:gd name="T38" fmla="*/ 15539579 w 149"/>
              <a:gd name="T39" fmla="*/ 357552095 h 224"/>
              <a:gd name="T40" fmla="*/ 10877457 w 149"/>
              <a:gd name="T41" fmla="*/ 281916885 h 224"/>
              <a:gd name="T42" fmla="*/ 104111194 w 149"/>
              <a:gd name="T43" fmla="*/ 201123863 h 224"/>
              <a:gd name="T44" fmla="*/ 73033274 w 149"/>
              <a:gd name="T45" fmla="*/ 161586086 h 224"/>
              <a:gd name="T46" fmla="*/ 62155821 w 149"/>
              <a:gd name="T47" fmla="*/ 80793043 h 224"/>
              <a:gd name="T48" fmla="*/ 0 w 149"/>
              <a:gd name="T49" fmla="*/ 39536435 h 224"/>
              <a:gd name="T50" fmla="*/ 0 w 149"/>
              <a:gd name="T51" fmla="*/ 39536435 h 22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9"/>
              <a:gd name="T79" fmla="*/ 0 h 224"/>
              <a:gd name="T80" fmla="*/ 149 w 149"/>
              <a:gd name="T81" fmla="*/ 224 h 22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9" h="224">
                <a:moveTo>
                  <a:pt x="0" y="23"/>
                </a:moveTo>
                <a:lnTo>
                  <a:pt x="0" y="23"/>
                </a:lnTo>
                <a:lnTo>
                  <a:pt x="10" y="16"/>
                </a:lnTo>
                <a:lnTo>
                  <a:pt x="25" y="30"/>
                </a:lnTo>
                <a:lnTo>
                  <a:pt x="54" y="32"/>
                </a:lnTo>
                <a:lnTo>
                  <a:pt x="70" y="24"/>
                </a:lnTo>
                <a:lnTo>
                  <a:pt x="75" y="5"/>
                </a:lnTo>
                <a:lnTo>
                  <a:pt x="102" y="0"/>
                </a:lnTo>
                <a:lnTo>
                  <a:pt x="116" y="7"/>
                </a:lnTo>
                <a:lnTo>
                  <a:pt x="114" y="23"/>
                </a:lnTo>
                <a:lnTo>
                  <a:pt x="109" y="39"/>
                </a:lnTo>
                <a:lnTo>
                  <a:pt x="128" y="58"/>
                </a:lnTo>
                <a:lnTo>
                  <a:pt x="117" y="72"/>
                </a:lnTo>
                <a:lnTo>
                  <a:pt x="131" y="97"/>
                </a:lnTo>
                <a:lnTo>
                  <a:pt x="125" y="119"/>
                </a:lnTo>
                <a:lnTo>
                  <a:pt x="148" y="165"/>
                </a:lnTo>
                <a:lnTo>
                  <a:pt x="96" y="209"/>
                </a:lnTo>
                <a:lnTo>
                  <a:pt x="33" y="223"/>
                </a:lnTo>
                <a:lnTo>
                  <a:pt x="30" y="214"/>
                </a:lnTo>
                <a:lnTo>
                  <a:pt x="10" y="208"/>
                </a:lnTo>
                <a:lnTo>
                  <a:pt x="7" y="164"/>
                </a:lnTo>
                <a:lnTo>
                  <a:pt x="67" y="117"/>
                </a:lnTo>
                <a:lnTo>
                  <a:pt x="47" y="94"/>
                </a:lnTo>
                <a:lnTo>
                  <a:pt x="40" y="47"/>
                </a:lnTo>
                <a:lnTo>
                  <a:pt x="0" y="2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5" name="Group 172">
            <a:extLst>
              <a:ext uri="{FF2B5EF4-FFF2-40B4-BE49-F238E27FC236}">
                <a16:creationId xmlns:a16="http://schemas.microsoft.com/office/drawing/2014/main" id="{ACD6C047-D92B-451C-881A-8F071319D4E8}"/>
              </a:ext>
            </a:extLst>
          </p:cNvPr>
          <p:cNvGrpSpPr>
            <a:grpSpLocks/>
          </p:cNvGrpSpPr>
          <p:nvPr/>
        </p:nvGrpSpPr>
        <p:grpSpPr bwMode="auto">
          <a:xfrm>
            <a:off x="3990316" y="4523903"/>
            <a:ext cx="219002" cy="185232"/>
            <a:chOff x="3019" y="2670"/>
            <a:chExt cx="190" cy="167"/>
          </a:xfrm>
          <a:solidFill>
            <a:srgbClr val="00B050"/>
          </a:solidFill>
        </p:grpSpPr>
        <p:sp>
          <p:nvSpPr>
            <p:cNvPr id="258" name="Freeform 759">
              <a:extLst>
                <a:ext uri="{FF2B5EF4-FFF2-40B4-BE49-F238E27FC236}">
                  <a16:creationId xmlns:a16="http://schemas.microsoft.com/office/drawing/2014/main" id="{BD7C503B-09D3-483C-BDBC-F26FD18A18F4}"/>
                </a:ext>
              </a:extLst>
            </p:cNvPr>
            <p:cNvSpPr>
              <a:spLocks/>
            </p:cNvSpPr>
            <p:nvPr/>
          </p:nvSpPr>
          <p:spPr bwMode="auto">
            <a:xfrm>
              <a:off x="3019" y="2670"/>
              <a:ext cx="172" cy="150"/>
            </a:xfrm>
            <a:custGeom>
              <a:avLst/>
              <a:gdLst>
                <a:gd name="T0" fmla="*/ 0 w 172"/>
                <a:gd name="T1" fmla="*/ 45 h 150"/>
                <a:gd name="T2" fmla="*/ 0 w 172"/>
                <a:gd name="T3" fmla="*/ 45 h 150"/>
                <a:gd name="T4" fmla="*/ 5 w 172"/>
                <a:gd name="T5" fmla="*/ 58 h 150"/>
                <a:gd name="T6" fmla="*/ 41 w 172"/>
                <a:gd name="T7" fmla="*/ 67 h 150"/>
                <a:gd name="T8" fmla="*/ 35 w 172"/>
                <a:gd name="T9" fmla="*/ 75 h 150"/>
                <a:gd name="T10" fmla="*/ 48 w 172"/>
                <a:gd name="T11" fmla="*/ 84 h 150"/>
                <a:gd name="T12" fmla="*/ 53 w 172"/>
                <a:gd name="T13" fmla="*/ 101 h 150"/>
                <a:gd name="T14" fmla="*/ 38 w 172"/>
                <a:gd name="T15" fmla="*/ 133 h 150"/>
                <a:gd name="T16" fmla="*/ 81 w 172"/>
                <a:gd name="T17" fmla="*/ 145 h 150"/>
                <a:gd name="T18" fmla="*/ 85 w 172"/>
                <a:gd name="T19" fmla="*/ 147 h 150"/>
                <a:gd name="T20" fmla="*/ 105 w 172"/>
                <a:gd name="T21" fmla="*/ 149 h 150"/>
                <a:gd name="T22" fmla="*/ 105 w 172"/>
                <a:gd name="T23" fmla="*/ 137 h 150"/>
                <a:gd name="T24" fmla="*/ 117 w 172"/>
                <a:gd name="T25" fmla="*/ 130 h 150"/>
                <a:gd name="T26" fmla="*/ 145 w 172"/>
                <a:gd name="T27" fmla="*/ 138 h 150"/>
                <a:gd name="T28" fmla="*/ 163 w 172"/>
                <a:gd name="T29" fmla="*/ 125 h 150"/>
                <a:gd name="T30" fmla="*/ 153 w 172"/>
                <a:gd name="T31" fmla="*/ 107 h 150"/>
                <a:gd name="T32" fmla="*/ 157 w 172"/>
                <a:gd name="T33" fmla="*/ 90 h 150"/>
                <a:gd name="T34" fmla="*/ 143 w 172"/>
                <a:gd name="T35" fmla="*/ 80 h 150"/>
                <a:gd name="T36" fmla="*/ 163 w 172"/>
                <a:gd name="T37" fmla="*/ 60 h 150"/>
                <a:gd name="T38" fmla="*/ 171 w 172"/>
                <a:gd name="T39" fmla="*/ 38 h 150"/>
                <a:gd name="T40" fmla="*/ 146 w 172"/>
                <a:gd name="T41" fmla="*/ 28 h 150"/>
                <a:gd name="T42" fmla="*/ 139 w 172"/>
                <a:gd name="T43" fmla="*/ 26 h 150"/>
                <a:gd name="T44" fmla="*/ 100 w 172"/>
                <a:gd name="T45" fmla="*/ 0 h 150"/>
                <a:gd name="T46" fmla="*/ 86 w 172"/>
                <a:gd name="T47" fmla="*/ 4 h 150"/>
                <a:gd name="T48" fmla="*/ 71 w 172"/>
                <a:gd name="T49" fmla="*/ 29 h 150"/>
                <a:gd name="T50" fmla="*/ 38 w 172"/>
                <a:gd name="T51" fmla="*/ 25 h 150"/>
                <a:gd name="T52" fmla="*/ 43 w 172"/>
                <a:gd name="T53" fmla="*/ 44 h 150"/>
                <a:gd name="T54" fmla="*/ 0 w 172"/>
                <a:gd name="T55" fmla="*/ 45 h 150"/>
                <a:gd name="T56" fmla="*/ 0 w 172"/>
                <a:gd name="T57" fmla="*/ 45 h 15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2"/>
                <a:gd name="T88" fmla="*/ 0 h 150"/>
                <a:gd name="T89" fmla="*/ 172 w 172"/>
                <a:gd name="T90" fmla="*/ 150 h 15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2" h="150">
                  <a:moveTo>
                    <a:pt x="0" y="45"/>
                  </a:moveTo>
                  <a:lnTo>
                    <a:pt x="0" y="45"/>
                  </a:lnTo>
                  <a:lnTo>
                    <a:pt x="5" y="58"/>
                  </a:lnTo>
                  <a:lnTo>
                    <a:pt x="41" y="67"/>
                  </a:lnTo>
                  <a:lnTo>
                    <a:pt x="35" y="75"/>
                  </a:lnTo>
                  <a:lnTo>
                    <a:pt x="48" y="84"/>
                  </a:lnTo>
                  <a:lnTo>
                    <a:pt x="53" y="101"/>
                  </a:lnTo>
                  <a:lnTo>
                    <a:pt x="38" y="133"/>
                  </a:lnTo>
                  <a:lnTo>
                    <a:pt x="81" y="145"/>
                  </a:lnTo>
                  <a:lnTo>
                    <a:pt x="85" y="147"/>
                  </a:lnTo>
                  <a:lnTo>
                    <a:pt x="105" y="149"/>
                  </a:lnTo>
                  <a:lnTo>
                    <a:pt x="105" y="137"/>
                  </a:lnTo>
                  <a:lnTo>
                    <a:pt x="117" y="130"/>
                  </a:lnTo>
                  <a:lnTo>
                    <a:pt x="145" y="138"/>
                  </a:lnTo>
                  <a:lnTo>
                    <a:pt x="163" y="125"/>
                  </a:lnTo>
                  <a:lnTo>
                    <a:pt x="153" y="107"/>
                  </a:lnTo>
                  <a:lnTo>
                    <a:pt x="157" y="90"/>
                  </a:lnTo>
                  <a:lnTo>
                    <a:pt x="143" y="80"/>
                  </a:lnTo>
                  <a:lnTo>
                    <a:pt x="163" y="60"/>
                  </a:lnTo>
                  <a:lnTo>
                    <a:pt x="171" y="38"/>
                  </a:lnTo>
                  <a:lnTo>
                    <a:pt x="146" y="28"/>
                  </a:lnTo>
                  <a:lnTo>
                    <a:pt x="139" y="26"/>
                  </a:lnTo>
                  <a:lnTo>
                    <a:pt x="100" y="0"/>
                  </a:lnTo>
                  <a:lnTo>
                    <a:pt x="86" y="4"/>
                  </a:lnTo>
                  <a:lnTo>
                    <a:pt x="71" y="29"/>
                  </a:lnTo>
                  <a:lnTo>
                    <a:pt x="38" y="25"/>
                  </a:lnTo>
                  <a:lnTo>
                    <a:pt x="43" y="44"/>
                  </a:lnTo>
                  <a:lnTo>
                    <a:pt x="0" y="4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9" name="Freeform 760">
              <a:extLst>
                <a:ext uri="{FF2B5EF4-FFF2-40B4-BE49-F238E27FC236}">
                  <a16:creationId xmlns:a16="http://schemas.microsoft.com/office/drawing/2014/main" id="{33404832-32D5-4822-ABB4-AD4E015DE594}"/>
                </a:ext>
              </a:extLst>
            </p:cNvPr>
            <p:cNvSpPr>
              <a:spLocks/>
            </p:cNvSpPr>
            <p:nvPr/>
          </p:nvSpPr>
          <p:spPr bwMode="auto">
            <a:xfrm>
              <a:off x="3198" y="2808"/>
              <a:ext cx="11" cy="29"/>
            </a:xfrm>
            <a:custGeom>
              <a:avLst/>
              <a:gdLst>
                <a:gd name="T0" fmla="*/ 0 w 11"/>
                <a:gd name="T1" fmla="*/ 14 h 29"/>
                <a:gd name="T2" fmla="*/ 0 w 11"/>
                <a:gd name="T3" fmla="*/ 14 h 29"/>
                <a:gd name="T4" fmla="*/ 9 w 11"/>
                <a:gd name="T5" fmla="*/ 28 h 29"/>
                <a:gd name="T6" fmla="*/ 10 w 11"/>
                <a:gd name="T7" fmla="*/ 0 h 29"/>
                <a:gd name="T8" fmla="*/ 0 w 11"/>
                <a:gd name="T9" fmla="*/ 14 h 29"/>
                <a:gd name="T10" fmla="*/ 0 w 11"/>
                <a:gd name="T11" fmla="*/ 14 h 29"/>
                <a:gd name="T12" fmla="*/ 0 60000 65536"/>
                <a:gd name="T13" fmla="*/ 0 60000 65536"/>
                <a:gd name="T14" fmla="*/ 0 60000 65536"/>
                <a:gd name="T15" fmla="*/ 0 60000 65536"/>
                <a:gd name="T16" fmla="*/ 0 60000 65536"/>
                <a:gd name="T17" fmla="*/ 0 60000 65536"/>
                <a:gd name="T18" fmla="*/ 0 w 11"/>
                <a:gd name="T19" fmla="*/ 0 h 29"/>
                <a:gd name="T20" fmla="*/ 11 w 1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1" h="29">
                  <a:moveTo>
                    <a:pt x="0" y="14"/>
                  </a:moveTo>
                  <a:lnTo>
                    <a:pt x="0" y="14"/>
                  </a:lnTo>
                  <a:lnTo>
                    <a:pt x="9" y="28"/>
                  </a:lnTo>
                  <a:lnTo>
                    <a:pt x="10" y="0"/>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56" name="Freeform 761">
            <a:extLst>
              <a:ext uri="{FF2B5EF4-FFF2-40B4-BE49-F238E27FC236}">
                <a16:creationId xmlns:a16="http://schemas.microsoft.com/office/drawing/2014/main" id="{88B98B20-4520-41ED-9304-72DC955877E3}"/>
              </a:ext>
            </a:extLst>
          </p:cNvPr>
          <p:cNvSpPr>
            <a:spLocks/>
          </p:cNvSpPr>
          <p:nvPr/>
        </p:nvSpPr>
        <p:spPr bwMode="auto">
          <a:xfrm>
            <a:off x="4156757" y="4446822"/>
            <a:ext cx="132860" cy="147375"/>
          </a:xfrm>
          <a:custGeom>
            <a:avLst/>
            <a:gdLst>
              <a:gd name="T0" fmla="*/ 0 w 119"/>
              <a:gd name="T1" fmla="*/ 91405696 h 133"/>
              <a:gd name="T2" fmla="*/ 0 w 119"/>
              <a:gd name="T3" fmla="*/ 91405696 h 133"/>
              <a:gd name="T4" fmla="*/ 0 w 119"/>
              <a:gd name="T5" fmla="*/ 128645278 h 133"/>
              <a:gd name="T6" fmla="*/ 1473755 w 119"/>
              <a:gd name="T7" fmla="*/ 145571769 h 133"/>
              <a:gd name="T8" fmla="*/ 4421266 w 119"/>
              <a:gd name="T9" fmla="*/ 164192211 h 133"/>
              <a:gd name="T10" fmla="*/ 41263940 w 119"/>
              <a:gd name="T11" fmla="*/ 181118743 h 133"/>
              <a:gd name="T12" fmla="*/ 29473892 w 119"/>
              <a:gd name="T13" fmla="*/ 218358325 h 133"/>
              <a:gd name="T14" fmla="*/ 69264067 w 119"/>
              <a:gd name="T15" fmla="*/ 223436272 h 133"/>
              <a:gd name="T16" fmla="*/ 137055594 w 119"/>
              <a:gd name="T17" fmla="*/ 221743623 h 133"/>
              <a:gd name="T18" fmla="*/ 154739438 w 119"/>
              <a:gd name="T19" fmla="*/ 186196690 h 133"/>
              <a:gd name="T20" fmla="*/ 119370536 w 119"/>
              <a:gd name="T21" fmla="*/ 140493822 h 133"/>
              <a:gd name="T22" fmla="*/ 162108250 w 119"/>
              <a:gd name="T23" fmla="*/ 115104085 h 133"/>
              <a:gd name="T24" fmla="*/ 173898288 w 119"/>
              <a:gd name="T25" fmla="*/ 123567330 h 133"/>
              <a:gd name="T26" fmla="*/ 162108250 w 119"/>
              <a:gd name="T27" fmla="*/ 33854294 h 133"/>
              <a:gd name="T28" fmla="*/ 129686820 w 119"/>
              <a:gd name="T29" fmla="*/ 11848549 h 133"/>
              <a:gd name="T30" fmla="*/ 94317918 w 119"/>
              <a:gd name="T31" fmla="*/ 27083697 h 133"/>
              <a:gd name="T32" fmla="*/ 100212937 w 119"/>
              <a:gd name="T33" fmla="*/ 16926496 h 133"/>
              <a:gd name="T34" fmla="*/ 69264067 w 119"/>
              <a:gd name="T35" fmla="*/ 0 h 133"/>
              <a:gd name="T36" fmla="*/ 53053978 w 119"/>
              <a:gd name="T37" fmla="*/ 0 h 133"/>
              <a:gd name="T38" fmla="*/ 53053978 w 119"/>
              <a:gd name="T39" fmla="*/ 49088146 h 133"/>
              <a:gd name="T40" fmla="*/ 33895156 w 119"/>
              <a:gd name="T41" fmla="*/ 35546943 h 133"/>
              <a:gd name="T42" fmla="*/ 23578873 w 119"/>
              <a:gd name="T43" fmla="*/ 50780795 h 133"/>
              <a:gd name="T44" fmla="*/ 20632577 w 119"/>
              <a:gd name="T45" fmla="*/ 81249781 h 133"/>
              <a:gd name="T46" fmla="*/ 0 w 119"/>
              <a:gd name="T47" fmla="*/ 91405696 h 133"/>
              <a:gd name="T48" fmla="*/ 0 w 119"/>
              <a:gd name="T49" fmla="*/ 91405696 h 1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9"/>
              <a:gd name="T76" fmla="*/ 0 h 133"/>
              <a:gd name="T77" fmla="*/ 119 w 119"/>
              <a:gd name="T78" fmla="*/ 133 h 1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9" h="133">
                <a:moveTo>
                  <a:pt x="0" y="54"/>
                </a:moveTo>
                <a:lnTo>
                  <a:pt x="0" y="54"/>
                </a:lnTo>
                <a:lnTo>
                  <a:pt x="0" y="76"/>
                </a:lnTo>
                <a:lnTo>
                  <a:pt x="1" y="86"/>
                </a:lnTo>
                <a:lnTo>
                  <a:pt x="3" y="97"/>
                </a:lnTo>
                <a:lnTo>
                  <a:pt x="28" y="107"/>
                </a:lnTo>
                <a:lnTo>
                  <a:pt x="20" y="129"/>
                </a:lnTo>
                <a:lnTo>
                  <a:pt x="47" y="132"/>
                </a:lnTo>
                <a:lnTo>
                  <a:pt x="93" y="131"/>
                </a:lnTo>
                <a:lnTo>
                  <a:pt x="105" y="110"/>
                </a:lnTo>
                <a:lnTo>
                  <a:pt x="81" y="83"/>
                </a:lnTo>
                <a:lnTo>
                  <a:pt x="110" y="68"/>
                </a:lnTo>
                <a:lnTo>
                  <a:pt x="118" y="73"/>
                </a:lnTo>
                <a:lnTo>
                  <a:pt x="110" y="20"/>
                </a:lnTo>
                <a:lnTo>
                  <a:pt x="88" y="7"/>
                </a:lnTo>
                <a:lnTo>
                  <a:pt x="64" y="16"/>
                </a:lnTo>
                <a:lnTo>
                  <a:pt x="68" y="10"/>
                </a:lnTo>
                <a:lnTo>
                  <a:pt x="47" y="0"/>
                </a:lnTo>
                <a:lnTo>
                  <a:pt x="36" y="0"/>
                </a:lnTo>
                <a:lnTo>
                  <a:pt x="36" y="29"/>
                </a:lnTo>
                <a:lnTo>
                  <a:pt x="23" y="21"/>
                </a:lnTo>
                <a:lnTo>
                  <a:pt x="16" y="30"/>
                </a:lnTo>
                <a:lnTo>
                  <a:pt x="14" y="48"/>
                </a:lnTo>
                <a:lnTo>
                  <a:pt x="0" y="5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7" name="Group 176">
            <a:extLst>
              <a:ext uri="{FF2B5EF4-FFF2-40B4-BE49-F238E27FC236}">
                <a16:creationId xmlns:a16="http://schemas.microsoft.com/office/drawing/2014/main" id="{1E8CE4FC-8542-4C58-AEAC-96EB4CD31F91}"/>
              </a:ext>
            </a:extLst>
          </p:cNvPr>
          <p:cNvGrpSpPr>
            <a:grpSpLocks/>
          </p:cNvGrpSpPr>
          <p:nvPr/>
        </p:nvGrpSpPr>
        <p:grpSpPr bwMode="auto">
          <a:xfrm>
            <a:off x="4377219" y="4699657"/>
            <a:ext cx="100741" cy="117629"/>
            <a:chOff x="3356" y="2828"/>
            <a:chExt cx="86" cy="106"/>
          </a:xfrm>
          <a:solidFill>
            <a:srgbClr val="00B050"/>
          </a:solidFill>
        </p:grpSpPr>
        <p:sp>
          <p:nvSpPr>
            <p:cNvPr id="256" name="Freeform 763">
              <a:extLst>
                <a:ext uri="{FF2B5EF4-FFF2-40B4-BE49-F238E27FC236}">
                  <a16:creationId xmlns:a16="http://schemas.microsoft.com/office/drawing/2014/main" id="{4AC67763-A7E7-44D7-BB4F-F145A5B5E7CC}"/>
                </a:ext>
              </a:extLst>
            </p:cNvPr>
            <p:cNvSpPr>
              <a:spLocks/>
            </p:cNvSpPr>
            <p:nvPr/>
          </p:nvSpPr>
          <p:spPr bwMode="auto">
            <a:xfrm>
              <a:off x="3356" y="2828"/>
              <a:ext cx="86" cy="86"/>
            </a:xfrm>
            <a:custGeom>
              <a:avLst/>
              <a:gdLst>
                <a:gd name="T0" fmla="*/ 0 w 86"/>
                <a:gd name="T1" fmla="*/ 34 h 86"/>
                <a:gd name="T2" fmla="*/ 0 w 86"/>
                <a:gd name="T3" fmla="*/ 34 h 86"/>
                <a:gd name="T4" fmla="*/ 11 w 86"/>
                <a:gd name="T5" fmla="*/ 15 h 86"/>
                <a:gd name="T6" fmla="*/ 38 w 86"/>
                <a:gd name="T7" fmla="*/ 8 h 86"/>
                <a:gd name="T8" fmla="*/ 72 w 86"/>
                <a:gd name="T9" fmla="*/ 8 h 86"/>
                <a:gd name="T10" fmla="*/ 85 w 86"/>
                <a:gd name="T11" fmla="*/ 0 h 86"/>
                <a:gd name="T12" fmla="*/ 80 w 86"/>
                <a:gd name="T13" fmla="*/ 18 h 86"/>
                <a:gd name="T14" fmla="*/ 57 w 86"/>
                <a:gd name="T15" fmla="*/ 14 h 86"/>
                <a:gd name="T16" fmla="*/ 46 w 86"/>
                <a:gd name="T17" fmla="*/ 29 h 86"/>
                <a:gd name="T18" fmla="*/ 33 w 86"/>
                <a:gd name="T19" fmla="*/ 21 h 86"/>
                <a:gd name="T20" fmla="*/ 42 w 86"/>
                <a:gd name="T21" fmla="*/ 43 h 86"/>
                <a:gd name="T22" fmla="*/ 31 w 86"/>
                <a:gd name="T23" fmla="*/ 48 h 86"/>
                <a:gd name="T24" fmla="*/ 52 w 86"/>
                <a:gd name="T25" fmla="*/ 57 h 86"/>
                <a:gd name="T26" fmla="*/ 52 w 86"/>
                <a:gd name="T27" fmla="*/ 66 h 86"/>
                <a:gd name="T28" fmla="*/ 35 w 86"/>
                <a:gd name="T29" fmla="*/ 69 h 86"/>
                <a:gd name="T30" fmla="*/ 41 w 86"/>
                <a:gd name="T31" fmla="*/ 85 h 86"/>
                <a:gd name="T32" fmla="*/ 20 w 86"/>
                <a:gd name="T33" fmla="*/ 80 h 86"/>
                <a:gd name="T34" fmla="*/ 14 w 86"/>
                <a:gd name="T35" fmla="*/ 65 h 86"/>
                <a:gd name="T36" fmla="*/ 41 w 86"/>
                <a:gd name="T37" fmla="*/ 58 h 86"/>
                <a:gd name="T38" fmla="*/ 14 w 86"/>
                <a:gd name="T39" fmla="*/ 56 h 86"/>
                <a:gd name="T40" fmla="*/ 0 w 86"/>
                <a:gd name="T41" fmla="*/ 34 h 86"/>
                <a:gd name="T42" fmla="*/ 0 w 86"/>
                <a:gd name="T43" fmla="*/ 34 h 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86"/>
                <a:gd name="T68" fmla="*/ 86 w 86"/>
                <a:gd name="T69" fmla="*/ 86 h 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86">
                  <a:moveTo>
                    <a:pt x="0" y="34"/>
                  </a:moveTo>
                  <a:lnTo>
                    <a:pt x="0" y="34"/>
                  </a:lnTo>
                  <a:lnTo>
                    <a:pt x="11" y="15"/>
                  </a:lnTo>
                  <a:lnTo>
                    <a:pt x="38" y="8"/>
                  </a:lnTo>
                  <a:lnTo>
                    <a:pt x="72" y="8"/>
                  </a:lnTo>
                  <a:lnTo>
                    <a:pt x="85" y="0"/>
                  </a:lnTo>
                  <a:lnTo>
                    <a:pt x="80" y="18"/>
                  </a:lnTo>
                  <a:lnTo>
                    <a:pt x="57" y="14"/>
                  </a:lnTo>
                  <a:lnTo>
                    <a:pt x="46" y="29"/>
                  </a:lnTo>
                  <a:lnTo>
                    <a:pt x="33" y="21"/>
                  </a:lnTo>
                  <a:lnTo>
                    <a:pt x="42" y="43"/>
                  </a:lnTo>
                  <a:lnTo>
                    <a:pt x="31" y="48"/>
                  </a:lnTo>
                  <a:lnTo>
                    <a:pt x="52" y="57"/>
                  </a:lnTo>
                  <a:lnTo>
                    <a:pt x="52" y="66"/>
                  </a:lnTo>
                  <a:lnTo>
                    <a:pt x="35" y="69"/>
                  </a:lnTo>
                  <a:lnTo>
                    <a:pt x="41" y="85"/>
                  </a:lnTo>
                  <a:lnTo>
                    <a:pt x="20" y="80"/>
                  </a:lnTo>
                  <a:lnTo>
                    <a:pt x="14" y="65"/>
                  </a:lnTo>
                  <a:lnTo>
                    <a:pt x="41" y="58"/>
                  </a:lnTo>
                  <a:lnTo>
                    <a:pt x="14" y="56"/>
                  </a:lnTo>
                  <a:lnTo>
                    <a:pt x="0" y="3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7" name="Freeform 764">
              <a:extLst>
                <a:ext uri="{FF2B5EF4-FFF2-40B4-BE49-F238E27FC236}">
                  <a16:creationId xmlns:a16="http://schemas.microsoft.com/office/drawing/2014/main" id="{1313848B-8C14-4024-BD20-CE60618ECDBE}"/>
                </a:ext>
              </a:extLst>
            </p:cNvPr>
            <p:cNvSpPr>
              <a:spLocks/>
            </p:cNvSpPr>
            <p:nvPr/>
          </p:nvSpPr>
          <p:spPr bwMode="auto">
            <a:xfrm>
              <a:off x="3401" y="2927"/>
              <a:ext cx="41" cy="7"/>
            </a:xfrm>
            <a:custGeom>
              <a:avLst/>
              <a:gdLst>
                <a:gd name="T0" fmla="*/ 0 w 41"/>
                <a:gd name="T1" fmla="*/ 6 h 7"/>
                <a:gd name="T2" fmla="*/ 0 w 41"/>
                <a:gd name="T3" fmla="*/ 6 h 7"/>
                <a:gd name="T4" fmla="*/ 3 w 41"/>
                <a:gd name="T5" fmla="*/ 0 h 7"/>
                <a:gd name="T6" fmla="*/ 40 w 41"/>
                <a:gd name="T7" fmla="*/ 6 h 7"/>
                <a:gd name="T8" fmla="*/ 13 w 41"/>
                <a:gd name="T9" fmla="*/ 6 h 7"/>
                <a:gd name="T10" fmla="*/ 0 w 41"/>
                <a:gd name="T11" fmla="*/ 6 h 7"/>
                <a:gd name="T12" fmla="*/ 0 w 41"/>
                <a:gd name="T13" fmla="*/ 6 h 7"/>
                <a:gd name="T14" fmla="*/ 0 60000 65536"/>
                <a:gd name="T15" fmla="*/ 0 60000 65536"/>
                <a:gd name="T16" fmla="*/ 0 60000 65536"/>
                <a:gd name="T17" fmla="*/ 0 60000 65536"/>
                <a:gd name="T18" fmla="*/ 0 60000 65536"/>
                <a:gd name="T19" fmla="*/ 0 60000 65536"/>
                <a:gd name="T20" fmla="*/ 0 60000 65536"/>
                <a:gd name="T21" fmla="*/ 0 w 41"/>
                <a:gd name="T22" fmla="*/ 0 h 7"/>
                <a:gd name="T23" fmla="*/ 41 w 4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7">
                  <a:moveTo>
                    <a:pt x="0" y="6"/>
                  </a:moveTo>
                  <a:lnTo>
                    <a:pt x="0" y="6"/>
                  </a:lnTo>
                  <a:lnTo>
                    <a:pt x="3" y="0"/>
                  </a:lnTo>
                  <a:lnTo>
                    <a:pt x="40" y="6"/>
                  </a:lnTo>
                  <a:lnTo>
                    <a:pt x="13" y="6"/>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58" name="Freeform 765">
            <a:extLst>
              <a:ext uri="{FF2B5EF4-FFF2-40B4-BE49-F238E27FC236}">
                <a16:creationId xmlns:a16="http://schemas.microsoft.com/office/drawing/2014/main" id="{9E8DA2CC-D49D-41A6-B0D6-42D3BDA7D0F4}"/>
              </a:ext>
            </a:extLst>
          </p:cNvPr>
          <p:cNvSpPr>
            <a:spLocks/>
          </p:cNvSpPr>
          <p:nvPr/>
        </p:nvSpPr>
        <p:spPr bwMode="auto">
          <a:xfrm>
            <a:off x="4311519" y="4575268"/>
            <a:ext cx="108042" cy="52729"/>
          </a:xfrm>
          <a:custGeom>
            <a:avLst/>
            <a:gdLst>
              <a:gd name="T0" fmla="*/ 0 w 93"/>
              <a:gd name="T1" fmla="*/ 44700470 h 49"/>
              <a:gd name="T2" fmla="*/ 0 w 93"/>
              <a:gd name="T3" fmla="*/ 44700470 h 49"/>
              <a:gd name="T4" fmla="*/ 22337937 w 93"/>
              <a:gd name="T5" fmla="*/ 12771562 h 49"/>
              <a:gd name="T6" fmla="*/ 52655329 w 93"/>
              <a:gd name="T7" fmla="*/ 20754422 h 49"/>
              <a:gd name="T8" fmla="*/ 102118623 w 93"/>
              <a:gd name="T9" fmla="*/ 0 h 49"/>
              <a:gd name="T10" fmla="*/ 132434743 w 93"/>
              <a:gd name="T11" fmla="*/ 4789967 h 49"/>
              <a:gd name="T12" fmla="*/ 146795741 w 93"/>
              <a:gd name="T13" fmla="*/ 15964451 h 49"/>
              <a:gd name="T14" fmla="*/ 90949660 w 93"/>
              <a:gd name="T15" fmla="*/ 67050695 h 49"/>
              <a:gd name="T16" fmla="*/ 43081751 w 93"/>
              <a:gd name="T17" fmla="*/ 76629363 h 49"/>
              <a:gd name="T18" fmla="*/ 0 w 93"/>
              <a:gd name="T19" fmla="*/ 44700470 h 49"/>
              <a:gd name="T20" fmla="*/ 0 w 93"/>
              <a:gd name="T21" fmla="*/ 4470047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49"/>
              <a:gd name="T35" fmla="*/ 93 w 93"/>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49">
                <a:moveTo>
                  <a:pt x="0" y="28"/>
                </a:moveTo>
                <a:lnTo>
                  <a:pt x="0" y="28"/>
                </a:lnTo>
                <a:lnTo>
                  <a:pt x="14" y="8"/>
                </a:lnTo>
                <a:lnTo>
                  <a:pt x="33" y="13"/>
                </a:lnTo>
                <a:lnTo>
                  <a:pt x="64" y="0"/>
                </a:lnTo>
                <a:lnTo>
                  <a:pt x="83" y="3"/>
                </a:lnTo>
                <a:lnTo>
                  <a:pt x="92" y="10"/>
                </a:lnTo>
                <a:lnTo>
                  <a:pt x="57" y="42"/>
                </a:lnTo>
                <a:lnTo>
                  <a:pt x="27" y="48"/>
                </a:lnTo>
                <a:lnTo>
                  <a:pt x="0" y="2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9" name="Group 180">
            <a:extLst>
              <a:ext uri="{FF2B5EF4-FFF2-40B4-BE49-F238E27FC236}">
                <a16:creationId xmlns:a16="http://schemas.microsoft.com/office/drawing/2014/main" id="{155A94F1-B6C3-4A95-9ED1-AF256CBD2141}"/>
              </a:ext>
            </a:extLst>
          </p:cNvPr>
          <p:cNvGrpSpPr>
            <a:grpSpLocks/>
          </p:cNvGrpSpPr>
          <p:nvPr/>
        </p:nvGrpSpPr>
        <p:grpSpPr bwMode="auto">
          <a:xfrm>
            <a:off x="4166977" y="4602310"/>
            <a:ext cx="185421" cy="190639"/>
            <a:chOff x="3172" y="2740"/>
            <a:chExt cx="161" cy="170"/>
          </a:xfrm>
          <a:solidFill>
            <a:srgbClr val="00B050"/>
          </a:solidFill>
        </p:grpSpPr>
        <p:sp>
          <p:nvSpPr>
            <p:cNvPr id="253" name="Freeform 767">
              <a:extLst>
                <a:ext uri="{FF2B5EF4-FFF2-40B4-BE49-F238E27FC236}">
                  <a16:creationId xmlns:a16="http://schemas.microsoft.com/office/drawing/2014/main" id="{BB015216-6946-4F91-A441-9A7C82F9FFDE}"/>
                </a:ext>
              </a:extLst>
            </p:cNvPr>
            <p:cNvSpPr>
              <a:spLocks/>
            </p:cNvSpPr>
            <p:nvPr/>
          </p:nvSpPr>
          <p:spPr bwMode="auto">
            <a:xfrm>
              <a:off x="3172" y="2740"/>
              <a:ext cx="161" cy="151"/>
            </a:xfrm>
            <a:custGeom>
              <a:avLst/>
              <a:gdLst>
                <a:gd name="T0" fmla="*/ 0 w 161"/>
                <a:gd name="T1" fmla="*/ 37 h 151"/>
                <a:gd name="T2" fmla="*/ 0 w 161"/>
                <a:gd name="T3" fmla="*/ 37 h 151"/>
                <a:gd name="T4" fmla="*/ 4 w 161"/>
                <a:gd name="T5" fmla="*/ 20 h 151"/>
                <a:gd name="T6" fmla="*/ 23 w 161"/>
                <a:gd name="T7" fmla="*/ 11 h 151"/>
                <a:gd name="T8" fmla="*/ 31 w 161"/>
                <a:gd name="T9" fmla="*/ 19 h 151"/>
                <a:gd name="T10" fmla="*/ 50 w 161"/>
                <a:gd name="T11" fmla="*/ 4 h 151"/>
                <a:gd name="T12" fmla="*/ 72 w 161"/>
                <a:gd name="T13" fmla="*/ 0 h 151"/>
                <a:gd name="T14" fmla="*/ 95 w 161"/>
                <a:gd name="T15" fmla="*/ 10 h 151"/>
                <a:gd name="T16" fmla="*/ 95 w 161"/>
                <a:gd name="T17" fmla="*/ 27 h 151"/>
                <a:gd name="T18" fmla="*/ 76 w 161"/>
                <a:gd name="T19" fmla="*/ 29 h 151"/>
                <a:gd name="T20" fmla="*/ 78 w 161"/>
                <a:gd name="T21" fmla="*/ 50 h 151"/>
                <a:gd name="T22" fmla="*/ 108 w 161"/>
                <a:gd name="T23" fmla="*/ 83 h 151"/>
                <a:gd name="T24" fmla="*/ 127 w 161"/>
                <a:gd name="T25" fmla="*/ 86 h 151"/>
                <a:gd name="T26" fmla="*/ 126 w 161"/>
                <a:gd name="T27" fmla="*/ 93 h 151"/>
                <a:gd name="T28" fmla="*/ 160 w 161"/>
                <a:gd name="T29" fmla="*/ 115 h 151"/>
                <a:gd name="T30" fmla="*/ 136 w 161"/>
                <a:gd name="T31" fmla="*/ 112 h 151"/>
                <a:gd name="T32" fmla="*/ 141 w 161"/>
                <a:gd name="T33" fmla="*/ 133 h 151"/>
                <a:gd name="T34" fmla="*/ 127 w 161"/>
                <a:gd name="T35" fmla="*/ 150 h 151"/>
                <a:gd name="T36" fmla="*/ 121 w 161"/>
                <a:gd name="T37" fmla="*/ 116 h 151"/>
                <a:gd name="T38" fmla="*/ 61 w 161"/>
                <a:gd name="T39" fmla="*/ 78 h 151"/>
                <a:gd name="T40" fmla="*/ 47 w 161"/>
                <a:gd name="T41" fmla="*/ 53 h 151"/>
                <a:gd name="T42" fmla="*/ 28 w 161"/>
                <a:gd name="T43" fmla="*/ 45 h 151"/>
                <a:gd name="T44" fmla="*/ 10 w 161"/>
                <a:gd name="T45" fmla="*/ 55 h 151"/>
                <a:gd name="T46" fmla="*/ 0 w 161"/>
                <a:gd name="T47" fmla="*/ 37 h 151"/>
                <a:gd name="T48" fmla="*/ 0 w 161"/>
                <a:gd name="T49" fmla="*/ 37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1"/>
                <a:gd name="T76" fmla="*/ 0 h 151"/>
                <a:gd name="T77" fmla="*/ 161 w 161"/>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1" h="151">
                  <a:moveTo>
                    <a:pt x="0" y="37"/>
                  </a:moveTo>
                  <a:lnTo>
                    <a:pt x="0" y="37"/>
                  </a:lnTo>
                  <a:lnTo>
                    <a:pt x="4" y="20"/>
                  </a:lnTo>
                  <a:lnTo>
                    <a:pt x="23" y="11"/>
                  </a:lnTo>
                  <a:lnTo>
                    <a:pt x="31" y="19"/>
                  </a:lnTo>
                  <a:lnTo>
                    <a:pt x="50" y="4"/>
                  </a:lnTo>
                  <a:lnTo>
                    <a:pt x="72" y="0"/>
                  </a:lnTo>
                  <a:lnTo>
                    <a:pt x="95" y="10"/>
                  </a:lnTo>
                  <a:lnTo>
                    <a:pt x="95" y="27"/>
                  </a:lnTo>
                  <a:lnTo>
                    <a:pt x="76" y="29"/>
                  </a:lnTo>
                  <a:lnTo>
                    <a:pt x="78" y="50"/>
                  </a:lnTo>
                  <a:lnTo>
                    <a:pt x="108" y="83"/>
                  </a:lnTo>
                  <a:lnTo>
                    <a:pt x="127" y="86"/>
                  </a:lnTo>
                  <a:lnTo>
                    <a:pt x="126" y="93"/>
                  </a:lnTo>
                  <a:lnTo>
                    <a:pt x="160" y="115"/>
                  </a:lnTo>
                  <a:lnTo>
                    <a:pt x="136" y="112"/>
                  </a:lnTo>
                  <a:lnTo>
                    <a:pt x="141" y="133"/>
                  </a:lnTo>
                  <a:lnTo>
                    <a:pt x="127" y="150"/>
                  </a:lnTo>
                  <a:lnTo>
                    <a:pt x="121" y="116"/>
                  </a:lnTo>
                  <a:lnTo>
                    <a:pt x="61" y="78"/>
                  </a:lnTo>
                  <a:lnTo>
                    <a:pt x="47" y="53"/>
                  </a:lnTo>
                  <a:lnTo>
                    <a:pt x="28" y="45"/>
                  </a:lnTo>
                  <a:lnTo>
                    <a:pt x="10" y="55"/>
                  </a:lnTo>
                  <a:lnTo>
                    <a:pt x="0" y="3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4" name="Freeform 768">
              <a:extLst>
                <a:ext uri="{FF2B5EF4-FFF2-40B4-BE49-F238E27FC236}">
                  <a16:creationId xmlns:a16="http://schemas.microsoft.com/office/drawing/2014/main" id="{6D16BABE-42DC-4409-AD87-E6921DA14DCC}"/>
                </a:ext>
              </a:extLst>
            </p:cNvPr>
            <p:cNvSpPr>
              <a:spLocks/>
            </p:cNvSpPr>
            <p:nvPr/>
          </p:nvSpPr>
          <p:spPr bwMode="auto">
            <a:xfrm>
              <a:off x="3192" y="2836"/>
              <a:ext cx="21" cy="38"/>
            </a:xfrm>
            <a:custGeom>
              <a:avLst/>
              <a:gdLst>
                <a:gd name="T0" fmla="*/ 0 w 21"/>
                <a:gd name="T1" fmla="*/ 6 h 38"/>
                <a:gd name="T2" fmla="*/ 0 w 21"/>
                <a:gd name="T3" fmla="*/ 6 h 38"/>
                <a:gd name="T4" fmla="*/ 4 w 21"/>
                <a:gd name="T5" fmla="*/ 34 h 38"/>
                <a:gd name="T6" fmla="*/ 12 w 21"/>
                <a:gd name="T7" fmla="*/ 37 h 38"/>
                <a:gd name="T8" fmla="*/ 20 w 21"/>
                <a:gd name="T9" fmla="*/ 15 h 38"/>
                <a:gd name="T10" fmla="*/ 13 w 21"/>
                <a:gd name="T11" fmla="*/ 0 h 38"/>
                <a:gd name="T12" fmla="*/ 0 w 21"/>
                <a:gd name="T13" fmla="*/ 6 h 38"/>
                <a:gd name="T14" fmla="*/ 0 w 21"/>
                <a:gd name="T15" fmla="*/ 6 h 38"/>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38"/>
                <a:gd name="T26" fmla="*/ 21 w 21"/>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38">
                  <a:moveTo>
                    <a:pt x="0" y="6"/>
                  </a:moveTo>
                  <a:lnTo>
                    <a:pt x="0" y="6"/>
                  </a:lnTo>
                  <a:lnTo>
                    <a:pt x="4" y="34"/>
                  </a:lnTo>
                  <a:lnTo>
                    <a:pt x="12" y="37"/>
                  </a:lnTo>
                  <a:lnTo>
                    <a:pt x="20" y="15"/>
                  </a:lnTo>
                  <a:lnTo>
                    <a:pt x="13" y="0"/>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5" name="Freeform 769">
              <a:extLst>
                <a:ext uri="{FF2B5EF4-FFF2-40B4-BE49-F238E27FC236}">
                  <a16:creationId xmlns:a16="http://schemas.microsoft.com/office/drawing/2014/main" id="{884A3FEA-302A-4650-B628-684E3877AEB4}"/>
                </a:ext>
              </a:extLst>
            </p:cNvPr>
            <p:cNvSpPr>
              <a:spLocks/>
            </p:cNvSpPr>
            <p:nvPr/>
          </p:nvSpPr>
          <p:spPr bwMode="auto">
            <a:xfrm>
              <a:off x="3251" y="2885"/>
              <a:ext cx="43" cy="25"/>
            </a:xfrm>
            <a:custGeom>
              <a:avLst/>
              <a:gdLst>
                <a:gd name="T0" fmla="*/ 0 w 43"/>
                <a:gd name="T1" fmla="*/ 5 h 25"/>
                <a:gd name="T2" fmla="*/ 0 w 43"/>
                <a:gd name="T3" fmla="*/ 5 h 25"/>
                <a:gd name="T4" fmla="*/ 35 w 43"/>
                <a:gd name="T5" fmla="*/ 24 h 25"/>
                <a:gd name="T6" fmla="*/ 42 w 43"/>
                <a:gd name="T7" fmla="*/ 0 h 25"/>
                <a:gd name="T8" fmla="*/ 0 w 43"/>
                <a:gd name="T9" fmla="*/ 5 h 25"/>
                <a:gd name="T10" fmla="*/ 0 w 43"/>
                <a:gd name="T11" fmla="*/ 5 h 25"/>
                <a:gd name="T12" fmla="*/ 0 60000 65536"/>
                <a:gd name="T13" fmla="*/ 0 60000 65536"/>
                <a:gd name="T14" fmla="*/ 0 60000 65536"/>
                <a:gd name="T15" fmla="*/ 0 60000 65536"/>
                <a:gd name="T16" fmla="*/ 0 60000 65536"/>
                <a:gd name="T17" fmla="*/ 0 60000 65536"/>
                <a:gd name="T18" fmla="*/ 0 w 43"/>
                <a:gd name="T19" fmla="*/ 0 h 25"/>
                <a:gd name="T20" fmla="*/ 43 w 43"/>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43" h="25">
                  <a:moveTo>
                    <a:pt x="0" y="5"/>
                  </a:moveTo>
                  <a:lnTo>
                    <a:pt x="0" y="5"/>
                  </a:lnTo>
                  <a:lnTo>
                    <a:pt x="35" y="24"/>
                  </a:lnTo>
                  <a:lnTo>
                    <a:pt x="42" y="0"/>
                  </a:lnTo>
                  <a:lnTo>
                    <a:pt x="0" y="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60" name="Freeform 770">
            <a:extLst>
              <a:ext uri="{FF2B5EF4-FFF2-40B4-BE49-F238E27FC236}">
                <a16:creationId xmlns:a16="http://schemas.microsoft.com/office/drawing/2014/main" id="{5C3FA1B3-B4AC-48D4-B714-2D1BA93D0790}"/>
              </a:ext>
            </a:extLst>
          </p:cNvPr>
          <p:cNvSpPr>
            <a:spLocks/>
          </p:cNvSpPr>
          <p:nvPr/>
        </p:nvSpPr>
        <p:spPr bwMode="auto">
          <a:xfrm>
            <a:off x="4150918" y="4542819"/>
            <a:ext cx="8760" cy="14872"/>
          </a:xfrm>
          <a:custGeom>
            <a:avLst/>
            <a:gdLst>
              <a:gd name="T0" fmla="*/ 0 w 8"/>
              <a:gd name="T1" fmla="*/ 19058317 h 12"/>
              <a:gd name="T2" fmla="*/ 0 w 8"/>
              <a:gd name="T3" fmla="*/ 19058317 h 12"/>
              <a:gd name="T4" fmla="*/ 7087790 w 8"/>
              <a:gd name="T5" fmla="*/ 0 h 12"/>
              <a:gd name="T6" fmla="*/ 9922669 w 8"/>
              <a:gd name="T7" fmla="*/ 23292851 h 12"/>
              <a:gd name="T8" fmla="*/ 0 w 8"/>
              <a:gd name="T9" fmla="*/ 19058317 h 12"/>
              <a:gd name="T10" fmla="*/ 0 w 8"/>
              <a:gd name="T11" fmla="*/ 19058317 h 12"/>
              <a:gd name="T12" fmla="*/ 0 60000 65536"/>
              <a:gd name="T13" fmla="*/ 0 60000 65536"/>
              <a:gd name="T14" fmla="*/ 0 60000 65536"/>
              <a:gd name="T15" fmla="*/ 0 60000 65536"/>
              <a:gd name="T16" fmla="*/ 0 60000 65536"/>
              <a:gd name="T17" fmla="*/ 0 60000 65536"/>
              <a:gd name="T18" fmla="*/ 0 w 8"/>
              <a:gd name="T19" fmla="*/ 0 h 12"/>
              <a:gd name="T20" fmla="*/ 8 w 8"/>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8" h="12">
                <a:moveTo>
                  <a:pt x="0" y="9"/>
                </a:moveTo>
                <a:lnTo>
                  <a:pt x="0" y="9"/>
                </a:lnTo>
                <a:lnTo>
                  <a:pt x="5" y="0"/>
                </a:lnTo>
                <a:lnTo>
                  <a:pt x="7" y="11"/>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1" name="Freeform 771">
            <a:extLst>
              <a:ext uri="{FF2B5EF4-FFF2-40B4-BE49-F238E27FC236}">
                <a16:creationId xmlns:a16="http://schemas.microsoft.com/office/drawing/2014/main" id="{541E197F-4044-4204-8FDA-395AE323CACE}"/>
              </a:ext>
            </a:extLst>
          </p:cNvPr>
          <p:cNvSpPr>
            <a:spLocks/>
          </p:cNvSpPr>
          <p:nvPr/>
        </p:nvSpPr>
        <p:spPr bwMode="auto">
          <a:xfrm>
            <a:off x="4117337" y="4479272"/>
            <a:ext cx="58401" cy="54083"/>
          </a:xfrm>
          <a:custGeom>
            <a:avLst/>
            <a:gdLst>
              <a:gd name="T0" fmla="*/ 0 w 50"/>
              <a:gd name="T1" fmla="*/ 62062469 h 47"/>
              <a:gd name="T2" fmla="*/ 0 w 50"/>
              <a:gd name="T3" fmla="*/ 62062469 h 47"/>
              <a:gd name="T4" fmla="*/ 30645101 w 50"/>
              <a:gd name="T5" fmla="*/ 52936036 h 47"/>
              <a:gd name="T6" fmla="*/ 14516101 w 50"/>
              <a:gd name="T7" fmla="*/ 41982954 h 47"/>
              <a:gd name="T8" fmla="*/ 29032201 w 50"/>
              <a:gd name="T9" fmla="*/ 12777012 h 47"/>
              <a:gd name="T10" fmla="*/ 41935407 w 50"/>
              <a:gd name="T11" fmla="*/ 32856521 h 47"/>
              <a:gd name="T12" fmla="*/ 41935407 w 50"/>
              <a:gd name="T13" fmla="*/ 0 h 47"/>
              <a:gd name="T14" fmla="*/ 79032096 w 50"/>
              <a:gd name="T15" fmla="*/ 0 h 47"/>
              <a:gd name="T16" fmla="*/ 75806297 w 50"/>
              <a:gd name="T17" fmla="*/ 32856521 h 47"/>
              <a:gd name="T18" fmla="*/ 53225704 w 50"/>
              <a:gd name="T19" fmla="*/ 43809592 h 47"/>
              <a:gd name="T20" fmla="*/ 53225704 w 50"/>
              <a:gd name="T21" fmla="*/ 83967260 h 47"/>
              <a:gd name="T22" fmla="*/ 32258000 w 50"/>
              <a:gd name="T23" fmla="*/ 60237182 h 47"/>
              <a:gd name="T24" fmla="*/ 0 w 50"/>
              <a:gd name="T25" fmla="*/ 62062469 h 47"/>
              <a:gd name="T26" fmla="*/ 0 w 50"/>
              <a:gd name="T27" fmla="*/ 62062469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0"/>
              <a:gd name="T43" fmla="*/ 0 h 47"/>
              <a:gd name="T44" fmla="*/ 50 w 50"/>
              <a:gd name="T45" fmla="*/ 47 h 4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0" h="47">
                <a:moveTo>
                  <a:pt x="0" y="34"/>
                </a:moveTo>
                <a:lnTo>
                  <a:pt x="0" y="34"/>
                </a:lnTo>
                <a:lnTo>
                  <a:pt x="19" y="29"/>
                </a:lnTo>
                <a:lnTo>
                  <a:pt x="9" y="23"/>
                </a:lnTo>
                <a:lnTo>
                  <a:pt x="18" y="7"/>
                </a:lnTo>
                <a:lnTo>
                  <a:pt x="26" y="18"/>
                </a:lnTo>
                <a:lnTo>
                  <a:pt x="26" y="0"/>
                </a:lnTo>
                <a:lnTo>
                  <a:pt x="49" y="0"/>
                </a:lnTo>
                <a:lnTo>
                  <a:pt x="47" y="18"/>
                </a:lnTo>
                <a:lnTo>
                  <a:pt x="33" y="24"/>
                </a:lnTo>
                <a:lnTo>
                  <a:pt x="33" y="46"/>
                </a:lnTo>
                <a:lnTo>
                  <a:pt x="20" y="33"/>
                </a:lnTo>
                <a:lnTo>
                  <a:pt x="0" y="3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2" name="Freeform 772">
            <a:extLst>
              <a:ext uri="{FF2B5EF4-FFF2-40B4-BE49-F238E27FC236}">
                <a16:creationId xmlns:a16="http://schemas.microsoft.com/office/drawing/2014/main" id="{87E0E64E-A590-4A08-8106-4F02B5C7D002}"/>
              </a:ext>
            </a:extLst>
          </p:cNvPr>
          <p:cNvSpPr>
            <a:spLocks/>
          </p:cNvSpPr>
          <p:nvPr/>
        </p:nvSpPr>
        <p:spPr bwMode="auto">
          <a:xfrm>
            <a:off x="4139237" y="4061487"/>
            <a:ext cx="405884" cy="316381"/>
          </a:xfrm>
          <a:custGeom>
            <a:avLst/>
            <a:gdLst>
              <a:gd name="T0" fmla="*/ 0 w 354"/>
              <a:gd name="T1" fmla="*/ 360167831 h 285"/>
              <a:gd name="T2" fmla="*/ 51288450 w 354"/>
              <a:gd name="T3" fmla="*/ 366963865 h 285"/>
              <a:gd name="T4" fmla="*/ 1554611 w 354"/>
              <a:gd name="T5" fmla="*/ 389049022 h 285"/>
              <a:gd name="T6" fmla="*/ 9325172 w 354"/>
              <a:gd name="T7" fmla="*/ 423027891 h 285"/>
              <a:gd name="T8" fmla="*/ 6217197 w 354"/>
              <a:gd name="T9" fmla="*/ 436618657 h 285"/>
              <a:gd name="T10" fmla="*/ 13987759 w 354"/>
              <a:gd name="T11" fmla="*/ 468897865 h 285"/>
              <a:gd name="T12" fmla="*/ 108795341 w 354"/>
              <a:gd name="T13" fmla="*/ 451909083 h 285"/>
              <a:gd name="T14" fmla="*/ 130553653 w 354"/>
              <a:gd name="T15" fmla="*/ 451909083 h 285"/>
              <a:gd name="T16" fmla="*/ 150758602 w 354"/>
              <a:gd name="T17" fmla="*/ 385652309 h 285"/>
              <a:gd name="T18" fmla="*/ 150758602 w 354"/>
              <a:gd name="T19" fmla="*/ 358469474 h 285"/>
              <a:gd name="T20" fmla="*/ 191168538 w 354"/>
              <a:gd name="T21" fmla="*/ 273524176 h 285"/>
              <a:gd name="T22" fmla="*/ 202048317 w 354"/>
              <a:gd name="T23" fmla="*/ 200471367 h 285"/>
              <a:gd name="T24" fmla="*/ 245566189 w 354"/>
              <a:gd name="T25" fmla="*/ 130815232 h 285"/>
              <a:gd name="T26" fmla="*/ 279758891 w 354"/>
              <a:gd name="T27" fmla="*/ 105332058 h 285"/>
              <a:gd name="T28" fmla="*/ 320167542 w 354"/>
              <a:gd name="T29" fmla="*/ 83246880 h 285"/>
              <a:gd name="T30" fmla="*/ 345035153 w 354"/>
              <a:gd name="T31" fmla="*/ 71354472 h 285"/>
              <a:gd name="T32" fmla="*/ 413420557 w 354"/>
              <a:gd name="T33" fmla="*/ 98536023 h 285"/>
              <a:gd name="T34" fmla="*/ 446058649 w 354"/>
              <a:gd name="T35" fmla="*/ 52666029 h 285"/>
              <a:gd name="T36" fmla="*/ 509781469 w 354"/>
              <a:gd name="T37" fmla="*/ 56064046 h 285"/>
              <a:gd name="T38" fmla="*/ 547083392 w 354"/>
              <a:gd name="T39" fmla="*/ 52666029 h 285"/>
              <a:gd name="T40" fmla="*/ 526878443 w 354"/>
              <a:gd name="T41" fmla="*/ 50967672 h 285"/>
              <a:gd name="T42" fmla="*/ 548636756 w 354"/>
              <a:gd name="T43" fmla="*/ 27182845 h 285"/>
              <a:gd name="T44" fmla="*/ 484913936 w 354"/>
              <a:gd name="T45" fmla="*/ 27182845 h 285"/>
              <a:gd name="T46" fmla="*/ 477143377 w 354"/>
              <a:gd name="T47" fmla="*/ 0 h 285"/>
              <a:gd name="T48" fmla="*/ 458493039 w 354"/>
              <a:gd name="T49" fmla="*/ 28881201 h 285"/>
              <a:gd name="T50" fmla="*/ 422745726 w 354"/>
              <a:gd name="T51" fmla="*/ 44171637 h 285"/>
              <a:gd name="T52" fmla="*/ 422745726 w 354"/>
              <a:gd name="T53" fmla="*/ 5096375 h 285"/>
              <a:gd name="T54" fmla="*/ 349697737 w 354"/>
              <a:gd name="T55" fmla="*/ 32279219 h 285"/>
              <a:gd name="T56" fmla="*/ 345035153 w 354"/>
              <a:gd name="T57" fmla="*/ 44171637 h 285"/>
              <a:gd name="T58" fmla="*/ 323276762 w 354"/>
              <a:gd name="T59" fmla="*/ 49268012 h 285"/>
              <a:gd name="T60" fmla="*/ 298409229 w 354"/>
              <a:gd name="T61" fmla="*/ 54364386 h 285"/>
              <a:gd name="T62" fmla="*/ 276649670 w 354"/>
              <a:gd name="T63" fmla="*/ 67956455 h 285"/>
              <a:gd name="T64" fmla="*/ 244011578 w 354"/>
              <a:gd name="T65" fmla="*/ 107031718 h 285"/>
              <a:gd name="T66" fmla="*/ 223806630 w 354"/>
              <a:gd name="T67" fmla="*/ 122320840 h 285"/>
              <a:gd name="T68" fmla="*/ 230023825 w 354"/>
              <a:gd name="T69" fmla="*/ 142707640 h 285"/>
              <a:gd name="T70" fmla="*/ 155421186 w 354"/>
              <a:gd name="T71" fmla="*/ 232750576 h 285"/>
              <a:gd name="T72" fmla="*/ 108795341 w 354"/>
              <a:gd name="T73" fmla="*/ 293910976 h 285"/>
              <a:gd name="T74" fmla="*/ 76155983 w 354"/>
              <a:gd name="T75" fmla="*/ 299007350 h 285"/>
              <a:gd name="T76" fmla="*/ 51288450 w 354"/>
              <a:gd name="T77" fmla="*/ 329588201 h 285"/>
              <a:gd name="T78" fmla="*/ 31084738 w 354"/>
              <a:gd name="T79" fmla="*/ 344877405 h 285"/>
              <a:gd name="T80" fmla="*/ 29530127 w 354"/>
              <a:gd name="T81" fmla="*/ 351673440 h 285"/>
              <a:gd name="T82" fmla="*/ 0 w 354"/>
              <a:gd name="T83" fmla="*/ 360167831 h 2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54"/>
              <a:gd name="T127" fmla="*/ 0 h 285"/>
              <a:gd name="T128" fmla="*/ 354 w 354"/>
              <a:gd name="T129" fmla="*/ 285 h 2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54" h="285">
                <a:moveTo>
                  <a:pt x="0" y="212"/>
                </a:moveTo>
                <a:lnTo>
                  <a:pt x="0" y="212"/>
                </a:lnTo>
                <a:lnTo>
                  <a:pt x="1" y="224"/>
                </a:lnTo>
                <a:lnTo>
                  <a:pt x="33" y="216"/>
                </a:lnTo>
                <a:lnTo>
                  <a:pt x="34" y="221"/>
                </a:lnTo>
                <a:lnTo>
                  <a:pt x="1" y="229"/>
                </a:lnTo>
                <a:lnTo>
                  <a:pt x="9" y="234"/>
                </a:lnTo>
                <a:lnTo>
                  <a:pt x="6" y="249"/>
                </a:lnTo>
                <a:lnTo>
                  <a:pt x="28" y="236"/>
                </a:lnTo>
                <a:lnTo>
                  <a:pt x="4" y="257"/>
                </a:lnTo>
                <a:lnTo>
                  <a:pt x="18" y="257"/>
                </a:lnTo>
                <a:lnTo>
                  <a:pt x="9" y="276"/>
                </a:lnTo>
                <a:lnTo>
                  <a:pt x="43" y="284"/>
                </a:lnTo>
                <a:lnTo>
                  <a:pt x="70" y="266"/>
                </a:lnTo>
                <a:lnTo>
                  <a:pt x="76" y="249"/>
                </a:lnTo>
                <a:lnTo>
                  <a:pt x="84" y="266"/>
                </a:lnTo>
                <a:lnTo>
                  <a:pt x="100" y="245"/>
                </a:lnTo>
                <a:lnTo>
                  <a:pt x="97" y="227"/>
                </a:lnTo>
                <a:lnTo>
                  <a:pt x="104" y="220"/>
                </a:lnTo>
                <a:lnTo>
                  <a:pt x="97" y="211"/>
                </a:lnTo>
                <a:lnTo>
                  <a:pt x="98" y="171"/>
                </a:lnTo>
                <a:lnTo>
                  <a:pt x="123" y="161"/>
                </a:lnTo>
                <a:lnTo>
                  <a:pt x="118" y="149"/>
                </a:lnTo>
                <a:lnTo>
                  <a:pt x="130" y="118"/>
                </a:lnTo>
                <a:lnTo>
                  <a:pt x="153" y="95"/>
                </a:lnTo>
                <a:lnTo>
                  <a:pt x="158" y="77"/>
                </a:lnTo>
                <a:lnTo>
                  <a:pt x="175" y="73"/>
                </a:lnTo>
                <a:lnTo>
                  <a:pt x="180" y="62"/>
                </a:lnTo>
                <a:lnTo>
                  <a:pt x="205" y="64"/>
                </a:lnTo>
                <a:lnTo>
                  <a:pt x="206" y="49"/>
                </a:lnTo>
                <a:lnTo>
                  <a:pt x="212" y="49"/>
                </a:lnTo>
                <a:lnTo>
                  <a:pt x="222" y="42"/>
                </a:lnTo>
                <a:lnTo>
                  <a:pt x="237" y="56"/>
                </a:lnTo>
                <a:lnTo>
                  <a:pt x="266" y="58"/>
                </a:lnTo>
                <a:lnTo>
                  <a:pt x="282" y="50"/>
                </a:lnTo>
                <a:lnTo>
                  <a:pt x="287" y="31"/>
                </a:lnTo>
                <a:lnTo>
                  <a:pt x="314" y="26"/>
                </a:lnTo>
                <a:lnTo>
                  <a:pt x="328" y="33"/>
                </a:lnTo>
                <a:lnTo>
                  <a:pt x="326" y="49"/>
                </a:lnTo>
                <a:lnTo>
                  <a:pt x="352" y="31"/>
                </a:lnTo>
                <a:lnTo>
                  <a:pt x="335" y="34"/>
                </a:lnTo>
                <a:lnTo>
                  <a:pt x="339" y="30"/>
                </a:lnTo>
                <a:lnTo>
                  <a:pt x="322" y="25"/>
                </a:lnTo>
                <a:lnTo>
                  <a:pt x="353" y="16"/>
                </a:lnTo>
                <a:lnTo>
                  <a:pt x="328" y="5"/>
                </a:lnTo>
                <a:lnTo>
                  <a:pt x="312" y="16"/>
                </a:lnTo>
                <a:lnTo>
                  <a:pt x="320" y="2"/>
                </a:lnTo>
                <a:lnTo>
                  <a:pt x="307" y="0"/>
                </a:lnTo>
                <a:lnTo>
                  <a:pt x="299" y="16"/>
                </a:lnTo>
                <a:lnTo>
                  <a:pt x="295" y="17"/>
                </a:lnTo>
                <a:lnTo>
                  <a:pt x="295" y="4"/>
                </a:lnTo>
                <a:lnTo>
                  <a:pt x="272" y="26"/>
                </a:lnTo>
                <a:lnTo>
                  <a:pt x="284" y="6"/>
                </a:lnTo>
                <a:lnTo>
                  <a:pt x="272" y="3"/>
                </a:lnTo>
                <a:lnTo>
                  <a:pt x="248" y="27"/>
                </a:lnTo>
                <a:lnTo>
                  <a:pt x="225" y="19"/>
                </a:lnTo>
                <a:lnTo>
                  <a:pt x="231" y="33"/>
                </a:lnTo>
                <a:lnTo>
                  <a:pt x="222" y="26"/>
                </a:lnTo>
                <a:lnTo>
                  <a:pt x="206" y="43"/>
                </a:lnTo>
                <a:lnTo>
                  <a:pt x="208" y="29"/>
                </a:lnTo>
                <a:lnTo>
                  <a:pt x="199" y="41"/>
                </a:lnTo>
                <a:lnTo>
                  <a:pt x="192" y="32"/>
                </a:lnTo>
                <a:lnTo>
                  <a:pt x="197" y="45"/>
                </a:lnTo>
                <a:lnTo>
                  <a:pt x="178" y="40"/>
                </a:lnTo>
                <a:lnTo>
                  <a:pt x="173" y="56"/>
                </a:lnTo>
                <a:lnTo>
                  <a:pt x="157" y="63"/>
                </a:lnTo>
                <a:lnTo>
                  <a:pt x="172" y="64"/>
                </a:lnTo>
                <a:lnTo>
                  <a:pt x="144" y="72"/>
                </a:lnTo>
                <a:lnTo>
                  <a:pt x="139" y="84"/>
                </a:lnTo>
                <a:lnTo>
                  <a:pt x="148" y="84"/>
                </a:lnTo>
                <a:lnTo>
                  <a:pt x="113" y="104"/>
                </a:lnTo>
                <a:lnTo>
                  <a:pt x="100" y="137"/>
                </a:lnTo>
                <a:lnTo>
                  <a:pt x="63" y="166"/>
                </a:lnTo>
                <a:lnTo>
                  <a:pt x="70" y="173"/>
                </a:lnTo>
                <a:lnTo>
                  <a:pt x="86" y="168"/>
                </a:lnTo>
                <a:lnTo>
                  <a:pt x="49" y="176"/>
                </a:lnTo>
                <a:lnTo>
                  <a:pt x="28" y="188"/>
                </a:lnTo>
                <a:lnTo>
                  <a:pt x="33" y="194"/>
                </a:lnTo>
                <a:lnTo>
                  <a:pt x="19" y="194"/>
                </a:lnTo>
                <a:lnTo>
                  <a:pt x="20" y="203"/>
                </a:lnTo>
                <a:lnTo>
                  <a:pt x="2" y="203"/>
                </a:lnTo>
                <a:lnTo>
                  <a:pt x="19" y="207"/>
                </a:lnTo>
                <a:lnTo>
                  <a:pt x="0" y="2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3" name="Freeform 773">
            <a:extLst>
              <a:ext uri="{FF2B5EF4-FFF2-40B4-BE49-F238E27FC236}">
                <a16:creationId xmlns:a16="http://schemas.microsoft.com/office/drawing/2014/main" id="{71EA5F10-6A1F-4BE6-B877-E41B6C053DD0}"/>
              </a:ext>
            </a:extLst>
          </p:cNvPr>
          <p:cNvSpPr>
            <a:spLocks/>
          </p:cNvSpPr>
          <p:nvPr/>
        </p:nvSpPr>
        <p:spPr bwMode="auto">
          <a:xfrm>
            <a:off x="4282318" y="4449527"/>
            <a:ext cx="156221" cy="117629"/>
          </a:xfrm>
          <a:custGeom>
            <a:avLst/>
            <a:gdLst>
              <a:gd name="T0" fmla="*/ 0 w 137"/>
              <a:gd name="T1" fmla="*/ 32364034 h 103"/>
              <a:gd name="T2" fmla="*/ 0 w 137"/>
              <a:gd name="T3" fmla="*/ 32364034 h 103"/>
              <a:gd name="T4" fmla="*/ 12298256 w 137"/>
              <a:gd name="T5" fmla="*/ 129457475 h 103"/>
              <a:gd name="T6" fmla="*/ 122981312 w 137"/>
              <a:gd name="T7" fmla="*/ 178003552 h 103"/>
              <a:gd name="T8" fmla="*/ 175249229 w 137"/>
              <a:gd name="T9" fmla="*/ 183398003 h 103"/>
              <a:gd name="T10" fmla="*/ 209069110 w 137"/>
              <a:gd name="T11" fmla="*/ 134851926 h 103"/>
              <a:gd name="T12" fmla="*/ 192159789 w 137"/>
              <a:gd name="T13" fmla="*/ 79113269 h 103"/>
              <a:gd name="T14" fmla="*/ 204458040 w 137"/>
              <a:gd name="T15" fmla="*/ 66526217 h 103"/>
              <a:gd name="T16" fmla="*/ 196770858 w 137"/>
              <a:gd name="T17" fmla="*/ 23374623 h 103"/>
              <a:gd name="T18" fmla="*/ 116832806 w 137"/>
              <a:gd name="T19" fmla="*/ 8990754 h 103"/>
              <a:gd name="T20" fmla="*/ 66102345 w 137"/>
              <a:gd name="T21" fmla="*/ 0 h 103"/>
              <a:gd name="T22" fmla="*/ 0 w 137"/>
              <a:gd name="T23" fmla="*/ 32364034 h 103"/>
              <a:gd name="T24" fmla="*/ 0 w 137"/>
              <a:gd name="T25" fmla="*/ 32364034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7"/>
              <a:gd name="T40" fmla="*/ 0 h 103"/>
              <a:gd name="T41" fmla="*/ 137 w 137"/>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7" h="103">
                <a:moveTo>
                  <a:pt x="0" y="18"/>
                </a:moveTo>
                <a:lnTo>
                  <a:pt x="0" y="18"/>
                </a:lnTo>
                <a:lnTo>
                  <a:pt x="8" y="72"/>
                </a:lnTo>
                <a:lnTo>
                  <a:pt x="80" y="99"/>
                </a:lnTo>
                <a:lnTo>
                  <a:pt x="114" y="102"/>
                </a:lnTo>
                <a:lnTo>
                  <a:pt x="136" y="75"/>
                </a:lnTo>
                <a:lnTo>
                  <a:pt x="125" y="44"/>
                </a:lnTo>
                <a:lnTo>
                  <a:pt x="133" y="37"/>
                </a:lnTo>
                <a:lnTo>
                  <a:pt x="128" y="13"/>
                </a:lnTo>
                <a:lnTo>
                  <a:pt x="76" y="5"/>
                </a:lnTo>
                <a:lnTo>
                  <a:pt x="43" y="0"/>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4" name="Freeform 774">
            <a:extLst>
              <a:ext uri="{FF2B5EF4-FFF2-40B4-BE49-F238E27FC236}">
                <a16:creationId xmlns:a16="http://schemas.microsoft.com/office/drawing/2014/main" id="{F0F68B0B-B377-4B7D-9268-E3F776C48BF9}"/>
              </a:ext>
            </a:extLst>
          </p:cNvPr>
          <p:cNvSpPr>
            <a:spLocks/>
          </p:cNvSpPr>
          <p:nvPr/>
        </p:nvSpPr>
        <p:spPr bwMode="auto">
          <a:xfrm>
            <a:off x="3918775" y="4699657"/>
            <a:ext cx="49641" cy="85178"/>
          </a:xfrm>
          <a:custGeom>
            <a:avLst/>
            <a:gdLst>
              <a:gd name="T0" fmla="*/ 0 w 44"/>
              <a:gd name="T1" fmla="*/ 82664452 h 77"/>
              <a:gd name="T2" fmla="*/ 0 w 44"/>
              <a:gd name="T3" fmla="*/ 82664452 h 77"/>
              <a:gd name="T4" fmla="*/ 10533713 w 44"/>
              <a:gd name="T5" fmla="*/ 0 h 77"/>
              <a:gd name="T6" fmla="*/ 64706208 w 44"/>
              <a:gd name="T7" fmla="*/ 5061646 h 77"/>
              <a:gd name="T8" fmla="*/ 40629686 w 44"/>
              <a:gd name="T9" fmla="*/ 59046043 h 77"/>
              <a:gd name="T10" fmla="*/ 40629686 w 44"/>
              <a:gd name="T11" fmla="*/ 124839645 h 77"/>
              <a:gd name="T12" fmla="*/ 9028545 w 44"/>
              <a:gd name="T13" fmla="*/ 128214075 h 77"/>
              <a:gd name="T14" fmla="*/ 13542818 w 44"/>
              <a:gd name="T15" fmla="*/ 87726116 h 77"/>
              <a:gd name="T16" fmla="*/ 0 w 44"/>
              <a:gd name="T17" fmla="*/ 82664452 h 77"/>
              <a:gd name="T18" fmla="*/ 0 w 44"/>
              <a:gd name="T19" fmla="*/ 82664452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77"/>
              <a:gd name="T32" fmla="*/ 44 w 44"/>
              <a:gd name="T33" fmla="*/ 77 h 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77">
                <a:moveTo>
                  <a:pt x="0" y="49"/>
                </a:moveTo>
                <a:lnTo>
                  <a:pt x="0" y="49"/>
                </a:lnTo>
                <a:lnTo>
                  <a:pt x="7" y="0"/>
                </a:lnTo>
                <a:lnTo>
                  <a:pt x="43" y="3"/>
                </a:lnTo>
                <a:lnTo>
                  <a:pt x="27" y="35"/>
                </a:lnTo>
                <a:lnTo>
                  <a:pt x="27" y="74"/>
                </a:lnTo>
                <a:lnTo>
                  <a:pt x="6" y="76"/>
                </a:lnTo>
                <a:lnTo>
                  <a:pt x="9" y="52"/>
                </a:lnTo>
                <a:lnTo>
                  <a:pt x="0" y="4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5" name="Freeform 775">
            <a:extLst>
              <a:ext uri="{FF2B5EF4-FFF2-40B4-BE49-F238E27FC236}">
                <a16:creationId xmlns:a16="http://schemas.microsoft.com/office/drawing/2014/main" id="{C5E2B2CD-FB89-4C8F-B686-E9E311344422}"/>
              </a:ext>
            </a:extLst>
          </p:cNvPr>
          <p:cNvSpPr>
            <a:spLocks/>
          </p:cNvSpPr>
          <p:nvPr/>
        </p:nvSpPr>
        <p:spPr bwMode="auto">
          <a:xfrm>
            <a:off x="4377219" y="4580676"/>
            <a:ext cx="148921" cy="85178"/>
          </a:xfrm>
          <a:custGeom>
            <a:avLst/>
            <a:gdLst>
              <a:gd name="T0" fmla="*/ 0 w 130"/>
              <a:gd name="T1" fmla="*/ 62420472 h 77"/>
              <a:gd name="T2" fmla="*/ 0 w 130"/>
              <a:gd name="T3" fmla="*/ 62420472 h 77"/>
              <a:gd name="T4" fmla="*/ 54300920 w 130"/>
              <a:gd name="T5" fmla="*/ 116404870 h 77"/>
              <a:gd name="T6" fmla="*/ 178417678 w 130"/>
              <a:gd name="T7" fmla="*/ 128214075 h 77"/>
              <a:gd name="T8" fmla="*/ 200138038 w 130"/>
              <a:gd name="T9" fmla="*/ 82664452 h 77"/>
              <a:gd name="T10" fmla="*/ 169109486 w 130"/>
              <a:gd name="T11" fmla="*/ 80977237 h 77"/>
              <a:gd name="T12" fmla="*/ 166006755 w 130"/>
              <a:gd name="T13" fmla="*/ 42175184 h 77"/>
              <a:gd name="T14" fmla="*/ 138079649 w 130"/>
              <a:gd name="T15" fmla="*/ 0 h 77"/>
              <a:gd name="T16" fmla="*/ 54300920 w 130"/>
              <a:gd name="T17" fmla="*/ 8434777 h 77"/>
              <a:gd name="T18" fmla="*/ 0 w 130"/>
              <a:gd name="T19" fmla="*/ 62420472 h 77"/>
              <a:gd name="T20" fmla="*/ 0 w 130"/>
              <a:gd name="T21" fmla="*/ 62420472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77"/>
              <a:gd name="T35" fmla="*/ 130 w 130"/>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77">
                <a:moveTo>
                  <a:pt x="0" y="37"/>
                </a:moveTo>
                <a:lnTo>
                  <a:pt x="0" y="37"/>
                </a:lnTo>
                <a:lnTo>
                  <a:pt x="35" y="69"/>
                </a:lnTo>
                <a:lnTo>
                  <a:pt x="115" y="76"/>
                </a:lnTo>
                <a:lnTo>
                  <a:pt x="129" y="49"/>
                </a:lnTo>
                <a:lnTo>
                  <a:pt x="109" y="48"/>
                </a:lnTo>
                <a:lnTo>
                  <a:pt x="107" y="25"/>
                </a:lnTo>
                <a:lnTo>
                  <a:pt x="89" y="0"/>
                </a:lnTo>
                <a:lnTo>
                  <a:pt x="35" y="5"/>
                </a:lnTo>
                <a:lnTo>
                  <a:pt x="0" y="3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6" name="Freeform 776">
            <a:extLst>
              <a:ext uri="{FF2B5EF4-FFF2-40B4-BE49-F238E27FC236}">
                <a16:creationId xmlns:a16="http://schemas.microsoft.com/office/drawing/2014/main" id="{08CE1BAD-B909-4C15-B25E-0DB0122FF7B0}"/>
              </a:ext>
            </a:extLst>
          </p:cNvPr>
          <p:cNvSpPr>
            <a:spLocks/>
          </p:cNvSpPr>
          <p:nvPr/>
        </p:nvSpPr>
        <p:spPr bwMode="auto">
          <a:xfrm>
            <a:off x="3920236" y="4665855"/>
            <a:ext cx="192721" cy="135206"/>
          </a:xfrm>
          <a:custGeom>
            <a:avLst/>
            <a:gdLst>
              <a:gd name="T0" fmla="*/ 0 w 168"/>
              <a:gd name="T1" fmla="*/ 16931599 h 122"/>
              <a:gd name="T2" fmla="*/ 0 w 168"/>
              <a:gd name="T3" fmla="*/ 16931599 h 122"/>
              <a:gd name="T4" fmla="*/ 7779543 w 168"/>
              <a:gd name="T5" fmla="*/ 50796104 h 122"/>
              <a:gd name="T6" fmla="*/ 63788014 w 168"/>
              <a:gd name="T7" fmla="*/ 55876103 h 122"/>
              <a:gd name="T8" fmla="*/ 38895220 w 168"/>
              <a:gd name="T9" fmla="*/ 110058005 h 122"/>
              <a:gd name="T10" fmla="*/ 38895220 w 168"/>
              <a:gd name="T11" fmla="*/ 176092824 h 122"/>
              <a:gd name="T12" fmla="*/ 77790439 w 168"/>
              <a:gd name="T13" fmla="*/ 204877315 h 122"/>
              <a:gd name="T14" fmla="*/ 154025470 w 168"/>
              <a:gd name="T15" fmla="*/ 186251520 h 122"/>
              <a:gd name="T16" fmla="*/ 197588194 w 168"/>
              <a:gd name="T17" fmla="*/ 137149597 h 122"/>
              <a:gd name="T18" fmla="*/ 188253243 w 168"/>
              <a:gd name="T19" fmla="*/ 116830903 h 122"/>
              <a:gd name="T20" fmla="*/ 211590619 w 168"/>
              <a:gd name="T21" fmla="*/ 79580595 h 122"/>
              <a:gd name="T22" fmla="*/ 259820779 w 168"/>
              <a:gd name="T23" fmla="*/ 52489003 h 122"/>
              <a:gd name="T24" fmla="*/ 259820779 w 168"/>
              <a:gd name="T25" fmla="*/ 35557399 h 122"/>
              <a:gd name="T26" fmla="*/ 228703863 w 168"/>
              <a:gd name="T27" fmla="*/ 32170299 h 122"/>
              <a:gd name="T28" fmla="*/ 222480978 w 168"/>
              <a:gd name="T29" fmla="*/ 28784501 h 122"/>
              <a:gd name="T30" fmla="*/ 155580879 w 168"/>
              <a:gd name="T31" fmla="*/ 8465800 h 122"/>
              <a:gd name="T32" fmla="*/ 21780729 w 168"/>
              <a:gd name="T33" fmla="*/ 0 h 122"/>
              <a:gd name="T34" fmla="*/ 0 w 168"/>
              <a:gd name="T35" fmla="*/ 16931599 h 122"/>
              <a:gd name="T36" fmla="*/ 0 w 168"/>
              <a:gd name="T37" fmla="*/ 16931599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8"/>
              <a:gd name="T58" fmla="*/ 0 h 122"/>
              <a:gd name="T59" fmla="*/ 168 w 168"/>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8" h="122">
                <a:moveTo>
                  <a:pt x="0" y="10"/>
                </a:moveTo>
                <a:lnTo>
                  <a:pt x="0" y="10"/>
                </a:lnTo>
                <a:lnTo>
                  <a:pt x="5" y="30"/>
                </a:lnTo>
                <a:lnTo>
                  <a:pt x="41" y="33"/>
                </a:lnTo>
                <a:lnTo>
                  <a:pt x="25" y="65"/>
                </a:lnTo>
                <a:lnTo>
                  <a:pt x="25" y="104"/>
                </a:lnTo>
                <a:lnTo>
                  <a:pt x="50" y="121"/>
                </a:lnTo>
                <a:lnTo>
                  <a:pt x="99" y="110"/>
                </a:lnTo>
                <a:lnTo>
                  <a:pt x="127" y="81"/>
                </a:lnTo>
                <a:lnTo>
                  <a:pt x="121" y="69"/>
                </a:lnTo>
                <a:lnTo>
                  <a:pt x="136" y="47"/>
                </a:lnTo>
                <a:lnTo>
                  <a:pt x="167" y="31"/>
                </a:lnTo>
                <a:lnTo>
                  <a:pt x="167" y="21"/>
                </a:lnTo>
                <a:lnTo>
                  <a:pt x="147" y="19"/>
                </a:lnTo>
                <a:lnTo>
                  <a:pt x="143" y="17"/>
                </a:lnTo>
                <a:lnTo>
                  <a:pt x="100" y="5"/>
                </a:lnTo>
                <a:lnTo>
                  <a:pt x="14" y="0"/>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7" name="Freeform 777">
            <a:extLst>
              <a:ext uri="{FF2B5EF4-FFF2-40B4-BE49-F238E27FC236}">
                <a16:creationId xmlns:a16="http://schemas.microsoft.com/office/drawing/2014/main" id="{DA557A7B-858E-40EE-A7F1-8A77F519D6EA}"/>
              </a:ext>
            </a:extLst>
          </p:cNvPr>
          <p:cNvSpPr>
            <a:spLocks/>
          </p:cNvSpPr>
          <p:nvPr/>
        </p:nvSpPr>
        <p:spPr bwMode="auto">
          <a:xfrm>
            <a:off x="4237057" y="4115569"/>
            <a:ext cx="201481" cy="320437"/>
          </a:xfrm>
          <a:custGeom>
            <a:avLst/>
            <a:gdLst>
              <a:gd name="T0" fmla="*/ 0 w 176"/>
              <a:gd name="T1" fmla="*/ 367778835 h 289"/>
              <a:gd name="T2" fmla="*/ 0 w 176"/>
              <a:gd name="T3" fmla="*/ 367778835 h 289"/>
              <a:gd name="T4" fmla="*/ 10845458 w 176"/>
              <a:gd name="T5" fmla="*/ 423707939 h 289"/>
              <a:gd name="T6" fmla="*/ 34086076 w 176"/>
              <a:gd name="T7" fmla="*/ 449130614 h 289"/>
              <a:gd name="T8" fmla="*/ 32537615 w 176"/>
              <a:gd name="T9" fmla="*/ 488112135 h 289"/>
              <a:gd name="T10" fmla="*/ 99161316 w 176"/>
              <a:gd name="T11" fmla="*/ 462689460 h 289"/>
              <a:gd name="T12" fmla="*/ 116204349 w 176"/>
              <a:gd name="T13" fmla="*/ 384727719 h 289"/>
              <a:gd name="T14" fmla="*/ 102259483 w 176"/>
              <a:gd name="T15" fmla="*/ 383032700 h 289"/>
              <a:gd name="T16" fmla="*/ 151840122 w 176"/>
              <a:gd name="T17" fmla="*/ 359305044 h 289"/>
              <a:gd name="T18" fmla="*/ 105358896 w 176"/>
              <a:gd name="T19" fmla="*/ 352524970 h 289"/>
              <a:gd name="T20" fmla="*/ 140994668 w 176"/>
              <a:gd name="T21" fmla="*/ 359305044 h 289"/>
              <a:gd name="T22" fmla="*/ 159587408 w 176"/>
              <a:gd name="T23" fmla="*/ 338967344 h 289"/>
              <a:gd name="T24" fmla="*/ 131697676 w 176"/>
              <a:gd name="T25" fmla="*/ 313544669 h 289"/>
              <a:gd name="T26" fmla="*/ 103809190 w 176"/>
              <a:gd name="T27" fmla="*/ 330492251 h 289"/>
              <a:gd name="T28" fmla="*/ 127049803 w 176"/>
              <a:gd name="T29" fmla="*/ 315239687 h 289"/>
              <a:gd name="T30" fmla="*/ 127049803 w 176"/>
              <a:gd name="T31" fmla="*/ 245750435 h 289"/>
              <a:gd name="T32" fmla="*/ 218463833 w 176"/>
              <a:gd name="T33" fmla="*/ 177957503 h 289"/>
              <a:gd name="T34" fmla="*/ 212266253 w 176"/>
              <a:gd name="T35" fmla="*/ 164398616 h 289"/>
              <a:gd name="T36" fmla="*/ 227759580 w 176"/>
              <a:gd name="T37" fmla="*/ 130502150 h 289"/>
              <a:gd name="T38" fmla="*/ 271142639 w 176"/>
              <a:gd name="T39" fmla="*/ 120333341 h 289"/>
              <a:gd name="T40" fmla="*/ 260297185 w 176"/>
              <a:gd name="T41" fmla="*/ 40676550 h 289"/>
              <a:gd name="T42" fmla="*/ 198321387 w 176"/>
              <a:gd name="T43" fmla="*/ 0 h 289"/>
              <a:gd name="T44" fmla="*/ 189025640 w 176"/>
              <a:gd name="T45" fmla="*/ 0 h 289"/>
              <a:gd name="T46" fmla="*/ 187475934 w 176"/>
              <a:gd name="T47" fmla="*/ 25422685 h 289"/>
              <a:gd name="T48" fmla="*/ 148740710 w 176"/>
              <a:gd name="T49" fmla="*/ 22032648 h 289"/>
              <a:gd name="T50" fmla="*/ 140994668 w 176"/>
              <a:gd name="T51" fmla="*/ 40676550 h 289"/>
              <a:gd name="T52" fmla="*/ 114654643 w 176"/>
              <a:gd name="T53" fmla="*/ 47455333 h 289"/>
              <a:gd name="T54" fmla="*/ 106907357 w 176"/>
              <a:gd name="T55" fmla="*/ 77961762 h 289"/>
              <a:gd name="T56" fmla="*/ 71271565 w 176"/>
              <a:gd name="T57" fmla="*/ 116943304 h 289"/>
              <a:gd name="T58" fmla="*/ 52678825 w 176"/>
              <a:gd name="T59" fmla="*/ 169483672 h 289"/>
              <a:gd name="T60" fmla="*/ 60426111 w 176"/>
              <a:gd name="T61" fmla="*/ 189821332 h 289"/>
              <a:gd name="T62" fmla="*/ 21690917 w 176"/>
              <a:gd name="T63" fmla="*/ 206770215 h 289"/>
              <a:gd name="T64" fmla="*/ 20142450 w 176"/>
              <a:gd name="T65" fmla="*/ 274563147 h 289"/>
              <a:gd name="T66" fmla="*/ 30987909 w 176"/>
              <a:gd name="T67" fmla="*/ 289817012 h 289"/>
              <a:gd name="T68" fmla="*/ 20142450 w 176"/>
              <a:gd name="T69" fmla="*/ 301680841 h 289"/>
              <a:gd name="T70" fmla="*/ 24790329 w 176"/>
              <a:gd name="T71" fmla="*/ 332187269 h 289"/>
              <a:gd name="T72" fmla="*/ 0 w 176"/>
              <a:gd name="T73" fmla="*/ 367778835 h 289"/>
              <a:gd name="T74" fmla="*/ 0 w 176"/>
              <a:gd name="T75" fmla="*/ 367778835 h 2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6"/>
              <a:gd name="T115" fmla="*/ 0 h 289"/>
              <a:gd name="T116" fmla="*/ 176 w 176"/>
              <a:gd name="T117" fmla="*/ 289 h 2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6" h="289">
                <a:moveTo>
                  <a:pt x="0" y="217"/>
                </a:moveTo>
                <a:lnTo>
                  <a:pt x="0" y="217"/>
                </a:lnTo>
                <a:lnTo>
                  <a:pt x="7" y="250"/>
                </a:lnTo>
                <a:lnTo>
                  <a:pt x="22" y="265"/>
                </a:lnTo>
                <a:lnTo>
                  <a:pt x="21" y="288"/>
                </a:lnTo>
                <a:lnTo>
                  <a:pt x="64" y="273"/>
                </a:lnTo>
                <a:lnTo>
                  <a:pt x="75" y="227"/>
                </a:lnTo>
                <a:lnTo>
                  <a:pt x="66" y="226"/>
                </a:lnTo>
                <a:lnTo>
                  <a:pt x="98" y="212"/>
                </a:lnTo>
                <a:lnTo>
                  <a:pt x="68" y="208"/>
                </a:lnTo>
                <a:lnTo>
                  <a:pt x="91" y="212"/>
                </a:lnTo>
                <a:lnTo>
                  <a:pt x="103" y="200"/>
                </a:lnTo>
                <a:lnTo>
                  <a:pt x="85" y="185"/>
                </a:lnTo>
                <a:lnTo>
                  <a:pt x="67" y="195"/>
                </a:lnTo>
                <a:lnTo>
                  <a:pt x="82" y="186"/>
                </a:lnTo>
                <a:lnTo>
                  <a:pt x="82" y="145"/>
                </a:lnTo>
                <a:lnTo>
                  <a:pt x="141" y="105"/>
                </a:lnTo>
                <a:lnTo>
                  <a:pt x="137" y="97"/>
                </a:lnTo>
                <a:lnTo>
                  <a:pt x="147" y="77"/>
                </a:lnTo>
                <a:lnTo>
                  <a:pt x="175" y="71"/>
                </a:lnTo>
                <a:lnTo>
                  <a:pt x="168" y="24"/>
                </a:lnTo>
                <a:lnTo>
                  <a:pt x="128" y="0"/>
                </a:lnTo>
                <a:lnTo>
                  <a:pt x="122" y="0"/>
                </a:lnTo>
                <a:lnTo>
                  <a:pt x="121" y="15"/>
                </a:lnTo>
                <a:lnTo>
                  <a:pt x="96" y="13"/>
                </a:lnTo>
                <a:lnTo>
                  <a:pt x="91" y="24"/>
                </a:lnTo>
                <a:lnTo>
                  <a:pt x="74" y="28"/>
                </a:lnTo>
                <a:lnTo>
                  <a:pt x="69" y="46"/>
                </a:lnTo>
                <a:lnTo>
                  <a:pt x="46" y="69"/>
                </a:lnTo>
                <a:lnTo>
                  <a:pt x="34" y="100"/>
                </a:lnTo>
                <a:lnTo>
                  <a:pt x="39" y="112"/>
                </a:lnTo>
                <a:lnTo>
                  <a:pt x="14" y="122"/>
                </a:lnTo>
                <a:lnTo>
                  <a:pt x="13" y="162"/>
                </a:lnTo>
                <a:lnTo>
                  <a:pt x="20" y="171"/>
                </a:lnTo>
                <a:lnTo>
                  <a:pt x="13" y="178"/>
                </a:lnTo>
                <a:lnTo>
                  <a:pt x="16" y="196"/>
                </a:lnTo>
                <a:lnTo>
                  <a:pt x="0" y="21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8" name="Freeform 778">
            <a:extLst>
              <a:ext uri="{FF2B5EF4-FFF2-40B4-BE49-F238E27FC236}">
                <a16:creationId xmlns:a16="http://schemas.microsoft.com/office/drawing/2014/main" id="{01515CE9-46BA-4B0A-951F-C33D9C9A402F}"/>
              </a:ext>
            </a:extLst>
          </p:cNvPr>
          <p:cNvSpPr>
            <a:spLocks/>
          </p:cNvSpPr>
          <p:nvPr/>
        </p:nvSpPr>
        <p:spPr bwMode="auto">
          <a:xfrm>
            <a:off x="4156757" y="4591493"/>
            <a:ext cx="70080" cy="35154"/>
          </a:xfrm>
          <a:custGeom>
            <a:avLst/>
            <a:gdLst>
              <a:gd name="T0" fmla="*/ 0 w 61"/>
              <a:gd name="T1" fmla="*/ 35455227 h 31"/>
              <a:gd name="T2" fmla="*/ 0 w 61"/>
              <a:gd name="T3" fmla="*/ 35455227 h 31"/>
              <a:gd name="T4" fmla="*/ 21846919 w 61"/>
              <a:gd name="T5" fmla="*/ 53183511 h 31"/>
              <a:gd name="T6" fmla="*/ 51494967 w 61"/>
              <a:gd name="T7" fmla="*/ 37227388 h 31"/>
              <a:gd name="T8" fmla="*/ 63978023 w 61"/>
              <a:gd name="T9" fmla="*/ 51410018 h 31"/>
              <a:gd name="T10" fmla="*/ 93627330 w 61"/>
              <a:gd name="T11" fmla="*/ 24818262 h 31"/>
              <a:gd name="T12" fmla="*/ 76462328 w 61"/>
              <a:gd name="T13" fmla="*/ 21272602 h 31"/>
              <a:gd name="T14" fmla="*/ 74902102 w 61"/>
              <a:gd name="T15" fmla="*/ 8863474 h 31"/>
              <a:gd name="T16" fmla="*/ 73340627 w 61"/>
              <a:gd name="T17" fmla="*/ 5317818 h 31"/>
              <a:gd name="T18" fmla="*/ 31209523 w 61"/>
              <a:gd name="T19" fmla="*/ 0 h 31"/>
              <a:gd name="T20" fmla="*/ 0 w 61"/>
              <a:gd name="T21" fmla="*/ 35455227 h 31"/>
              <a:gd name="T22" fmla="*/ 0 w 61"/>
              <a:gd name="T23" fmla="*/ 3545522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1"/>
              <a:gd name="T37" fmla="*/ 0 h 31"/>
              <a:gd name="T38" fmla="*/ 61 w 61"/>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1" h="31">
                <a:moveTo>
                  <a:pt x="0" y="20"/>
                </a:moveTo>
                <a:lnTo>
                  <a:pt x="0" y="20"/>
                </a:lnTo>
                <a:lnTo>
                  <a:pt x="14" y="30"/>
                </a:lnTo>
                <a:lnTo>
                  <a:pt x="33" y="21"/>
                </a:lnTo>
                <a:lnTo>
                  <a:pt x="41" y="29"/>
                </a:lnTo>
                <a:lnTo>
                  <a:pt x="60" y="14"/>
                </a:lnTo>
                <a:lnTo>
                  <a:pt x="49" y="12"/>
                </a:lnTo>
                <a:lnTo>
                  <a:pt x="48" y="5"/>
                </a:lnTo>
                <a:lnTo>
                  <a:pt x="47" y="3"/>
                </a:lnTo>
                <a:lnTo>
                  <a:pt x="20" y="0"/>
                </a:lnTo>
                <a:lnTo>
                  <a:pt x="0" y="2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9" name="Freeform 779">
            <a:extLst>
              <a:ext uri="{FF2B5EF4-FFF2-40B4-BE49-F238E27FC236}">
                <a16:creationId xmlns:a16="http://schemas.microsoft.com/office/drawing/2014/main" id="{3F8CDBC1-9629-45C2-A85E-CA02DB9041EA}"/>
              </a:ext>
            </a:extLst>
          </p:cNvPr>
          <p:cNvSpPr>
            <a:spLocks/>
          </p:cNvSpPr>
          <p:nvPr/>
        </p:nvSpPr>
        <p:spPr bwMode="auto">
          <a:xfrm>
            <a:off x="4470660" y="4699657"/>
            <a:ext cx="43801" cy="32449"/>
          </a:xfrm>
          <a:custGeom>
            <a:avLst/>
            <a:gdLst>
              <a:gd name="T0" fmla="*/ 0 w 39"/>
              <a:gd name="T1" fmla="*/ 30645102 h 30"/>
              <a:gd name="T2" fmla="*/ 0 w 39"/>
              <a:gd name="T3" fmla="*/ 30645102 h 30"/>
              <a:gd name="T4" fmla="*/ 7456365 w 39"/>
              <a:gd name="T5" fmla="*/ 1612900 h 30"/>
              <a:gd name="T6" fmla="*/ 38771629 w 39"/>
              <a:gd name="T7" fmla="*/ 0 h 30"/>
              <a:gd name="T8" fmla="*/ 56666420 w 39"/>
              <a:gd name="T9" fmla="*/ 22580604 h 30"/>
              <a:gd name="T10" fmla="*/ 31315267 w 39"/>
              <a:gd name="T11" fmla="*/ 22580604 h 30"/>
              <a:gd name="T12" fmla="*/ 2982058 w 39"/>
              <a:gd name="T13" fmla="*/ 46774108 h 30"/>
              <a:gd name="T14" fmla="*/ 14912730 w 39"/>
              <a:gd name="T15" fmla="*/ 32258002 h 30"/>
              <a:gd name="T16" fmla="*/ 0 w 39"/>
              <a:gd name="T17" fmla="*/ 30645102 h 30"/>
              <a:gd name="T18" fmla="*/ 0 w 39"/>
              <a:gd name="T19" fmla="*/ 30645102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30"/>
              <a:gd name="T32" fmla="*/ 39 w 39"/>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30">
                <a:moveTo>
                  <a:pt x="0" y="19"/>
                </a:moveTo>
                <a:lnTo>
                  <a:pt x="0" y="19"/>
                </a:lnTo>
                <a:lnTo>
                  <a:pt x="5" y="1"/>
                </a:lnTo>
                <a:lnTo>
                  <a:pt x="26" y="0"/>
                </a:lnTo>
                <a:lnTo>
                  <a:pt x="38" y="14"/>
                </a:lnTo>
                <a:lnTo>
                  <a:pt x="21" y="14"/>
                </a:lnTo>
                <a:lnTo>
                  <a:pt x="2" y="29"/>
                </a:lnTo>
                <a:lnTo>
                  <a:pt x="10" y="20"/>
                </a:lnTo>
                <a:lnTo>
                  <a:pt x="0" y="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70" name="Group 194">
            <a:extLst>
              <a:ext uri="{FF2B5EF4-FFF2-40B4-BE49-F238E27FC236}">
                <a16:creationId xmlns:a16="http://schemas.microsoft.com/office/drawing/2014/main" id="{80B637A0-BA7C-425C-A0AF-B3E80B4AEC83}"/>
              </a:ext>
            </a:extLst>
          </p:cNvPr>
          <p:cNvGrpSpPr>
            <a:grpSpLocks/>
          </p:cNvGrpSpPr>
          <p:nvPr/>
        </p:nvGrpSpPr>
        <p:grpSpPr bwMode="auto">
          <a:xfrm>
            <a:off x="3904207" y="4368361"/>
            <a:ext cx="186884" cy="178469"/>
            <a:chOff x="2942" y="2530"/>
            <a:chExt cx="163" cy="161"/>
          </a:xfrm>
          <a:solidFill>
            <a:srgbClr val="00B050"/>
          </a:solidFill>
        </p:grpSpPr>
        <p:sp>
          <p:nvSpPr>
            <p:cNvPr id="248" name="Freeform 781">
              <a:extLst>
                <a:ext uri="{FF2B5EF4-FFF2-40B4-BE49-F238E27FC236}">
                  <a16:creationId xmlns:a16="http://schemas.microsoft.com/office/drawing/2014/main" id="{FB4D28D9-4023-4A47-99FC-62C7EC792373}"/>
                </a:ext>
              </a:extLst>
            </p:cNvPr>
            <p:cNvSpPr>
              <a:spLocks/>
            </p:cNvSpPr>
            <p:nvPr/>
          </p:nvSpPr>
          <p:spPr bwMode="auto">
            <a:xfrm>
              <a:off x="2942" y="2596"/>
              <a:ext cx="57" cy="66"/>
            </a:xfrm>
            <a:custGeom>
              <a:avLst/>
              <a:gdLst>
                <a:gd name="T0" fmla="*/ 0 w 57"/>
                <a:gd name="T1" fmla="*/ 54 h 66"/>
                <a:gd name="T2" fmla="*/ 0 w 57"/>
                <a:gd name="T3" fmla="*/ 54 h 66"/>
                <a:gd name="T4" fmla="*/ 7 w 57"/>
                <a:gd name="T5" fmla="*/ 60 h 66"/>
                <a:gd name="T6" fmla="*/ 2 w 57"/>
                <a:gd name="T7" fmla="*/ 65 h 66"/>
                <a:gd name="T8" fmla="*/ 52 w 57"/>
                <a:gd name="T9" fmla="*/ 55 h 66"/>
                <a:gd name="T10" fmla="*/ 56 w 57"/>
                <a:gd name="T11" fmla="*/ 21 h 66"/>
                <a:gd name="T12" fmla="*/ 49 w 57"/>
                <a:gd name="T13" fmla="*/ 13 h 66"/>
                <a:gd name="T14" fmla="*/ 34 w 57"/>
                <a:gd name="T15" fmla="*/ 17 h 66"/>
                <a:gd name="T16" fmla="*/ 29 w 57"/>
                <a:gd name="T17" fmla="*/ 12 h 66"/>
                <a:gd name="T18" fmla="*/ 36 w 57"/>
                <a:gd name="T19" fmla="*/ 4 h 66"/>
                <a:gd name="T20" fmla="*/ 29 w 57"/>
                <a:gd name="T21" fmla="*/ 0 h 66"/>
                <a:gd name="T22" fmla="*/ 23 w 57"/>
                <a:gd name="T23" fmla="*/ 17 h 66"/>
                <a:gd name="T24" fmla="*/ 2 w 57"/>
                <a:gd name="T25" fmla="*/ 21 h 66"/>
                <a:gd name="T26" fmla="*/ 9 w 57"/>
                <a:gd name="T27" fmla="*/ 25 h 66"/>
                <a:gd name="T28" fmla="*/ 5 w 57"/>
                <a:gd name="T29" fmla="*/ 34 h 66"/>
                <a:gd name="T30" fmla="*/ 18 w 57"/>
                <a:gd name="T31" fmla="*/ 36 h 66"/>
                <a:gd name="T32" fmla="*/ 6 w 57"/>
                <a:gd name="T33" fmla="*/ 49 h 66"/>
                <a:gd name="T34" fmla="*/ 20 w 57"/>
                <a:gd name="T35" fmla="*/ 46 h 66"/>
                <a:gd name="T36" fmla="*/ 0 w 57"/>
                <a:gd name="T37" fmla="*/ 54 h 66"/>
                <a:gd name="T38" fmla="*/ 0 w 57"/>
                <a:gd name="T39" fmla="*/ 54 h 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66"/>
                <a:gd name="T62" fmla="*/ 57 w 57"/>
                <a:gd name="T63" fmla="*/ 66 h 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66">
                  <a:moveTo>
                    <a:pt x="0" y="54"/>
                  </a:moveTo>
                  <a:lnTo>
                    <a:pt x="0" y="54"/>
                  </a:lnTo>
                  <a:lnTo>
                    <a:pt x="7" y="60"/>
                  </a:lnTo>
                  <a:lnTo>
                    <a:pt x="2" y="65"/>
                  </a:lnTo>
                  <a:lnTo>
                    <a:pt x="52" y="55"/>
                  </a:lnTo>
                  <a:lnTo>
                    <a:pt x="56" y="21"/>
                  </a:lnTo>
                  <a:lnTo>
                    <a:pt x="49" y="13"/>
                  </a:lnTo>
                  <a:lnTo>
                    <a:pt x="34" y="17"/>
                  </a:lnTo>
                  <a:lnTo>
                    <a:pt x="29" y="12"/>
                  </a:lnTo>
                  <a:lnTo>
                    <a:pt x="36" y="4"/>
                  </a:lnTo>
                  <a:lnTo>
                    <a:pt x="29" y="0"/>
                  </a:lnTo>
                  <a:lnTo>
                    <a:pt x="23" y="17"/>
                  </a:lnTo>
                  <a:lnTo>
                    <a:pt x="2" y="21"/>
                  </a:lnTo>
                  <a:lnTo>
                    <a:pt x="9" y="25"/>
                  </a:lnTo>
                  <a:lnTo>
                    <a:pt x="5" y="34"/>
                  </a:lnTo>
                  <a:lnTo>
                    <a:pt x="18" y="36"/>
                  </a:lnTo>
                  <a:lnTo>
                    <a:pt x="6" y="49"/>
                  </a:lnTo>
                  <a:lnTo>
                    <a:pt x="20" y="46"/>
                  </a:lnTo>
                  <a:lnTo>
                    <a:pt x="0" y="5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9" name="Freeform 782">
              <a:extLst>
                <a:ext uri="{FF2B5EF4-FFF2-40B4-BE49-F238E27FC236}">
                  <a16:creationId xmlns:a16="http://schemas.microsoft.com/office/drawing/2014/main" id="{B1394C94-FF2C-4788-8280-D38679147605}"/>
                </a:ext>
              </a:extLst>
            </p:cNvPr>
            <p:cNvSpPr>
              <a:spLocks/>
            </p:cNvSpPr>
            <p:nvPr/>
          </p:nvSpPr>
          <p:spPr bwMode="auto">
            <a:xfrm>
              <a:off x="2971" y="2592"/>
              <a:ext cx="36" cy="26"/>
            </a:xfrm>
            <a:custGeom>
              <a:avLst/>
              <a:gdLst>
                <a:gd name="T0" fmla="*/ 0 w 36"/>
                <a:gd name="T1" fmla="*/ 16 h 26"/>
                <a:gd name="T2" fmla="*/ 0 w 36"/>
                <a:gd name="T3" fmla="*/ 16 h 26"/>
                <a:gd name="T4" fmla="*/ 5 w 36"/>
                <a:gd name="T5" fmla="*/ 21 h 26"/>
                <a:gd name="T6" fmla="*/ 20 w 36"/>
                <a:gd name="T7" fmla="*/ 17 h 26"/>
                <a:gd name="T8" fmla="*/ 27 w 36"/>
                <a:gd name="T9" fmla="*/ 25 h 26"/>
                <a:gd name="T10" fmla="*/ 35 w 36"/>
                <a:gd name="T11" fmla="*/ 16 h 26"/>
                <a:gd name="T12" fmla="*/ 27 w 36"/>
                <a:gd name="T13" fmla="*/ 4 h 26"/>
                <a:gd name="T14" fmla="*/ 11 w 36"/>
                <a:gd name="T15" fmla="*/ 0 h 26"/>
                <a:gd name="T16" fmla="*/ 7 w 36"/>
                <a:gd name="T17" fmla="*/ 8 h 26"/>
                <a:gd name="T18" fmla="*/ 0 w 36"/>
                <a:gd name="T19" fmla="*/ 16 h 26"/>
                <a:gd name="T20" fmla="*/ 0 w 36"/>
                <a:gd name="T21" fmla="*/ 16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
                <a:gd name="T34" fmla="*/ 0 h 26"/>
                <a:gd name="T35" fmla="*/ 36 w 36"/>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 h="26">
                  <a:moveTo>
                    <a:pt x="0" y="16"/>
                  </a:moveTo>
                  <a:lnTo>
                    <a:pt x="0" y="16"/>
                  </a:lnTo>
                  <a:lnTo>
                    <a:pt x="5" y="21"/>
                  </a:lnTo>
                  <a:lnTo>
                    <a:pt x="20" y="17"/>
                  </a:lnTo>
                  <a:lnTo>
                    <a:pt x="27" y="25"/>
                  </a:lnTo>
                  <a:lnTo>
                    <a:pt x="35" y="16"/>
                  </a:lnTo>
                  <a:lnTo>
                    <a:pt x="27" y="4"/>
                  </a:lnTo>
                  <a:lnTo>
                    <a:pt x="11" y="0"/>
                  </a:lnTo>
                  <a:lnTo>
                    <a:pt x="7" y="8"/>
                  </a:lnTo>
                  <a:lnTo>
                    <a:pt x="0" y="1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0" name="Freeform 783">
              <a:extLst>
                <a:ext uri="{FF2B5EF4-FFF2-40B4-BE49-F238E27FC236}">
                  <a16:creationId xmlns:a16="http://schemas.microsoft.com/office/drawing/2014/main" id="{816DF731-9397-45CC-9DE6-BB914CD9AA52}"/>
                </a:ext>
              </a:extLst>
            </p:cNvPr>
            <p:cNvSpPr>
              <a:spLocks/>
            </p:cNvSpPr>
            <p:nvPr/>
          </p:nvSpPr>
          <p:spPr bwMode="auto">
            <a:xfrm>
              <a:off x="2987" y="2535"/>
              <a:ext cx="10" cy="13"/>
            </a:xfrm>
            <a:custGeom>
              <a:avLst/>
              <a:gdLst>
                <a:gd name="T0" fmla="*/ 0 w 10"/>
                <a:gd name="T1" fmla="*/ 12 h 13"/>
                <a:gd name="T2" fmla="*/ 0 w 10"/>
                <a:gd name="T3" fmla="*/ 12 h 13"/>
                <a:gd name="T4" fmla="*/ 0 w 10"/>
                <a:gd name="T5" fmla="*/ 3 h 13"/>
                <a:gd name="T6" fmla="*/ 9 w 10"/>
                <a:gd name="T7" fmla="*/ 0 h 13"/>
                <a:gd name="T8" fmla="*/ 0 w 10"/>
                <a:gd name="T9" fmla="*/ 12 h 13"/>
                <a:gd name="T10" fmla="*/ 0 w 10"/>
                <a:gd name="T11" fmla="*/ 12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0" y="12"/>
                  </a:moveTo>
                  <a:lnTo>
                    <a:pt x="0" y="12"/>
                  </a:lnTo>
                  <a:lnTo>
                    <a:pt x="0" y="3"/>
                  </a:lnTo>
                  <a:lnTo>
                    <a:pt x="9"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1" name="Freeform 784">
              <a:extLst>
                <a:ext uri="{FF2B5EF4-FFF2-40B4-BE49-F238E27FC236}">
                  <a16:creationId xmlns:a16="http://schemas.microsoft.com/office/drawing/2014/main" id="{E5AA8E9A-B1B5-4B37-8D2F-1CEA3595297D}"/>
                </a:ext>
              </a:extLst>
            </p:cNvPr>
            <p:cNvSpPr>
              <a:spLocks/>
            </p:cNvSpPr>
            <p:nvPr/>
          </p:nvSpPr>
          <p:spPr bwMode="auto">
            <a:xfrm>
              <a:off x="2991" y="2547"/>
              <a:ext cx="9" cy="8"/>
            </a:xfrm>
            <a:custGeom>
              <a:avLst/>
              <a:gdLst>
                <a:gd name="T0" fmla="*/ 0 w 9"/>
                <a:gd name="T1" fmla="*/ 6 h 8"/>
                <a:gd name="T2" fmla="*/ 0 w 9"/>
                <a:gd name="T3" fmla="*/ 6 h 8"/>
                <a:gd name="T4" fmla="*/ 4 w 9"/>
                <a:gd name="T5" fmla="*/ 0 h 8"/>
                <a:gd name="T6" fmla="*/ 8 w 9"/>
                <a:gd name="T7" fmla="*/ 7 h 8"/>
                <a:gd name="T8" fmla="*/ 0 w 9"/>
                <a:gd name="T9" fmla="*/ 6 h 8"/>
                <a:gd name="T10" fmla="*/ 0 w 9"/>
                <a:gd name="T11" fmla="*/ 6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0" y="6"/>
                  </a:moveTo>
                  <a:lnTo>
                    <a:pt x="0" y="6"/>
                  </a:lnTo>
                  <a:lnTo>
                    <a:pt x="4" y="0"/>
                  </a:lnTo>
                  <a:lnTo>
                    <a:pt x="8" y="7"/>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2" name="Freeform 785">
              <a:extLst>
                <a:ext uri="{FF2B5EF4-FFF2-40B4-BE49-F238E27FC236}">
                  <a16:creationId xmlns:a16="http://schemas.microsoft.com/office/drawing/2014/main" id="{0F32216C-9D5C-4ABD-BA85-DCF960936CA7}"/>
                </a:ext>
              </a:extLst>
            </p:cNvPr>
            <p:cNvSpPr>
              <a:spLocks/>
            </p:cNvSpPr>
            <p:nvPr/>
          </p:nvSpPr>
          <p:spPr bwMode="auto">
            <a:xfrm>
              <a:off x="2999" y="2530"/>
              <a:ext cx="106" cy="161"/>
            </a:xfrm>
            <a:custGeom>
              <a:avLst/>
              <a:gdLst>
                <a:gd name="T0" fmla="*/ 0 w 106"/>
                <a:gd name="T1" fmla="*/ 37 h 161"/>
                <a:gd name="T2" fmla="*/ 0 w 106"/>
                <a:gd name="T3" fmla="*/ 37 h 161"/>
                <a:gd name="T4" fmla="*/ 4 w 106"/>
                <a:gd name="T5" fmla="*/ 16 h 161"/>
                <a:gd name="T6" fmla="*/ 16 w 106"/>
                <a:gd name="T7" fmla="*/ 0 h 161"/>
                <a:gd name="T8" fmla="*/ 40 w 106"/>
                <a:gd name="T9" fmla="*/ 0 h 161"/>
                <a:gd name="T10" fmla="*/ 26 w 106"/>
                <a:gd name="T11" fmla="*/ 19 h 161"/>
                <a:gd name="T12" fmla="*/ 58 w 106"/>
                <a:gd name="T13" fmla="*/ 23 h 161"/>
                <a:gd name="T14" fmla="*/ 38 w 106"/>
                <a:gd name="T15" fmla="*/ 49 h 161"/>
                <a:gd name="T16" fmla="*/ 62 w 106"/>
                <a:gd name="T17" fmla="*/ 58 h 161"/>
                <a:gd name="T18" fmla="*/ 85 w 106"/>
                <a:gd name="T19" fmla="*/ 91 h 161"/>
                <a:gd name="T20" fmla="*/ 78 w 106"/>
                <a:gd name="T21" fmla="*/ 93 h 161"/>
                <a:gd name="T22" fmla="*/ 88 w 106"/>
                <a:gd name="T23" fmla="*/ 101 h 161"/>
                <a:gd name="T24" fmla="*/ 82 w 106"/>
                <a:gd name="T25" fmla="*/ 110 h 161"/>
                <a:gd name="T26" fmla="*/ 105 w 106"/>
                <a:gd name="T27" fmla="*/ 111 h 161"/>
                <a:gd name="T28" fmla="*/ 91 w 106"/>
                <a:gd name="T29" fmla="*/ 133 h 161"/>
                <a:gd name="T30" fmla="*/ 101 w 106"/>
                <a:gd name="T31" fmla="*/ 139 h 161"/>
                <a:gd name="T32" fmla="*/ 6 w 106"/>
                <a:gd name="T33" fmla="*/ 160 h 161"/>
                <a:gd name="T34" fmla="*/ 48 w 106"/>
                <a:gd name="T35" fmla="*/ 130 h 161"/>
                <a:gd name="T36" fmla="*/ 36 w 106"/>
                <a:gd name="T37" fmla="*/ 135 h 161"/>
                <a:gd name="T38" fmla="*/ 12 w 106"/>
                <a:gd name="T39" fmla="*/ 126 h 161"/>
                <a:gd name="T40" fmla="*/ 30 w 106"/>
                <a:gd name="T41" fmla="*/ 115 h 161"/>
                <a:gd name="T42" fmla="*/ 19 w 106"/>
                <a:gd name="T43" fmla="*/ 110 h 161"/>
                <a:gd name="T44" fmla="*/ 43 w 106"/>
                <a:gd name="T45" fmla="*/ 98 h 161"/>
                <a:gd name="T46" fmla="*/ 45 w 106"/>
                <a:gd name="T47" fmla="*/ 83 h 161"/>
                <a:gd name="T48" fmla="*/ 33 w 106"/>
                <a:gd name="T49" fmla="*/ 79 h 161"/>
                <a:gd name="T50" fmla="*/ 40 w 106"/>
                <a:gd name="T51" fmla="*/ 70 h 161"/>
                <a:gd name="T52" fmla="*/ 15 w 106"/>
                <a:gd name="T53" fmla="*/ 74 h 161"/>
                <a:gd name="T54" fmla="*/ 16 w 106"/>
                <a:gd name="T55" fmla="*/ 51 h 161"/>
                <a:gd name="T56" fmla="*/ 4 w 106"/>
                <a:gd name="T57" fmla="*/ 62 h 161"/>
                <a:gd name="T58" fmla="*/ 11 w 106"/>
                <a:gd name="T59" fmla="*/ 38 h 161"/>
                <a:gd name="T60" fmla="*/ 0 w 106"/>
                <a:gd name="T61" fmla="*/ 37 h 161"/>
                <a:gd name="T62" fmla="*/ 0 w 106"/>
                <a:gd name="T63" fmla="*/ 37 h 1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6"/>
                <a:gd name="T97" fmla="*/ 0 h 161"/>
                <a:gd name="T98" fmla="*/ 106 w 106"/>
                <a:gd name="T99" fmla="*/ 161 h 1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6" h="161">
                  <a:moveTo>
                    <a:pt x="0" y="37"/>
                  </a:moveTo>
                  <a:lnTo>
                    <a:pt x="0" y="37"/>
                  </a:lnTo>
                  <a:lnTo>
                    <a:pt x="4" y="16"/>
                  </a:lnTo>
                  <a:lnTo>
                    <a:pt x="16" y="0"/>
                  </a:lnTo>
                  <a:lnTo>
                    <a:pt x="40" y="0"/>
                  </a:lnTo>
                  <a:lnTo>
                    <a:pt x="26" y="19"/>
                  </a:lnTo>
                  <a:lnTo>
                    <a:pt x="58" y="23"/>
                  </a:lnTo>
                  <a:lnTo>
                    <a:pt x="38" y="49"/>
                  </a:lnTo>
                  <a:lnTo>
                    <a:pt x="62" y="58"/>
                  </a:lnTo>
                  <a:lnTo>
                    <a:pt x="85" y="91"/>
                  </a:lnTo>
                  <a:lnTo>
                    <a:pt x="78" y="93"/>
                  </a:lnTo>
                  <a:lnTo>
                    <a:pt x="88" y="101"/>
                  </a:lnTo>
                  <a:lnTo>
                    <a:pt x="82" y="110"/>
                  </a:lnTo>
                  <a:lnTo>
                    <a:pt x="105" y="111"/>
                  </a:lnTo>
                  <a:lnTo>
                    <a:pt x="91" y="133"/>
                  </a:lnTo>
                  <a:lnTo>
                    <a:pt x="101" y="139"/>
                  </a:lnTo>
                  <a:lnTo>
                    <a:pt x="6" y="160"/>
                  </a:lnTo>
                  <a:lnTo>
                    <a:pt x="48" y="130"/>
                  </a:lnTo>
                  <a:lnTo>
                    <a:pt x="36" y="135"/>
                  </a:lnTo>
                  <a:lnTo>
                    <a:pt x="12" y="126"/>
                  </a:lnTo>
                  <a:lnTo>
                    <a:pt x="30" y="115"/>
                  </a:lnTo>
                  <a:lnTo>
                    <a:pt x="19" y="110"/>
                  </a:lnTo>
                  <a:lnTo>
                    <a:pt x="43" y="98"/>
                  </a:lnTo>
                  <a:lnTo>
                    <a:pt x="45" y="83"/>
                  </a:lnTo>
                  <a:lnTo>
                    <a:pt x="33" y="79"/>
                  </a:lnTo>
                  <a:lnTo>
                    <a:pt x="40" y="70"/>
                  </a:lnTo>
                  <a:lnTo>
                    <a:pt x="15" y="74"/>
                  </a:lnTo>
                  <a:lnTo>
                    <a:pt x="16" y="51"/>
                  </a:lnTo>
                  <a:lnTo>
                    <a:pt x="4" y="62"/>
                  </a:lnTo>
                  <a:lnTo>
                    <a:pt x="11" y="38"/>
                  </a:lnTo>
                  <a:lnTo>
                    <a:pt x="0" y="3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71" name="Freeform 786">
            <a:extLst>
              <a:ext uri="{FF2B5EF4-FFF2-40B4-BE49-F238E27FC236}">
                <a16:creationId xmlns:a16="http://schemas.microsoft.com/office/drawing/2014/main" id="{963AD41B-26F5-4D47-AD53-8AC2972B2A93}"/>
              </a:ext>
            </a:extLst>
          </p:cNvPr>
          <p:cNvSpPr>
            <a:spLocks/>
          </p:cNvSpPr>
          <p:nvPr/>
        </p:nvSpPr>
        <p:spPr bwMode="auto">
          <a:xfrm>
            <a:off x="4426858" y="4427893"/>
            <a:ext cx="125561" cy="98700"/>
          </a:xfrm>
          <a:custGeom>
            <a:avLst/>
            <a:gdLst>
              <a:gd name="T0" fmla="*/ 54908105 w 109"/>
              <a:gd name="T1" fmla="*/ 8289855 h 90"/>
              <a:gd name="T2" fmla="*/ 64320812 w 109"/>
              <a:gd name="T3" fmla="*/ 4974170 h 90"/>
              <a:gd name="T4" fmla="*/ 76872341 w 109"/>
              <a:gd name="T5" fmla="*/ 0 h 90"/>
              <a:gd name="T6" fmla="*/ 105110482 w 109"/>
              <a:gd name="T7" fmla="*/ 21553883 h 90"/>
              <a:gd name="T8" fmla="*/ 130211035 w 109"/>
              <a:gd name="T9" fmla="*/ 24870854 h 90"/>
              <a:gd name="T10" fmla="*/ 141193153 w 109"/>
              <a:gd name="T11" fmla="*/ 41450558 h 90"/>
              <a:gd name="T12" fmla="*/ 150605860 w 109"/>
              <a:gd name="T13" fmla="*/ 64662927 h 90"/>
              <a:gd name="T14" fmla="*/ 153743429 w 109"/>
              <a:gd name="T15" fmla="*/ 72952779 h 90"/>
              <a:gd name="T16" fmla="*/ 163156136 w 109"/>
              <a:gd name="T17" fmla="*/ 81243919 h 90"/>
              <a:gd name="T18" fmla="*/ 169431313 w 109"/>
              <a:gd name="T19" fmla="*/ 87875306 h 90"/>
              <a:gd name="T20" fmla="*/ 169431313 w 109"/>
              <a:gd name="T21" fmla="*/ 96165158 h 90"/>
              <a:gd name="T22" fmla="*/ 158450409 w 109"/>
              <a:gd name="T23" fmla="*/ 96165158 h 90"/>
              <a:gd name="T24" fmla="*/ 142762563 w 109"/>
              <a:gd name="T25" fmla="*/ 96165158 h 90"/>
              <a:gd name="T26" fmla="*/ 150605860 w 109"/>
              <a:gd name="T27" fmla="*/ 104456297 h 90"/>
              <a:gd name="T28" fmla="*/ 155312840 w 109"/>
              <a:gd name="T29" fmla="*/ 111087664 h 90"/>
              <a:gd name="T30" fmla="*/ 158450409 w 109"/>
              <a:gd name="T31" fmla="*/ 122694487 h 90"/>
              <a:gd name="T32" fmla="*/ 150605860 w 109"/>
              <a:gd name="T33" fmla="*/ 127668656 h 90"/>
              <a:gd name="T34" fmla="*/ 138055584 w 109"/>
              <a:gd name="T35" fmla="*/ 127668656 h 90"/>
              <a:gd name="T36" fmla="*/ 134918014 w 109"/>
              <a:gd name="T37" fmla="*/ 127668656 h 90"/>
              <a:gd name="T38" fmla="*/ 130211035 w 109"/>
              <a:gd name="T39" fmla="*/ 134300023 h 90"/>
              <a:gd name="T40" fmla="*/ 130211035 w 109"/>
              <a:gd name="T41" fmla="*/ 144248360 h 90"/>
              <a:gd name="T42" fmla="*/ 120798327 w 109"/>
              <a:gd name="T43" fmla="*/ 147564044 h 90"/>
              <a:gd name="T44" fmla="*/ 111385620 w 109"/>
              <a:gd name="T45" fmla="*/ 142589875 h 90"/>
              <a:gd name="T46" fmla="*/ 98835344 w 109"/>
              <a:gd name="T47" fmla="*/ 139274191 h 90"/>
              <a:gd name="T48" fmla="*/ 86285068 w 109"/>
              <a:gd name="T49" fmla="*/ 134300023 h 90"/>
              <a:gd name="T50" fmla="*/ 75302930 w 109"/>
              <a:gd name="T51" fmla="*/ 135958508 h 90"/>
              <a:gd name="T52" fmla="*/ 39220249 w 109"/>
              <a:gd name="T53" fmla="*/ 122694487 h 90"/>
              <a:gd name="T54" fmla="*/ 25100562 w 109"/>
              <a:gd name="T55" fmla="*/ 126010170 h 90"/>
              <a:gd name="T56" fmla="*/ 14119692 w 109"/>
              <a:gd name="T57" fmla="*/ 122694487 h 90"/>
              <a:gd name="T58" fmla="*/ 7844551 w 109"/>
              <a:gd name="T59" fmla="*/ 134300023 h 90"/>
              <a:gd name="T60" fmla="*/ 0 w 109"/>
              <a:gd name="T61" fmla="*/ 109430466 h 90"/>
              <a:gd name="T62" fmla="*/ 9412710 w 109"/>
              <a:gd name="T63" fmla="*/ 96165158 h 90"/>
              <a:gd name="T64" fmla="*/ 7844551 w 109"/>
              <a:gd name="T65" fmla="*/ 66321412 h 90"/>
              <a:gd name="T66" fmla="*/ 23532404 w 109"/>
              <a:gd name="T67" fmla="*/ 24870854 h 90"/>
              <a:gd name="T68" fmla="*/ 37652091 w 109"/>
              <a:gd name="T69" fmla="*/ 19896680 h 90"/>
              <a:gd name="T70" fmla="*/ 45495397 w 109"/>
              <a:gd name="T71" fmla="*/ 8289855 h 90"/>
              <a:gd name="T72" fmla="*/ 54908105 w 109"/>
              <a:gd name="T73" fmla="*/ 8289855 h 90"/>
              <a:gd name="T74" fmla="*/ 54908105 w 109"/>
              <a:gd name="T75" fmla="*/ 8289855 h 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9"/>
              <a:gd name="T115" fmla="*/ 0 h 90"/>
              <a:gd name="T116" fmla="*/ 109 w 109"/>
              <a:gd name="T117" fmla="*/ 90 h 9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9" h="90">
                <a:moveTo>
                  <a:pt x="35" y="5"/>
                </a:moveTo>
                <a:lnTo>
                  <a:pt x="41" y="3"/>
                </a:lnTo>
                <a:lnTo>
                  <a:pt x="49" y="0"/>
                </a:lnTo>
                <a:lnTo>
                  <a:pt x="67" y="13"/>
                </a:lnTo>
                <a:lnTo>
                  <a:pt x="83" y="15"/>
                </a:lnTo>
                <a:lnTo>
                  <a:pt x="90" y="25"/>
                </a:lnTo>
                <a:lnTo>
                  <a:pt x="96" y="39"/>
                </a:lnTo>
                <a:lnTo>
                  <a:pt x="98" y="44"/>
                </a:lnTo>
                <a:lnTo>
                  <a:pt x="104" y="49"/>
                </a:lnTo>
                <a:lnTo>
                  <a:pt x="108" y="53"/>
                </a:lnTo>
                <a:lnTo>
                  <a:pt x="108" y="58"/>
                </a:lnTo>
                <a:lnTo>
                  <a:pt x="101" y="58"/>
                </a:lnTo>
                <a:lnTo>
                  <a:pt x="91" y="58"/>
                </a:lnTo>
                <a:lnTo>
                  <a:pt x="96" y="63"/>
                </a:lnTo>
                <a:lnTo>
                  <a:pt x="99" y="67"/>
                </a:lnTo>
                <a:lnTo>
                  <a:pt x="101" y="74"/>
                </a:lnTo>
                <a:lnTo>
                  <a:pt x="96" y="77"/>
                </a:lnTo>
                <a:lnTo>
                  <a:pt x="88" y="77"/>
                </a:lnTo>
                <a:lnTo>
                  <a:pt x="86" y="77"/>
                </a:lnTo>
                <a:lnTo>
                  <a:pt x="83" y="81"/>
                </a:lnTo>
                <a:lnTo>
                  <a:pt x="83" y="87"/>
                </a:lnTo>
                <a:lnTo>
                  <a:pt x="77" y="89"/>
                </a:lnTo>
                <a:lnTo>
                  <a:pt x="71" y="86"/>
                </a:lnTo>
                <a:lnTo>
                  <a:pt x="63" y="84"/>
                </a:lnTo>
                <a:lnTo>
                  <a:pt x="55" y="81"/>
                </a:lnTo>
                <a:lnTo>
                  <a:pt x="48" y="82"/>
                </a:lnTo>
                <a:lnTo>
                  <a:pt x="25" y="74"/>
                </a:lnTo>
                <a:lnTo>
                  <a:pt x="16" y="76"/>
                </a:lnTo>
                <a:lnTo>
                  <a:pt x="9" y="74"/>
                </a:lnTo>
                <a:lnTo>
                  <a:pt x="5" y="81"/>
                </a:lnTo>
                <a:lnTo>
                  <a:pt x="0" y="66"/>
                </a:lnTo>
                <a:lnTo>
                  <a:pt x="6" y="58"/>
                </a:lnTo>
                <a:lnTo>
                  <a:pt x="5" y="40"/>
                </a:lnTo>
                <a:lnTo>
                  <a:pt x="15" y="15"/>
                </a:lnTo>
                <a:lnTo>
                  <a:pt x="24" y="12"/>
                </a:lnTo>
                <a:lnTo>
                  <a:pt x="29" y="5"/>
                </a:lnTo>
                <a:lnTo>
                  <a:pt x="35" y="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2" name="Freeform 787">
            <a:extLst>
              <a:ext uri="{FF2B5EF4-FFF2-40B4-BE49-F238E27FC236}">
                <a16:creationId xmlns:a16="http://schemas.microsoft.com/office/drawing/2014/main" id="{A95BECF4-65E0-4E20-8E81-BF2D70CA24FA}"/>
              </a:ext>
            </a:extLst>
          </p:cNvPr>
          <p:cNvSpPr>
            <a:spLocks/>
          </p:cNvSpPr>
          <p:nvPr/>
        </p:nvSpPr>
        <p:spPr bwMode="auto">
          <a:xfrm>
            <a:off x="4409339" y="4498200"/>
            <a:ext cx="275943" cy="155487"/>
          </a:xfrm>
          <a:custGeom>
            <a:avLst/>
            <a:gdLst>
              <a:gd name="T0" fmla="*/ 190643677 w 241"/>
              <a:gd name="T1" fmla="*/ 8625115 h 139"/>
              <a:gd name="T2" fmla="*/ 207693550 w 241"/>
              <a:gd name="T3" fmla="*/ 0 h 139"/>
              <a:gd name="T4" fmla="*/ 230943376 w 241"/>
              <a:gd name="T5" fmla="*/ 15525734 h 139"/>
              <a:gd name="T6" fmla="*/ 240243307 w 241"/>
              <a:gd name="T7" fmla="*/ 34500462 h 139"/>
              <a:gd name="T8" fmla="*/ 266591866 w 241"/>
              <a:gd name="T9" fmla="*/ 51750698 h 139"/>
              <a:gd name="T10" fmla="*/ 302240355 w 241"/>
              <a:gd name="T11" fmla="*/ 77626037 h 139"/>
              <a:gd name="T12" fmla="*/ 325490182 w 241"/>
              <a:gd name="T13" fmla="*/ 77626037 h 139"/>
              <a:gd name="T14" fmla="*/ 361138749 w 241"/>
              <a:gd name="T15" fmla="*/ 87976981 h 139"/>
              <a:gd name="T16" fmla="*/ 351838818 w 241"/>
              <a:gd name="T17" fmla="*/ 129376735 h 139"/>
              <a:gd name="T18" fmla="*/ 320840216 w 241"/>
              <a:gd name="T19" fmla="*/ 165602997 h 139"/>
              <a:gd name="T20" fmla="*/ 272791819 w 241"/>
              <a:gd name="T21" fmla="*/ 194928685 h 139"/>
              <a:gd name="T22" fmla="*/ 274341808 w 241"/>
              <a:gd name="T23" fmla="*/ 210453100 h 139"/>
              <a:gd name="T24" fmla="*/ 251091981 w 241"/>
              <a:gd name="T25" fmla="*/ 238054249 h 139"/>
              <a:gd name="T26" fmla="*/ 246442016 w 241"/>
              <a:gd name="T27" fmla="*/ 191478377 h 139"/>
              <a:gd name="T28" fmla="*/ 206143561 w 241"/>
              <a:gd name="T29" fmla="*/ 186302258 h 139"/>
              <a:gd name="T30" fmla="*/ 206143561 w 241"/>
              <a:gd name="T31" fmla="*/ 170777802 h 139"/>
              <a:gd name="T32" fmla="*/ 158095125 w 241"/>
              <a:gd name="T33" fmla="*/ 210453100 h 139"/>
              <a:gd name="T34" fmla="*/ 141045253 w 241"/>
              <a:gd name="T35" fmla="*/ 188028069 h 139"/>
              <a:gd name="T36" fmla="*/ 154995149 w 241"/>
              <a:gd name="T37" fmla="*/ 174228151 h 139"/>
              <a:gd name="T38" fmla="*/ 164295118 w 241"/>
              <a:gd name="T39" fmla="*/ 160426878 h 139"/>
              <a:gd name="T40" fmla="*/ 145695218 w 241"/>
              <a:gd name="T41" fmla="*/ 136277350 h 139"/>
              <a:gd name="T42" fmla="*/ 113146705 w 241"/>
              <a:gd name="T43" fmla="*/ 122477432 h 139"/>
              <a:gd name="T44" fmla="*/ 55798359 w 241"/>
              <a:gd name="T45" fmla="*/ 129376735 h 139"/>
              <a:gd name="T46" fmla="*/ 13949901 w 241"/>
              <a:gd name="T47" fmla="*/ 132827043 h 139"/>
              <a:gd name="T48" fmla="*/ 9299933 w 241"/>
              <a:gd name="T49" fmla="*/ 98326591 h 139"/>
              <a:gd name="T50" fmla="*/ 40298464 w 241"/>
              <a:gd name="T51" fmla="*/ 53475195 h 139"/>
              <a:gd name="T52" fmla="*/ 32548522 w 241"/>
              <a:gd name="T53" fmla="*/ 20700539 h 139"/>
              <a:gd name="T54" fmla="*/ 49598405 w 241"/>
              <a:gd name="T55" fmla="*/ 18974728 h 139"/>
              <a:gd name="T56" fmla="*/ 80596929 w 241"/>
              <a:gd name="T57" fmla="*/ 22425041 h 139"/>
              <a:gd name="T58" fmla="*/ 110046729 w 241"/>
              <a:gd name="T59" fmla="*/ 25875349 h 139"/>
              <a:gd name="T60" fmla="*/ 134845299 w 241"/>
              <a:gd name="T61" fmla="*/ 36224959 h 139"/>
              <a:gd name="T62" fmla="*/ 153445160 w 241"/>
              <a:gd name="T63" fmla="*/ 37950770 h 139"/>
              <a:gd name="T64" fmla="*/ 158095125 w 241"/>
              <a:gd name="T65" fmla="*/ 20700539 h 139"/>
              <a:gd name="T66" fmla="*/ 178245014 w 241"/>
              <a:gd name="T67" fmla="*/ 18974728 h 139"/>
              <a:gd name="T68" fmla="*/ 184444968 w 241"/>
              <a:gd name="T69" fmla="*/ 12075426 h 1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1"/>
              <a:gd name="T106" fmla="*/ 0 h 139"/>
              <a:gd name="T107" fmla="*/ 241 w 241"/>
              <a:gd name="T108" fmla="*/ 139 h 1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1" h="139">
                <a:moveTo>
                  <a:pt x="119" y="7"/>
                </a:moveTo>
                <a:lnTo>
                  <a:pt x="123" y="5"/>
                </a:lnTo>
                <a:lnTo>
                  <a:pt x="129" y="2"/>
                </a:lnTo>
                <a:lnTo>
                  <a:pt x="134" y="0"/>
                </a:lnTo>
                <a:lnTo>
                  <a:pt x="145" y="2"/>
                </a:lnTo>
                <a:lnTo>
                  <a:pt x="149" y="9"/>
                </a:lnTo>
                <a:lnTo>
                  <a:pt x="151" y="17"/>
                </a:lnTo>
                <a:lnTo>
                  <a:pt x="155" y="20"/>
                </a:lnTo>
                <a:lnTo>
                  <a:pt x="160" y="18"/>
                </a:lnTo>
                <a:lnTo>
                  <a:pt x="172" y="30"/>
                </a:lnTo>
                <a:lnTo>
                  <a:pt x="178" y="39"/>
                </a:lnTo>
                <a:lnTo>
                  <a:pt x="195" y="45"/>
                </a:lnTo>
                <a:lnTo>
                  <a:pt x="205" y="47"/>
                </a:lnTo>
                <a:lnTo>
                  <a:pt x="210" y="45"/>
                </a:lnTo>
                <a:lnTo>
                  <a:pt x="221" y="49"/>
                </a:lnTo>
                <a:lnTo>
                  <a:pt x="233" y="51"/>
                </a:lnTo>
                <a:lnTo>
                  <a:pt x="240" y="72"/>
                </a:lnTo>
                <a:lnTo>
                  <a:pt x="227" y="75"/>
                </a:lnTo>
                <a:lnTo>
                  <a:pt x="225" y="85"/>
                </a:lnTo>
                <a:lnTo>
                  <a:pt x="207" y="96"/>
                </a:lnTo>
                <a:lnTo>
                  <a:pt x="179" y="103"/>
                </a:lnTo>
                <a:lnTo>
                  <a:pt x="176" y="113"/>
                </a:lnTo>
                <a:lnTo>
                  <a:pt x="164" y="109"/>
                </a:lnTo>
                <a:lnTo>
                  <a:pt x="177" y="122"/>
                </a:lnTo>
                <a:lnTo>
                  <a:pt x="193" y="124"/>
                </a:lnTo>
                <a:lnTo>
                  <a:pt x="162" y="138"/>
                </a:lnTo>
                <a:lnTo>
                  <a:pt x="143" y="122"/>
                </a:lnTo>
                <a:lnTo>
                  <a:pt x="159" y="111"/>
                </a:lnTo>
                <a:lnTo>
                  <a:pt x="143" y="108"/>
                </a:lnTo>
                <a:lnTo>
                  <a:pt x="133" y="108"/>
                </a:lnTo>
                <a:lnTo>
                  <a:pt x="136" y="98"/>
                </a:lnTo>
                <a:lnTo>
                  <a:pt x="133" y="99"/>
                </a:lnTo>
                <a:lnTo>
                  <a:pt x="110" y="104"/>
                </a:lnTo>
                <a:lnTo>
                  <a:pt x="102" y="122"/>
                </a:lnTo>
                <a:lnTo>
                  <a:pt x="87" y="121"/>
                </a:lnTo>
                <a:lnTo>
                  <a:pt x="91" y="109"/>
                </a:lnTo>
                <a:lnTo>
                  <a:pt x="92" y="103"/>
                </a:lnTo>
                <a:lnTo>
                  <a:pt x="100" y="101"/>
                </a:lnTo>
                <a:lnTo>
                  <a:pt x="105" y="97"/>
                </a:lnTo>
                <a:lnTo>
                  <a:pt x="106" y="93"/>
                </a:lnTo>
                <a:lnTo>
                  <a:pt x="100" y="92"/>
                </a:lnTo>
                <a:lnTo>
                  <a:pt x="94" y="79"/>
                </a:lnTo>
                <a:lnTo>
                  <a:pt x="85" y="71"/>
                </a:lnTo>
                <a:lnTo>
                  <a:pt x="73" y="71"/>
                </a:lnTo>
                <a:lnTo>
                  <a:pt x="58" y="74"/>
                </a:lnTo>
                <a:lnTo>
                  <a:pt x="36" y="75"/>
                </a:lnTo>
                <a:lnTo>
                  <a:pt x="25" y="77"/>
                </a:lnTo>
                <a:lnTo>
                  <a:pt x="9" y="77"/>
                </a:lnTo>
                <a:lnTo>
                  <a:pt x="0" y="70"/>
                </a:lnTo>
                <a:lnTo>
                  <a:pt x="6" y="57"/>
                </a:lnTo>
                <a:lnTo>
                  <a:pt x="15" y="44"/>
                </a:lnTo>
                <a:lnTo>
                  <a:pt x="26" y="31"/>
                </a:lnTo>
                <a:lnTo>
                  <a:pt x="21" y="15"/>
                </a:lnTo>
                <a:lnTo>
                  <a:pt x="21" y="12"/>
                </a:lnTo>
                <a:lnTo>
                  <a:pt x="25" y="9"/>
                </a:lnTo>
                <a:lnTo>
                  <a:pt x="32" y="11"/>
                </a:lnTo>
                <a:lnTo>
                  <a:pt x="41" y="9"/>
                </a:lnTo>
                <a:lnTo>
                  <a:pt x="52" y="13"/>
                </a:lnTo>
                <a:lnTo>
                  <a:pt x="63" y="17"/>
                </a:lnTo>
                <a:lnTo>
                  <a:pt x="71" y="15"/>
                </a:lnTo>
                <a:lnTo>
                  <a:pt x="79" y="19"/>
                </a:lnTo>
                <a:lnTo>
                  <a:pt x="87" y="21"/>
                </a:lnTo>
                <a:lnTo>
                  <a:pt x="93" y="24"/>
                </a:lnTo>
                <a:lnTo>
                  <a:pt x="99" y="22"/>
                </a:lnTo>
                <a:lnTo>
                  <a:pt x="99" y="16"/>
                </a:lnTo>
                <a:lnTo>
                  <a:pt x="102" y="12"/>
                </a:lnTo>
                <a:lnTo>
                  <a:pt x="112" y="12"/>
                </a:lnTo>
                <a:lnTo>
                  <a:pt x="115" y="11"/>
                </a:lnTo>
                <a:lnTo>
                  <a:pt x="119"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3" name="Freeform 788">
            <a:extLst>
              <a:ext uri="{FF2B5EF4-FFF2-40B4-BE49-F238E27FC236}">
                <a16:creationId xmlns:a16="http://schemas.microsoft.com/office/drawing/2014/main" id="{A82C2CB6-9C1B-463B-B201-2EDC9A84F804}"/>
              </a:ext>
            </a:extLst>
          </p:cNvPr>
          <p:cNvSpPr>
            <a:spLocks/>
          </p:cNvSpPr>
          <p:nvPr/>
        </p:nvSpPr>
        <p:spPr bwMode="auto">
          <a:xfrm>
            <a:off x="4479420" y="4577971"/>
            <a:ext cx="51101" cy="55434"/>
          </a:xfrm>
          <a:custGeom>
            <a:avLst/>
            <a:gdLst>
              <a:gd name="T0" fmla="*/ 15245252 w 45"/>
              <a:gd name="T1" fmla="*/ 21173698 h 51"/>
              <a:gd name="T2" fmla="*/ 22868498 w 45"/>
              <a:gd name="T3" fmla="*/ 34203856 h 51"/>
              <a:gd name="T4" fmla="*/ 27441949 w 45"/>
              <a:gd name="T5" fmla="*/ 42347396 h 51"/>
              <a:gd name="T6" fmla="*/ 32015399 w 45"/>
              <a:gd name="T7" fmla="*/ 79808144 h 51"/>
              <a:gd name="T8" fmla="*/ 38113745 w 45"/>
              <a:gd name="T9" fmla="*/ 81436595 h 51"/>
              <a:gd name="T10" fmla="*/ 44212101 w 45"/>
              <a:gd name="T11" fmla="*/ 61891357 h 51"/>
              <a:gd name="T12" fmla="*/ 45736996 w 45"/>
              <a:gd name="T13" fmla="*/ 52119377 h 51"/>
              <a:gd name="T14" fmla="*/ 64032034 w 45"/>
              <a:gd name="T15" fmla="*/ 45604298 h 51"/>
              <a:gd name="T16" fmla="*/ 67080589 w 45"/>
              <a:gd name="T17" fmla="*/ 37460758 h 51"/>
              <a:gd name="T18" fmla="*/ 59458583 w 45"/>
              <a:gd name="T19" fmla="*/ 34203856 h 51"/>
              <a:gd name="T20" fmla="*/ 50310447 w 45"/>
              <a:gd name="T21" fmla="*/ 13030163 h 51"/>
              <a:gd name="T22" fmla="*/ 35065190 w 45"/>
              <a:gd name="T23" fmla="*/ 0 h 51"/>
              <a:gd name="T24" fmla="*/ 16770147 w 45"/>
              <a:gd name="T25" fmla="*/ 0 h 51"/>
              <a:gd name="T26" fmla="*/ 0 w 45"/>
              <a:gd name="T27" fmla="*/ 1628451 h 51"/>
              <a:gd name="T28" fmla="*/ 15245252 w 45"/>
              <a:gd name="T29" fmla="*/ 21173698 h 51"/>
              <a:gd name="T30" fmla="*/ 15245252 w 45"/>
              <a:gd name="T31" fmla="*/ 21173698 h 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51"/>
              <a:gd name="T50" fmla="*/ 45 w 45"/>
              <a:gd name="T51" fmla="*/ 51 h 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51">
                <a:moveTo>
                  <a:pt x="10" y="13"/>
                </a:moveTo>
                <a:lnTo>
                  <a:pt x="15" y="21"/>
                </a:lnTo>
                <a:lnTo>
                  <a:pt x="18" y="26"/>
                </a:lnTo>
                <a:lnTo>
                  <a:pt x="21" y="49"/>
                </a:lnTo>
                <a:lnTo>
                  <a:pt x="25" y="50"/>
                </a:lnTo>
                <a:lnTo>
                  <a:pt x="29" y="38"/>
                </a:lnTo>
                <a:lnTo>
                  <a:pt x="30" y="32"/>
                </a:lnTo>
                <a:lnTo>
                  <a:pt x="42" y="28"/>
                </a:lnTo>
                <a:lnTo>
                  <a:pt x="44" y="23"/>
                </a:lnTo>
                <a:lnTo>
                  <a:pt x="39" y="21"/>
                </a:lnTo>
                <a:lnTo>
                  <a:pt x="33" y="8"/>
                </a:lnTo>
                <a:lnTo>
                  <a:pt x="23" y="0"/>
                </a:lnTo>
                <a:lnTo>
                  <a:pt x="11" y="0"/>
                </a:lnTo>
                <a:lnTo>
                  <a:pt x="0" y="1"/>
                </a:lnTo>
                <a:lnTo>
                  <a:pt x="10"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4" name="Freeform 789">
            <a:extLst>
              <a:ext uri="{FF2B5EF4-FFF2-40B4-BE49-F238E27FC236}">
                <a16:creationId xmlns:a16="http://schemas.microsoft.com/office/drawing/2014/main" id="{F13E0817-830A-4419-9E5B-A121B77DA6DD}"/>
              </a:ext>
            </a:extLst>
          </p:cNvPr>
          <p:cNvSpPr>
            <a:spLocks/>
          </p:cNvSpPr>
          <p:nvPr/>
        </p:nvSpPr>
        <p:spPr bwMode="auto">
          <a:xfrm>
            <a:off x="4429779" y="4340011"/>
            <a:ext cx="80301" cy="52729"/>
          </a:xfrm>
          <a:custGeom>
            <a:avLst/>
            <a:gdLst>
              <a:gd name="T0" fmla="*/ 92873192 w 69"/>
              <a:gd name="T1" fmla="*/ 1811599 h 46"/>
              <a:gd name="T2" fmla="*/ 0 w 69"/>
              <a:gd name="T3" fmla="*/ 18114643 h 46"/>
              <a:gd name="T4" fmla="*/ 8006221 w 69"/>
              <a:gd name="T5" fmla="*/ 48910485 h 46"/>
              <a:gd name="T6" fmla="*/ 19215183 w 69"/>
              <a:gd name="T7" fmla="*/ 47098886 h 46"/>
              <a:gd name="T8" fmla="*/ 16012443 w 69"/>
              <a:gd name="T9" fmla="*/ 76081768 h 46"/>
              <a:gd name="T10" fmla="*/ 27221407 w 69"/>
              <a:gd name="T11" fmla="*/ 76081768 h 46"/>
              <a:gd name="T12" fmla="*/ 32024886 w 69"/>
              <a:gd name="T13" fmla="*/ 72459918 h 46"/>
              <a:gd name="T14" fmla="*/ 35227626 w 69"/>
              <a:gd name="T15" fmla="*/ 74270170 h 46"/>
              <a:gd name="T16" fmla="*/ 51240074 w 69"/>
              <a:gd name="T17" fmla="*/ 72459918 h 46"/>
              <a:gd name="T18" fmla="*/ 62449034 w 69"/>
              <a:gd name="T19" fmla="*/ 74270170 h 46"/>
              <a:gd name="T20" fmla="*/ 68853250 w 69"/>
              <a:gd name="T21" fmla="*/ 81516563 h 46"/>
              <a:gd name="T22" fmla="*/ 84865707 w 69"/>
              <a:gd name="T23" fmla="*/ 74270170 h 46"/>
              <a:gd name="T24" fmla="*/ 91271189 w 69"/>
              <a:gd name="T25" fmla="*/ 81516563 h 46"/>
              <a:gd name="T26" fmla="*/ 94473929 w 69"/>
              <a:gd name="T27" fmla="*/ 76081768 h 46"/>
              <a:gd name="T28" fmla="*/ 108885629 w 69"/>
              <a:gd name="T29" fmla="*/ 50722083 h 46"/>
              <a:gd name="T30" fmla="*/ 108885629 w 69"/>
              <a:gd name="T31" fmla="*/ 28984238 h 46"/>
              <a:gd name="T32" fmla="*/ 96074667 w 69"/>
              <a:gd name="T33" fmla="*/ 18114643 h 46"/>
              <a:gd name="T34" fmla="*/ 96074667 w 69"/>
              <a:gd name="T35" fmla="*/ 0 h 46"/>
              <a:gd name="T36" fmla="*/ 78461472 w 69"/>
              <a:gd name="T37" fmla="*/ 3623198 h 46"/>
              <a:gd name="T38" fmla="*/ 92873192 w 69"/>
              <a:gd name="T39" fmla="*/ 1811599 h 46"/>
              <a:gd name="T40" fmla="*/ 92873192 w 69"/>
              <a:gd name="T41" fmla="*/ 1811599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46"/>
              <a:gd name="T65" fmla="*/ 69 w 69"/>
              <a:gd name="T66" fmla="*/ 46 h 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46">
                <a:moveTo>
                  <a:pt x="58" y="1"/>
                </a:moveTo>
                <a:lnTo>
                  <a:pt x="0" y="10"/>
                </a:lnTo>
                <a:lnTo>
                  <a:pt x="5" y="27"/>
                </a:lnTo>
                <a:lnTo>
                  <a:pt x="12" y="26"/>
                </a:lnTo>
                <a:lnTo>
                  <a:pt x="10" y="42"/>
                </a:lnTo>
                <a:lnTo>
                  <a:pt x="17" y="42"/>
                </a:lnTo>
                <a:lnTo>
                  <a:pt x="20" y="40"/>
                </a:lnTo>
                <a:lnTo>
                  <a:pt x="22" y="41"/>
                </a:lnTo>
                <a:lnTo>
                  <a:pt x="32" y="40"/>
                </a:lnTo>
                <a:lnTo>
                  <a:pt x="39" y="41"/>
                </a:lnTo>
                <a:lnTo>
                  <a:pt x="43" y="45"/>
                </a:lnTo>
                <a:lnTo>
                  <a:pt x="53" y="41"/>
                </a:lnTo>
                <a:lnTo>
                  <a:pt x="57" y="45"/>
                </a:lnTo>
                <a:lnTo>
                  <a:pt x="59" y="42"/>
                </a:lnTo>
                <a:lnTo>
                  <a:pt x="68" y="28"/>
                </a:lnTo>
                <a:lnTo>
                  <a:pt x="68" y="16"/>
                </a:lnTo>
                <a:lnTo>
                  <a:pt x="60" y="10"/>
                </a:lnTo>
                <a:lnTo>
                  <a:pt x="60" y="0"/>
                </a:lnTo>
                <a:lnTo>
                  <a:pt x="49" y="2"/>
                </a:lnTo>
                <a:lnTo>
                  <a:pt x="58" y="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5" name="Freeform 790">
            <a:extLst>
              <a:ext uri="{FF2B5EF4-FFF2-40B4-BE49-F238E27FC236}">
                <a16:creationId xmlns:a16="http://schemas.microsoft.com/office/drawing/2014/main" id="{8E6C7D94-2CCA-4C44-B3CB-82E170208E8E}"/>
              </a:ext>
            </a:extLst>
          </p:cNvPr>
          <p:cNvSpPr>
            <a:spLocks/>
          </p:cNvSpPr>
          <p:nvPr/>
        </p:nvSpPr>
        <p:spPr bwMode="auto">
          <a:xfrm>
            <a:off x="4368459" y="4408965"/>
            <a:ext cx="125561" cy="62194"/>
          </a:xfrm>
          <a:custGeom>
            <a:avLst/>
            <a:gdLst>
              <a:gd name="T0" fmla="*/ 34514522 w 109"/>
              <a:gd name="T1" fmla="*/ 12801014 h 54"/>
              <a:gd name="T2" fmla="*/ 69027792 w 109"/>
              <a:gd name="T3" fmla="*/ 9144353 h 54"/>
              <a:gd name="T4" fmla="*/ 95697775 w 109"/>
              <a:gd name="T5" fmla="*/ 0 h 54"/>
              <a:gd name="T6" fmla="*/ 133348604 w 109"/>
              <a:gd name="T7" fmla="*/ 0 h 54"/>
              <a:gd name="T8" fmla="*/ 169431313 w 109"/>
              <a:gd name="T9" fmla="*/ 0 h 54"/>
              <a:gd name="T10" fmla="*/ 155312840 w 109"/>
              <a:gd name="T11" fmla="*/ 21945364 h 54"/>
              <a:gd name="T12" fmla="*/ 141193153 w 109"/>
              <a:gd name="T13" fmla="*/ 34746378 h 54"/>
              <a:gd name="T14" fmla="*/ 123935896 w 109"/>
              <a:gd name="T15" fmla="*/ 36574707 h 54"/>
              <a:gd name="T16" fmla="*/ 103542324 w 109"/>
              <a:gd name="T17" fmla="*/ 60348405 h 54"/>
              <a:gd name="T18" fmla="*/ 95697775 w 109"/>
              <a:gd name="T19" fmla="*/ 80465435 h 54"/>
              <a:gd name="T20" fmla="*/ 89422637 w 109"/>
              <a:gd name="T21" fmla="*/ 96924475 h 54"/>
              <a:gd name="T22" fmla="*/ 80009910 w 109"/>
              <a:gd name="T23" fmla="*/ 85951774 h 54"/>
              <a:gd name="T24" fmla="*/ 0 w 109"/>
              <a:gd name="T25" fmla="*/ 69492755 h 54"/>
              <a:gd name="T26" fmla="*/ 21962993 w 109"/>
              <a:gd name="T27" fmla="*/ 49377078 h 54"/>
              <a:gd name="T28" fmla="*/ 36082680 w 109"/>
              <a:gd name="T29" fmla="*/ 60348405 h 54"/>
              <a:gd name="T30" fmla="*/ 31375701 w 109"/>
              <a:gd name="T31" fmla="*/ 38404388 h 54"/>
              <a:gd name="T32" fmla="*/ 34514522 w 109"/>
              <a:gd name="T33" fmla="*/ 12801014 h 54"/>
              <a:gd name="T34" fmla="*/ 34514522 w 109"/>
              <a:gd name="T35" fmla="*/ 12801014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9"/>
              <a:gd name="T55" fmla="*/ 0 h 54"/>
              <a:gd name="T56" fmla="*/ 109 w 109"/>
              <a:gd name="T57" fmla="*/ 54 h 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9" h="54">
                <a:moveTo>
                  <a:pt x="22" y="7"/>
                </a:moveTo>
                <a:lnTo>
                  <a:pt x="44" y="5"/>
                </a:lnTo>
                <a:lnTo>
                  <a:pt x="61" y="0"/>
                </a:lnTo>
                <a:lnTo>
                  <a:pt x="85" y="0"/>
                </a:lnTo>
                <a:lnTo>
                  <a:pt x="108" y="0"/>
                </a:lnTo>
                <a:lnTo>
                  <a:pt x="99" y="12"/>
                </a:lnTo>
                <a:lnTo>
                  <a:pt x="90" y="19"/>
                </a:lnTo>
                <a:lnTo>
                  <a:pt x="79" y="20"/>
                </a:lnTo>
                <a:lnTo>
                  <a:pt x="66" y="33"/>
                </a:lnTo>
                <a:lnTo>
                  <a:pt x="61" y="44"/>
                </a:lnTo>
                <a:lnTo>
                  <a:pt x="57" y="53"/>
                </a:lnTo>
                <a:lnTo>
                  <a:pt x="51" y="47"/>
                </a:lnTo>
                <a:lnTo>
                  <a:pt x="0" y="38"/>
                </a:lnTo>
                <a:lnTo>
                  <a:pt x="14" y="27"/>
                </a:lnTo>
                <a:lnTo>
                  <a:pt x="23" y="33"/>
                </a:lnTo>
                <a:lnTo>
                  <a:pt x="20" y="21"/>
                </a:lnTo>
                <a:lnTo>
                  <a:pt x="22"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6" name="Freeform 791">
            <a:extLst>
              <a:ext uri="{FF2B5EF4-FFF2-40B4-BE49-F238E27FC236}">
                <a16:creationId xmlns:a16="http://schemas.microsoft.com/office/drawing/2014/main" id="{D658C2E5-253C-49B8-9139-B1A75693B43B}"/>
              </a:ext>
            </a:extLst>
          </p:cNvPr>
          <p:cNvSpPr>
            <a:spLocks/>
          </p:cNvSpPr>
          <p:nvPr/>
        </p:nvSpPr>
        <p:spPr bwMode="auto">
          <a:xfrm>
            <a:off x="4390358" y="4384627"/>
            <a:ext cx="108042" cy="43265"/>
          </a:xfrm>
          <a:custGeom>
            <a:avLst/>
            <a:gdLst>
              <a:gd name="T0" fmla="*/ 68810669 w 95"/>
              <a:gd name="T1" fmla="*/ 6786359 h 39"/>
              <a:gd name="T2" fmla="*/ 81044160 w 95"/>
              <a:gd name="T3" fmla="*/ 6786359 h 39"/>
              <a:gd name="T4" fmla="*/ 91747984 w 95"/>
              <a:gd name="T5" fmla="*/ 3393179 h 39"/>
              <a:gd name="T6" fmla="*/ 93276395 w 95"/>
              <a:gd name="T7" fmla="*/ 6786359 h 39"/>
              <a:gd name="T8" fmla="*/ 97864102 w 95"/>
              <a:gd name="T9" fmla="*/ 1697241 h 39"/>
              <a:gd name="T10" fmla="*/ 140679397 w 95"/>
              <a:gd name="T11" fmla="*/ 0 h 39"/>
              <a:gd name="T12" fmla="*/ 143737456 w 95"/>
              <a:gd name="T13" fmla="*/ 10179537 h 39"/>
              <a:gd name="T14" fmla="*/ 137621339 w 95"/>
              <a:gd name="T15" fmla="*/ 35630335 h 39"/>
              <a:gd name="T16" fmla="*/ 126917515 w 95"/>
              <a:gd name="T17" fmla="*/ 64473011 h 39"/>
              <a:gd name="T18" fmla="*/ 103980219 w 95"/>
              <a:gd name="T19" fmla="*/ 49203058 h 39"/>
              <a:gd name="T20" fmla="*/ 64222963 w 95"/>
              <a:gd name="T21" fmla="*/ 42416691 h 39"/>
              <a:gd name="T22" fmla="*/ 27523775 w 95"/>
              <a:gd name="T23" fmla="*/ 50900298 h 39"/>
              <a:gd name="T24" fmla="*/ 22937305 w 95"/>
              <a:gd name="T25" fmla="*/ 50900298 h 39"/>
              <a:gd name="T26" fmla="*/ 1529648 w 95"/>
              <a:gd name="T27" fmla="*/ 54293476 h 39"/>
              <a:gd name="T28" fmla="*/ 0 w 95"/>
              <a:gd name="T29" fmla="*/ 37326272 h 39"/>
              <a:gd name="T30" fmla="*/ 13761888 w 95"/>
              <a:gd name="T31" fmla="*/ 8483599 h 39"/>
              <a:gd name="T32" fmla="*/ 30583070 w 95"/>
              <a:gd name="T33" fmla="*/ 3393179 h 39"/>
              <a:gd name="T34" fmla="*/ 65752611 w 95"/>
              <a:gd name="T35" fmla="*/ 30539916 h 39"/>
              <a:gd name="T36" fmla="*/ 68810669 w 95"/>
              <a:gd name="T37" fmla="*/ 6786359 h 39"/>
              <a:gd name="T38" fmla="*/ 68810669 w 95"/>
              <a:gd name="T39" fmla="*/ 6786359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5"/>
              <a:gd name="T61" fmla="*/ 0 h 39"/>
              <a:gd name="T62" fmla="*/ 95 w 95"/>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5" h="39">
                <a:moveTo>
                  <a:pt x="45" y="4"/>
                </a:moveTo>
                <a:lnTo>
                  <a:pt x="53" y="4"/>
                </a:lnTo>
                <a:lnTo>
                  <a:pt x="60" y="2"/>
                </a:lnTo>
                <a:lnTo>
                  <a:pt x="61" y="4"/>
                </a:lnTo>
                <a:lnTo>
                  <a:pt x="64" y="1"/>
                </a:lnTo>
                <a:lnTo>
                  <a:pt x="92" y="0"/>
                </a:lnTo>
                <a:lnTo>
                  <a:pt x="94" y="6"/>
                </a:lnTo>
                <a:lnTo>
                  <a:pt x="90" y="21"/>
                </a:lnTo>
                <a:lnTo>
                  <a:pt x="83" y="38"/>
                </a:lnTo>
                <a:lnTo>
                  <a:pt x="68" y="29"/>
                </a:lnTo>
                <a:lnTo>
                  <a:pt x="42" y="25"/>
                </a:lnTo>
                <a:lnTo>
                  <a:pt x="18" y="30"/>
                </a:lnTo>
                <a:lnTo>
                  <a:pt x="15" y="30"/>
                </a:lnTo>
                <a:lnTo>
                  <a:pt x="1" y="32"/>
                </a:lnTo>
                <a:lnTo>
                  <a:pt x="0" y="22"/>
                </a:lnTo>
                <a:lnTo>
                  <a:pt x="9" y="5"/>
                </a:lnTo>
                <a:lnTo>
                  <a:pt x="20" y="2"/>
                </a:lnTo>
                <a:lnTo>
                  <a:pt x="43" y="18"/>
                </a:lnTo>
                <a:lnTo>
                  <a:pt x="45" y="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7" name="Freeform 792">
            <a:extLst>
              <a:ext uri="{FF2B5EF4-FFF2-40B4-BE49-F238E27FC236}">
                <a16:creationId xmlns:a16="http://schemas.microsoft.com/office/drawing/2014/main" id="{59202752-5754-4DE6-B2D6-DF32F10E5DC8}"/>
              </a:ext>
            </a:extLst>
          </p:cNvPr>
          <p:cNvSpPr>
            <a:spLocks/>
          </p:cNvSpPr>
          <p:nvPr/>
        </p:nvSpPr>
        <p:spPr bwMode="auto">
          <a:xfrm>
            <a:off x="4276478" y="4605013"/>
            <a:ext cx="52561" cy="28393"/>
          </a:xfrm>
          <a:custGeom>
            <a:avLst/>
            <a:gdLst>
              <a:gd name="T0" fmla="*/ 0 w 47"/>
              <a:gd name="T1" fmla="*/ 42676691 h 25"/>
              <a:gd name="T2" fmla="*/ 0 w 47"/>
              <a:gd name="T3" fmla="*/ 42676691 h 25"/>
              <a:gd name="T4" fmla="*/ 0 w 47"/>
              <a:gd name="T5" fmla="*/ 12446704 h 25"/>
              <a:gd name="T6" fmla="*/ 47314124 w 47"/>
              <a:gd name="T7" fmla="*/ 0 h 25"/>
              <a:gd name="T8" fmla="*/ 59141738 w 47"/>
              <a:gd name="T9" fmla="*/ 8890311 h 25"/>
              <a:gd name="T10" fmla="*/ 68013361 w 47"/>
              <a:gd name="T11" fmla="*/ 17781956 h 25"/>
              <a:gd name="T12" fmla="*/ 48792728 w 47"/>
              <a:gd name="T13" fmla="*/ 24894741 h 25"/>
              <a:gd name="T14" fmla="*/ 28092265 w 47"/>
              <a:gd name="T15" fmla="*/ 37341439 h 25"/>
              <a:gd name="T16" fmla="*/ 10350231 w 47"/>
              <a:gd name="T17" fmla="*/ 37341439 h 25"/>
              <a:gd name="T18" fmla="*/ 0 w 47"/>
              <a:gd name="T19" fmla="*/ 42676691 h 25"/>
              <a:gd name="T20" fmla="*/ 0 w 47"/>
              <a:gd name="T21" fmla="*/ 42676691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
              <a:gd name="T34" fmla="*/ 0 h 25"/>
              <a:gd name="T35" fmla="*/ 47 w 47"/>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 h="25">
                <a:moveTo>
                  <a:pt x="0" y="24"/>
                </a:moveTo>
                <a:lnTo>
                  <a:pt x="0" y="24"/>
                </a:lnTo>
                <a:lnTo>
                  <a:pt x="0" y="7"/>
                </a:lnTo>
                <a:lnTo>
                  <a:pt x="32" y="0"/>
                </a:lnTo>
                <a:lnTo>
                  <a:pt x="40" y="5"/>
                </a:lnTo>
                <a:lnTo>
                  <a:pt x="46" y="10"/>
                </a:lnTo>
                <a:lnTo>
                  <a:pt x="33" y="14"/>
                </a:lnTo>
                <a:lnTo>
                  <a:pt x="19" y="21"/>
                </a:lnTo>
                <a:lnTo>
                  <a:pt x="7" y="21"/>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8" name="Freeform 793">
            <a:extLst>
              <a:ext uri="{FF2B5EF4-FFF2-40B4-BE49-F238E27FC236}">
                <a16:creationId xmlns:a16="http://schemas.microsoft.com/office/drawing/2014/main" id="{7D1A9FB2-D060-4515-BD88-6FCAEAF225BE}"/>
              </a:ext>
            </a:extLst>
          </p:cNvPr>
          <p:cNvSpPr>
            <a:spLocks/>
          </p:cNvSpPr>
          <p:nvPr/>
        </p:nvSpPr>
        <p:spPr bwMode="auto">
          <a:xfrm>
            <a:off x="4385979" y="4695601"/>
            <a:ext cx="39420" cy="21633"/>
          </a:xfrm>
          <a:custGeom>
            <a:avLst/>
            <a:gdLst>
              <a:gd name="T0" fmla="*/ 0 w 32"/>
              <a:gd name="T1" fmla="*/ 12903200 h 20"/>
              <a:gd name="T2" fmla="*/ 10765308 w 32"/>
              <a:gd name="T3" fmla="*/ 30645098 h 20"/>
              <a:gd name="T4" fmla="*/ 55620095 w 32"/>
              <a:gd name="T5" fmla="*/ 17741898 h 20"/>
              <a:gd name="T6" fmla="*/ 46648337 w 32"/>
              <a:gd name="T7" fmla="*/ 0 h 20"/>
              <a:gd name="T8" fmla="*/ 3588436 w 32"/>
              <a:gd name="T9" fmla="*/ 14516099 h 20"/>
              <a:gd name="T10" fmla="*/ 0 w 32"/>
              <a:gd name="T11" fmla="*/ 12903200 h 20"/>
              <a:gd name="T12" fmla="*/ 0 w 32"/>
              <a:gd name="T13" fmla="*/ 12903200 h 20"/>
              <a:gd name="T14" fmla="*/ 0 60000 65536"/>
              <a:gd name="T15" fmla="*/ 0 60000 65536"/>
              <a:gd name="T16" fmla="*/ 0 60000 65536"/>
              <a:gd name="T17" fmla="*/ 0 60000 65536"/>
              <a:gd name="T18" fmla="*/ 0 60000 65536"/>
              <a:gd name="T19" fmla="*/ 0 60000 65536"/>
              <a:gd name="T20" fmla="*/ 0 60000 65536"/>
              <a:gd name="T21" fmla="*/ 0 w 32"/>
              <a:gd name="T22" fmla="*/ 0 h 20"/>
              <a:gd name="T23" fmla="*/ 32 w 32"/>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0">
                <a:moveTo>
                  <a:pt x="0" y="8"/>
                </a:moveTo>
                <a:lnTo>
                  <a:pt x="6" y="19"/>
                </a:lnTo>
                <a:lnTo>
                  <a:pt x="31" y="11"/>
                </a:lnTo>
                <a:lnTo>
                  <a:pt x="26" y="0"/>
                </a:lnTo>
                <a:lnTo>
                  <a:pt x="2" y="9"/>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9" name="Freeform 794">
            <a:extLst>
              <a:ext uri="{FF2B5EF4-FFF2-40B4-BE49-F238E27FC236}">
                <a16:creationId xmlns:a16="http://schemas.microsoft.com/office/drawing/2014/main" id="{A4200E5E-8CC9-48B5-AA45-0716870EB5D3}"/>
              </a:ext>
            </a:extLst>
          </p:cNvPr>
          <p:cNvSpPr>
            <a:spLocks/>
          </p:cNvSpPr>
          <p:nvPr/>
        </p:nvSpPr>
        <p:spPr bwMode="auto">
          <a:xfrm>
            <a:off x="4352399" y="4621237"/>
            <a:ext cx="67161" cy="86532"/>
          </a:xfrm>
          <a:custGeom>
            <a:avLst/>
            <a:gdLst>
              <a:gd name="T0" fmla="*/ 25363600 w 58"/>
              <a:gd name="T1" fmla="*/ 23155799 h 79"/>
              <a:gd name="T2" fmla="*/ 34874474 w 58"/>
              <a:gd name="T3" fmla="*/ 0 h 79"/>
              <a:gd name="T4" fmla="*/ 90357122 w 58"/>
              <a:gd name="T5" fmla="*/ 52927169 h 79"/>
              <a:gd name="T6" fmla="*/ 80846228 w 58"/>
              <a:gd name="T7" fmla="*/ 89315408 h 79"/>
              <a:gd name="T8" fmla="*/ 88771976 w 58"/>
              <a:gd name="T9" fmla="*/ 109163411 h 79"/>
              <a:gd name="T10" fmla="*/ 31704183 w 58"/>
              <a:gd name="T11" fmla="*/ 129011413 h 79"/>
              <a:gd name="T12" fmla="*/ 0 w 58"/>
              <a:gd name="T13" fmla="*/ 104201732 h 79"/>
              <a:gd name="T14" fmla="*/ 41215057 w 58"/>
              <a:gd name="T15" fmla="*/ 100893946 h 79"/>
              <a:gd name="T16" fmla="*/ 49142055 w 58"/>
              <a:gd name="T17" fmla="*/ 72775172 h 79"/>
              <a:gd name="T18" fmla="*/ 25363600 w 58"/>
              <a:gd name="T19" fmla="*/ 23155799 h 79"/>
              <a:gd name="T20" fmla="*/ 25363600 w 58"/>
              <a:gd name="T21" fmla="*/ 23155799 h 7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79"/>
              <a:gd name="T35" fmla="*/ 58 w 58"/>
              <a:gd name="T36" fmla="*/ 79 h 7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79">
                <a:moveTo>
                  <a:pt x="16" y="14"/>
                </a:moveTo>
                <a:lnTo>
                  <a:pt x="22" y="0"/>
                </a:lnTo>
                <a:lnTo>
                  <a:pt x="57" y="32"/>
                </a:lnTo>
                <a:lnTo>
                  <a:pt x="51" y="54"/>
                </a:lnTo>
                <a:lnTo>
                  <a:pt x="56" y="66"/>
                </a:lnTo>
                <a:lnTo>
                  <a:pt x="20" y="78"/>
                </a:lnTo>
                <a:lnTo>
                  <a:pt x="0" y="63"/>
                </a:lnTo>
                <a:lnTo>
                  <a:pt x="26" y="61"/>
                </a:lnTo>
                <a:lnTo>
                  <a:pt x="31" y="44"/>
                </a:lnTo>
                <a:lnTo>
                  <a:pt x="16" y="1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0" name="Freeform 795">
            <a:extLst>
              <a:ext uri="{FF2B5EF4-FFF2-40B4-BE49-F238E27FC236}">
                <a16:creationId xmlns:a16="http://schemas.microsoft.com/office/drawing/2014/main" id="{88387600-1A81-43F5-A5F6-E595CC546449}"/>
              </a:ext>
            </a:extLst>
          </p:cNvPr>
          <p:cNvSpPr>
            <a:spLocks/>
          </p:cNvSpPr>
          <p:nvPr/>
        </p:nvSpPr>
        <p:spPr bwMode="auto">
          <a:xfrm>
            <a:off x="4273559" y="4615830"/>
            <a:ext cx="108042" cy="75715"/>
          </a:xfrm>
          <a:custGeom>
            <a:avLst/>
            <a:gdLst>
              <a:gd name="T0" fmla="*/ 4891812 w 92"/>
              <a:gd name="T1" fmla="*/ 24317568 h 65"/>
              <a:gd name="T2" fmla="*/ 35870734 w 92"/>
              <a:gd name="T3" fmla="*/ 18705924 h 65"/>
              <a:gd name="T4" fmla="*/ 58696640 w 92"/>
              <a:gd name="T5" fmla="*/ 1871003 h 65"/>
              <a:gd name="T6" fmla="*/ 78262605 w 92"/>
              <a:gd name="T7" fmla="*/ 0 h 65"/>
              <a:gd name="T8" fmla="*/ 99459194 w 92"/>
              <a:gd name="T9" fmla="*/ 18705924 h 65"/>
              <a:gd name="T10" fmla="*/ 148373469 w 92"/>
              <a:gd name="T11" fmla="*/ 7482644 h 65"/>
              <a:gd name="T12" fmla="*/ 130438108 w 92"/>
              <a:gd name="T13" fmla="*/ 54246776 h 65"/>
              <a:gd name="T14" fmla="*/ 83154416 w 92"/>
              <a:gd name="T15" fmla="*/ 57987413 h 65"/>
              <a:gd name="T16" fmla="*/ 99459194 w 92"/>
              <a:gd name="T17" fmla="*/ 93529637 h 65"/>
              <a:gd name="T18" fmla="*/ 99459194 w 92"/>
              <a:gd name="T19" fmla="*/ 119716830 h 65"/>
              <a:gd name="T20" fmla="*/ 55436709 w 92"/>
              <a:gd name="T21" fmla="*/ 87917977 h 65"/>
              <a:gd name="T22" fmla="*/ 17935367 w 92"/>
              <a:gd name="T23" fmla="*/ 41152485 h 65"/>
              <a:gd name="T24" fmla="*/ 0 w 92"/>
              <a:gd name="T25" fmla="*/ 44894500 h 65"/>
              <a:gd name="T26" fmla="*/ 4891812 w 92"/>
              <a:gd name="T27" fmla="*/ 24317568 h 65"/>
              <a:gd name="T28" fmla="*/ 4891812 w 92"/>
              <a:gd name="T29" fmla="*/ 24317568 h 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2"/>
              <a:gd name="T46" fmla="*/ 0 h 65"/>
              <a:gd name="T47" fmla="*/ 92 w 92"/>
              <a:gd name="T48" fmla="*/ 65 h 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2" h="65">
                <a:moveTo>
                  <a:pt x="3" y="13"/>
                </a:moveTo>
                <a:lnTo>
                  <a:pt x="22" y="10"/>
                </a:lnTo>
                <a:lnTo>
                  <a:pt x="36" y="1"/>
                </a:lnTo>
                <a:lnTo>
                  <a:pt x="48" y="0"/>
                </a:lnTo>
                <a:lnTo>
                  <a:pt x="61" y="10"/>
                </a:lnTo>
                <a:lnTo>
                  <a:pt x="91" y="4"/>
                </a:lnTo>
                <a:lnTo>
                  <a:pt x="80" y="29"/>
                </a:lnTo>
                <a:lnTo>
                  <a:pt x="51" y="31"/>
                </a:lnTo>
                <a:lnTo>
                  <a:pt x="61" y="50"/>
                </a:lnTo>
                <a:lnTo>
                  <a:pt x="61" y="64"/>
                </a:lnTo>
                <a:lnTo>
                  <a:pt x="34" y="47"/>
                </a:lnTo>
                <a:lnTo>
                  <a:pt x="11" y="22"/>
                </a:lnTo>
                <a:lnTo>
                  <a:pt x="0" y="24"/>
                </a:lnTo>
                <a:lnTo>
                  <a:pt x="3"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1" name="Freeform 796">
            <a:extLst>
              <a:ext uri="{FF2B5EF4-FFF2-40B4-BE49-F238E27FC236}">
                <a16:creationId xmlns:a16="http://schemas.microsoft.com/office/drawing/2014/main" id="{992FA9DF-63EC-429A-BF35-AE164E2FF638}"/>
              </a:ext>
            </a:extLst>
          </p:cNvPr>
          <p:cNvSpPr>
            <a:spLocks/>
          </p:cNvSpPr>
          <p:nvPr/>
        </p:nvSpPr>
        <p:spPr bwMode="auto">
          <a:xfrm>
            <a:off x="3928435" y="4784959"/>
            <a:ext cx="318103" cy="295042"/>
          </a:xfrm>
          <a:custGeom>
            <a:avLst/>
            <a:gdLst>
              <a:gd name="T0" fmla="*/ 0 w 278"/>
              <a:gd name="T1" fmla="*/ 141 h 265"/>
              <a:gd name="T2" fmla="*/ 0 w 278"/>
              <a:gd name="T3" fmla="*/ 141 h 265"/>
              <a:gd name="T4" fmla="*/ 1 w 278"/>
              <a:gd name="T5" fmla="*/ 146 h 265"/>
              <a:gd name="T6" fmla="*/ 52 w 278"/>
              <a:gd name="T7" fmla="*/ 179 h 265"/>
              <a:gd name="T8" fmla="*/ 161 w 278"/>
              <a:gd name="T9" fmla="*/ 251 h 265"/>
              <a:gd name="T10" fmla="*/ 162 w 278"/>
              <a:gd name="T11" fmla="*/ 264 h 265"/>
              <a:gd name="T12" fmla="*/ 173 w 278"/>
              <a:gd name="T13" fmla="*/ 262 h 265"/>
              <a:gd name="T14" fmla="*/ 194 w 278"/>
              <a:gd name="T15" fmla="*/ 257 h 265"/>
              <a:gd name="T16" fmla="*/ 277 w 278"/>
              <a:gd name="T17" fmla="*/ 200 h 265"/>
              <a:gd name="T18" fmla="*/ 245 w 278"/>
              <a:gd name="T19" fmla="*/ 162 h 265"/>
              <a:gd name="T20" fmla="*/ 245 w 278"/>
              <a:gd name="T21" fmla="*/ 101 h 265"/>
              <a:gd name="T22" fmla="*/ 241 w 278"/>
              <a:gd name="T23" fmla="*/ 74 h 265"/>
              <a:gd name="T24" fmla="*/ 218 w 278"/>
              <a:gd name="T25" fmla="*/ 46 h 265"/>
              <a:gd name="T26" fmla="*/ 230 w 278"/>
              <a:gd name="T27" fmla="*/ 37 h 265"/>
              <a:gd name="T28" fmla="*/ 236 w 278"/>
              <a:gd name="T29" fmla="*/ 0 h 265"/>
              <a:gd name="T30" fmla="*/ 138 w 278"/>
              <a:gd name="T31" fmla="*/ 6 h 265"/>
              <a:gd name="T32" fmla="*/ 88 w 278"/>
              <a:gd name="T33" fmla="*/ 28 h 265"/>
              <a:gd name="T34" fmla="*/ 100 w 278"/>
              <a:gd name="T35" fmla="*/ 73 h 265"/>
              <a:gd name="T36" fmla="*/ 79 w 278"/>
              <a:gd name="T37" fmla="*/ 74 h 265"/>
              <a:gd name="T38" fmla="*/ 67 w 278"/>
              <a:gd name="T39" fmla="*/ 79 h 265"/>
              <a:gd name="T40" fmla="*/ 69 w 278"/>
              <a:gd name="T41" fmla="*/ 91 h 265"/>
              <a:gd name="T42" fmla="*/ 7 w 278"/>
              <a:gd name="T43" fmla="*/ 118 h 265"/>
              <a:gd name="T44" fmla="*/ 0 w 278"/>
              <a:gd name="T45" fmla="*/ 141 h 265"/>
              <a:gd name="T46" fmla="*/ 0 w 278"/>
              <a:gd name="T47" fmla="*/ 141 h 2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8"/>
              <a:gd name="T73" fmla="*/ 0 h 265"/>
              <a:gd name="T74" fmla="*/ 278 w 278"/>
              <a:gd name="T75" fmla="*/ 265 h 2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8" h="265">
                <a:moveTo>
                  <a:pt x="0" y="141"/>
                </a:moveTo>
                <a:lnTo>
                  <a:pt x="0" y="141"/>
                </a:lnTo>
                <a:lnTo>
                  <a:pt x="1" y="146"/>
                </a:lnTo>
                <a:lnTo>
                  <a:pt x="52" y="179"/>
                </a:lnTo>
                <a:lnTo>
                  <a:pt x="161" y="251"/>
                </a:lnTo>
                <a:lnTo>
                  <a:pt x="162" y="264"/>
                </a:lnTo>
                <a:lnTo>
                  <a:pt x="173" y="262"/>
                </a:lnTo>
                <a:lnTo>
                  <a:pt x="194" y="257"/>
                </a:lnTo>
                <a:lnTo>
                  <a:pt x="277" y="200"/>
                </a:lnTo>
                <a:lnTo>
                  <a:pt x="245" y="162"/>
                </a:lnTo>
                <a:lnTo>
                  <a:pt x="245" y="101"/>
                </a:lnTo>
                <a:lnTo>
                  <a:pt x="241" y="74"/>
                </a:lnTo>
                <a:lnTo>
                  <a:pt x="218" y="46"/>
                </a:lnTo>
                <a:lnTo>
                  <a:pt x="230" y="37"/>
                </a:lnTo>
                <a:lnTo>
                  <a:pt x="236" y="0"/>
                </a:lnTo>
                <a:lnTo>
                  <a:pt x="138" y="6"/>
                </a:lnTo>
                <a:lnTo>
                  <a:pt x="88" y="28"/>
                </a:lnTo>
                <a:lnTo>
                  <a:pt x="100" y="73"/>
                </a:lnTo>
                <a:lnTo>
                  <a:pt x="79" y="74"/>
                </a:lnTo>
                <a:lnTo>
                  <a:pt x="67" y="79"/>
                </a:lnTo>
                <a:lnTo>
                  <a:pt x="69" y="91"/>
                </a:lnTo>
                <a:lnTo>
                  <a:pt x="7" y="118"/>
                </a:lnTo>
                <a:lnTo>
                  <a:pt x="0" y="14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2" name="Freeform 797">
            <a:extLst>
              <a:ext uri="{FF2B5EF4-FFF2-40B4-BE49-F238E27FC236}">
                <a16:creationId xmlns:a16="http://schemas.microsoft.com/office/drawing/2014/main" id="{92554E69-034D-4A5C-9380-796DF5D21CBE}"/>
              </a:ext>
            </a:extLst>
          </p:cNvPr>
          <p:cNvSpPr>
            <a:spLocks/>
          </p:cNvSpPr>
          <p:nvPr/>
        </p:nvSpPr>
        <p:spPr bwMode="auto">
          <a:xfrm>
            <a:off x="4666480" y="4779393"/>
            <a:ext cx="155619" cy="139171"/>
          </a:xfrm>
          <a:custGeom>
            <a:avLst/>
            <a:gdLst>
              <a:gd name="T0" fmla="*/ 0 w 136"/>
              <a:gd name="T1" fmla="*/ 60 h 125"/>
              <a:gd name="T2" fmla="*/ 0 w 136"/>
              <a:gd name="T3" fmla="*/ 60 h 125"/>
              <a:gd name="T4" fmla="*/ 6 w 136"/>
              <a:gd name="T5" fmla="*/ 78 h 125"/>
              <a:gd name="T6" fmla="*/ 68 w 136"/>
              <a:gd name="T7" fmla="*/ 105 h 125"/>
              <a:gd name="T8" fmla="*/ 68 w 136"/>
              <a:gd name="T9" fmla="*/ 115 h 125"/>
              <a:gd name="T10" fmla="*/ 83 w 136"/>
              <a:gd name="T11" fmla="*/ 122 h 125"/>
              <a:gd name="T12" fmla="*/ 108 w 136"/>
              <a:gd name="T13" fmla="*/ 124 h 125"/>
              <a:gd name="T14" fmla="*/ 128 w 136"/>
              <a:gd name="T15" fmla="*/ 111 h 125"/>
              <a:gd name="T16" fmla="*/ 135 w 136"/>
              <a:gd name="T17" fmla="*/ 110 h 125"/>
              <a:gd name="T18" fmla="*/ 117 w 136"/>
              <a:gd name="T19" fmla="*/ 75 h 125"/>
              <a:gd name="T20" fmla="*/ 92 w 136"/>
              <a:gd name="T21" fmla="*/ 54 h 125"/>
              <a:gd name="T22" fmla="*/ 104 w 136"/>
              <a:gd name="T23" fmla="*/ 22 h 125"/>
              <a:gd name="T24" fmla="*/ 93 w 136"/>
              <a:gd name="T25" fmla="*/ 18 h 125"/>
              <a:gd name="T26" fmla="*/ 83 w 136"/>
              <a:gd name="T27" fmla="*/ 0 h 125"/>
              <a:gd name="T28" fmla="*/ 53 w 136"/>
              <a:gd name="T29" fmla="*/ 2 h 125"/>
              <a:gd name="T30" fmla="*/ 38 w 136"/>
              <a:gd name="T31" fmla="*/ 13 h 125"/>
              <a:gd name="T32" fmla="*/ 33 w 136"/>
              <a:gd name="T33" fmla="*/ 42 h 125"/>
              <a:gd name="T34" fmla="*/ 0 w 136"/>
              <a:gd name="T35" fmla="*/ 60 h 125"/>
              <a:gd name="T36" fmla="*/ 0 w 136"/>
              <a:gd name="T37" fmla="*/ 60 h 1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6"/>
              <a:gd name="T58" fmla="*/ 0 h 125"/>
              <a:gd name="T59" fmla="*/ 136 w 136"/>
              <a:gd name="T60" fmla="*/ 125 h 1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6" h="125">
                <a:moveTo>
                  <a:pt x="0" y="60"/>
                </a:moveTo>
                <a:lnTo>
                  <a:pt x="0" y="60"/>
                </a:lnTo>
                <a:lnTo>
                  <a:pt x="6" y="78"/>
                </a:lnTo>
                <a:lnTo>
                  <a:pt x="68" y="105"/>
                </a:lnTo>
                <a:lnTo>
                  <a:pt x="68" y="115"/>
                </a:lnTo>
                <a:lnTo>
                  <a:pt x="83" y="122"/>
                </a:lnTo>
                <a:lnTo>
                  <a:pt x="108" y="124"/>
                </a:lnTo>
                <a:lnTo>
                  <a:pt x="128" y="111"/>
                </a:lnTo>
                <a:lnTo>
                  <a:pt x="135" y="110"/>
                </a:lnTo>
                <a:lnTo>
                  <a:pt x="117" y="75"/>
                </a:lnTo>
                <a:lnTo>
                  <a:pt x="92" y="54"/>
                </a:lnTo>
                <a:lnTo>
                  <a:pt x="104" y="22"/>
                </a:lnTo>
                <a:lnTo>
                  <a:pt x="93" y="18"/>
                </a:lnTo>
                <a:lnTo>
                  <a:pt x="83" y="0"/>
                </a:lnTo>
                <a:lnTo>
                  <a:pt x="53" y="2"/>
                </a:lnTo>
                <a:lnTo>
                  <a:pt x="38" y="13"/>
                </a:lnTo>
                <a:lnTo>
                  <a:pt x="33" y="42"/>
                </a:lnTo>
                <a:lnTo>
                  <a:pt x="0" y="6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3" name="Freeform 798">
            <a:extLst>
              <a:ext uri="{FF2B5EF4-FFF2-40B4-BE49-F238E27FC236}">
                <a16:creationId xmlns:a16="http://schemas.microsoft.com/office/drawing/2014/main" id="{D33F1956-7744-4394-A0B6-5DC6187179A1}"/>
              </a:ext>
            </a:extLst>
          </p:cNvPr>
          <p:cNvSpPr>
            <a:spLocks/>
          </p:cNvSpPr>
          <p:nvPr/>
        </p:nvSpPr>
        <p:spPr bwMode="auto">
          <a:xfrm>
            <a:off x="4603546" y="4866236"/>
            <a:ext cx="329546" cy="267209"/>
          </a:xfrm>
          <a:custGeom>
            <a:avLst/>
            <a:gdLst>
              <a:gd name="T0" fmla="*/ 0 w 288"/>
              <a:gd name="T1" fmla="*/ 62 h 240"/>
              <a:gd name="T2" fmla="*/ 0 w 288"/>
              <a:gd name="T3" fmla="*/ 62 h 240"/>
              <a:gd name="T4" fmla="*/ 4 w 288"/>
              <a:gd name="T5" fmla="*/ 41 h 240"/>
              <a:gd name="T6" fmla="*/ 19 w 288"/>
              <a:gd name="T7" fmla="*/ 46 h 240"/>
              <a:gd name="T8" fmla="*/ 38 w 288"/>
              <a:gd name="T9" fmla="*/ 33 h 240"/>
              <a:gd name="T10" fmla="*/ 46 w 288"/>
              <a:gd name="T11" fmla="*/ 24 h 240"/>
              <a:gd name="T12" fmla="*/ 30 w 288"/>
              <a:gd name="T13" fmla="*/ 10 h 240"/>
              <a:gd name="T14" fmla="*/ 61 w 288"/>
              <a:gd name="T15" fmla="*/ 0 h 240"/>
              <a:gd name="T16" fmla="*/ 123 w 288"/>
              <a:gd name="T17" fmla="*/ 27 h 240"/>
              <a:gd name="T18" fmla="*/ 123 w 288"/>
              <a:gd name="T19" fmla="*/ 37 h 240"/>
              <a:gd name="T20" fmla="*/ 138 w 288"/>
              <a:gd name="T21" fmla="*/ 44 h 240"/>
              <a:gd name="T22" fmla="*/ 151 w 288"/>
              <a:gd name="T23" fmla="*/ 51 h 240"/>
              <a:gd name="T24" fmla="*/ 163 w 288"/>
              <a:gd name="T25" fmla="*/ 46 h 240"/>
              <a:gd name="T26" fmla="*/ 187 w 288"/>
              <a:gd name="T27" fmla="*/ 54 h 240"/>
              <a:gd name="T28" fmla="*/ 220 w 288"/>
              <a:gd name="T29" fmla="*/ 108 h 240"/>
              <a:gd name="T30" fmla="*/ 224 w 288"/>
              <a:gd name="T31" fmla="*/ 112 h 240"/>
              <a:gd name="T32" fmla="*/ 237 w 288"/>
              <a:gd name="T33" fmla="*/ 133 h 240"/>
              <a:gd name="T34" fmla="*/ 280 w 288"/>
              <a:gd name="T35" fmla="*/ 139 h 240"/>
              <a:gd name="T36" fmla="*/ 287 w 288"/>
              <a:gd name="T37" fmla="*/ 149 h 240"/>
              <a:gd name="T38" fmla="*/ 277 w 288"/>
              <a:gd name="T39" fmla="*/ 177 h 240"/>
              <a:gd name="T40" fmla="*/ 237 w 288"/>
              <a:gd name="T41" fmla="*/ 191 h 240"/>
              <a:gd name="T42" fmla="*/ 193 w 288"/>
              <a:gd name="T43" fmla="*/ 200 h 240"/>
              <a:gd name="T44" fmla="*/ 159 w 288"/>
              <a:gd name="T45" fmla="*/ 239 h 240"/>
              <a:gd name="T46" fmla="*/ 159 w 288"/>
              <a:gd name="T47" fmla="*/ 224 h 240"/>
              <a:gd name="T48" fmla="*/ 134 w 288"/>
              <a:gd name="T49" fmla="*/ 214 h 240"/>
              <a:gd name="T50" fmla="*/ 109 w 288"/>
              <a:gd name="T51" fmla="*/ 227 h 240"/>
              <a:gd name="T52" fmla="*/ 84 w 288"/>
              <a:gd name="T53" fmla="*/ 184 h 240"/>
              <a:gd name="T54" fmla="*/ 64 w 288"/>
              <a:gd name="T55" fmla="*/ 167 h 240"/>
              <a:gd name="T56" fmla="*/ 51 w 288"/>
              <a:gd name="T57" fmla="*/ 122 h 240"/>
              <a:gd name="T58" fmla="*/ 0 w 288"/>
              <a:gd name="T59" fmla="*/ 62 h 240"/>
              <a:gd name="T60" fmla="*/ 0 w 288"/>
              <a:gd name="T61" fmla="*/ 62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88"/>
              <a:gd name="T94" fmla="*/ 0 h 240"/>
              <a:gd name="T95" fmla="*/ 288 w 288"/>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88" h="240">
                <a:moveTo>
                  <a:pt x="0" y="62"/>
                </a:moveTo>
                <a:lnTo>
                  <a:pt x="0" y="62"/>
                </a:lnTo>
                <a:lnTo>
                  <a:pt x="4" y="41"/>
                </a:lnTo>
                <a:lnTo>
                  <a:pt x="19" y="46"/>
                </a:lnTo>
                <a:lnTo>
                  <a:pt x="38" y="33"/>
                </a:lnTo>
                <a:lnTo>
                  <a:pt x="46" y="24"/>
                </a:lnTo>
                <a:lnTo>
                  <a:pt x="30" y="10"/>
                </a:lnTo>
                <a:lnTo>
                  <a:pt x="61" y="0"/>
                </a:lnTo>
                <a:lnTo>
                  <a:pt x="123" y="27"/>
                </a:lnTo>
                <a:lnTo>
                  <a:pt x="123" y="37"/>
                </a:lnTo>
                <a:lnTo>
                  <a:pt x="138" y="44"/>
                </a:lnTo>
                <a:lnTo>
                  <a:pt x="151" y="51"/>
                </a:lnTo>
                <a:lnTo>
                  <a:pt x="163" y="46"/>
                </a:lnTo>
                <a:lnTo>
                  <a:pt x="187" y="54"/>
                </a:lnTo>
                <a:lnTo>
                  <a:pt x="220" y="108"/>
                </a:lnTo>
                <a:lnTo>
                  <a:pt x="224" y="112"/>
                </a:lnTo>
                <a:lnTo>
                  <a:pt x="237" y="133"/>
                </a:lnTo>
                <a:lnTo>
                  <a:pt x="280" y="139"/>
                </a:lnTo>
                <a:lnTo>
                  <a:pt x="287" y="149"/>
                </a:lnTo>
                <a:lnTo>
                  <a:pt x="277" y="177"/>
                </a:lnTo>
                <a:lnTo>
                  <a:pt x="237" y="191"/>
                </a:lnTo>
                <a:lnTo>
                  <a:pt x="193" y="200"/>
                </a:lnTo>
                <a:lnTo>
                  <a:pt x="159" y="239"/>
                </a:lnTo>
                <a:lnTo>
                  <a:pt x="159" y="224"/>
                </a:lnTo>
                <a:lnTo>
                  <a:pt x="134" y="214"/>
                </a:lnTo>
                <a:lnTo>
                  <a:pt x="109" y="227"/>
                </a:lnTo>
                <a:lnTo>
                  <a:pt x="84" y="184"/>
                </a:lnTo>
                <a:lnTo>
                  <a:pt x="64" y="167"/>
                </a:lnTo>
                <a:lnTo>
                  <a:pt x="51" y="122"/>
                </a:lnTo>
                <a:lnTo>
                  <a:pt x="0" y="6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4" name="Freeform 799">
            <a:extLst>
              <a:ext uri="{FF2B5EF4-FFF2-40B4-BE49-F238E27FC236}">
                <a16:creationId xmlns:a16="http://schemas.microsoft.com/office/drawing/2014/main" id="{C4D285CB-4C4F-400C-B984-87DC8A9E1D18}"/>
              </a:ext>
            </a:extLst>
          </p:cNvPr>
          <p:cNvSpPr>
            <a:spLocks/>
          </p:cNvSpPr>
          <p:nvPr/>
        </p:nvSpPr>
        <p:spPr bwMode="auto">
          <a:xfrm>
            <a:off x="4616133" y="4781620"/>
            <a:ext cx="112137" cy="83502"/>
          </a:xfrm>
          <a:custGeom>
            <a:avLst/>
            <a:gdLst>
              <a:gd name="T0" fmla="*/ 0 w 98"/>
              <a:gd name="T1" fmla="*/ 68 h 75"/>
              <a:gd name="T2" fmla="*/ 0 w 98"/>
              <a:gd name="T3" fmla="*/ 68 h 75"/>
              <a:gd name="T4" fmla="*/ 1 w 98"/>
              <a:gd name="T5" fmla="*/ 61 h 75"/>
              <a:gd name="T6" fmla="*/ 15 w 98"/>
              <a:gd name="T7" fmla="*/ 45 h 75"/>
              <a:gd name="T8" fmla="*/ 8 w 98"/>
              <a:gd name="T9" fmla="*/ 38 h 75"/>
              <a:gd name="T10" fmla="*/ 7 w 98"/>
              <a:gd name="T11" fmla="*/ 19 h 75"/>
              <a:gd name="T12" fmla="*/ 15 w 98"/>
              <a:gd name="T13" fmla="*/ 3 h 75"/>
              <a:gd name="T14" fmla="*/ 97 w 98"/>
              <a:gd name="T15" fmla="*/ 0 h 75"/>
              <a:gd name="T16" fmla="*/ 82 w 98"/>
              <a:gd name="T17" fmla="*/ 11 h 75"/>
              <a:gd name="T18" fmla="*/ 77 w 98"/>
              <a:gd name="T19" fmla="*/ 40 h 75"/>
              <a:gd name="T20" fmla="*/ 44 w 98"/>
              <a:gd name="T21" fmla="*/ 58 h 75"/>
              <a:gd name="T22" fmla="*/ 14 w 98"/>
              <a:gd name="T23" fmla="*/ 74 h 75"/>
              <a:gd name="T24" fmla="*/ 0 w 98"/>
              <a:gd name="T25" fmla="*/ 68 h 75"/>
              <a:gd name="T26" fmla="*/ 0 w 98"/>
              <a:gd name="T27" fmla="*/ 68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68"/>
                </a:moveTo>
                <a:lnTo>
                  <a:pt x="0" y="68"/>
                </a:lnTo>
                <a:lnTo>
                  <a:pt x="1" y="61"/>
                </a:lnTo>
                <a:lnTo>
                  <a:pt x="15" y="45"/>
                </a:lnTo>
                <a:lnTo>
                  <a:pt x="8" y="38"/>
                </a:lnTo>
                <a:lnTo>
                  <a:pt x="7" y="19"/>
                </a:lnTo>
                <a:lnTo>
                  <a:pt x="15" y="3"/>
                </a:lnTo>
                <a:lnTo>
                  <a:pt x="97" y="0"/>
                </a:lnTo>
                <a:lnTo>
                  <a:pt x="82" y="11"/>
                </a:lnTo>
                <a:lnTo>
                  <a:pt x="77" y="40"/>
                </a:lnTo>
                <a:lnTo>
                  <a:pt x="44" y="58"/>
                </a:lnTo>
                <a:lnTo>
                  <a:pt x="14" y="74"/>
                </a:lnTo>
                <a:lnTo>
                  <a:pt x="0" y="6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5" name="Freeform 800">
            <a:extLst>
              <a:ext uri="{FF2B5EF4-FFF2-40B4-BE49-F238E27FC236}">
                <a16:creationId xmlns:a16="http://schemas.microsoft.com/office/drawing/2014/main" id="{2BE5A517-FA3C-44CF-972A-C5B15864EF7F}"/>
              </a:ext>
            </a:extLst>
          </p:cNvPr>
          <p:cNvSpPr>
            <a:spLocks/>
          </p:cNvSpPr>
          <p:nvPr/>
        </p:nvSpPr>
        <p:spPr bwMode="auto">
          <a:xfrm>
            <a:off x="4859859" y="4966439"/>
            <a:ext cx="82387" cy="55669"/>
          </a:xfrm>
          <a:custGeom>
            <a:avLst/>
            <a:gdLst>
              <a:gd name="T0" fmla="*/ 0 w 72"/>
              <a:gd name="T1" fmla="*/ 22 h 50"/>
              <a:gd name="T2" fmla="*/ 0 w 72"/>
              <a:gd name="T3" fmla="*/ 22 h 50"/>
              <a:gd name="T4" fmla="*/ 4 w 72"/>
              <a:gd name="T5" fmla="*/ 21 h 50"/>
              <a:gd name="T6" fmla="*/ 10 w 72"/>
              <a:gd name="T7" fmla="*/ 29 h 50"/>
              <a:gd name="T8" fmla="*/ 40 w 72"/>
              <a:gd name="T9" fmla="*/ 28 h 50"/>
              <a:gd name="T10" fmla="*/ 67 w 72"/>
              <a:gd name="T11" fmla="*/ 0 h 50"/>
              <a:gd name="T12" fmla="*/ 71 w 72"/>
              <a:gd name="T13" fmla="*/ 17 h 50"/>
              <a:gd name="T14" fmla="*/ 63 w 72"/>
              <a:gd name="T15" fmla="*/ 18 h 50"/>
              <a:gd name="T16" fmla="*/ 67 w 72"/>
              <a:gd name="T17" fmla="*/ 28 h 50"/>
              <a:gd name="T18" fmla="*/ 56 w 72"/>
              <a:gd name="T19" fmla="*/ 49 h 50"/>
              <a:gd name="T20" fmla="*/ 13 w 72"/>
              <a:gd name="T21" fmla="*/ 43 h 50"/>
              <a:gd name="T22" fmla="*/ 0 w 72"/>
              <a:gd name="T23" fmla="*/ 22 h 50"/>
              <a:gd name="T24" fmla="*/ 0 w 72"/>
              <a:gd name="T25" fmla="*/ 22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50"/>
              <a:gd name="T41" fmla="*/ 72 w 72"/>
              <a:gd name="T42" fmla="*/ 50 h 5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50">
                <a:moveTo>
                  <a:pt x="0" y="22"/>
                </a:moveTo>
                <a:lnTo>
                  <a:pt x="0" y="22"/>
                </a:lnTo>
                <a:lnTo>
                  <a:pt x="4" y="21"/>
                </a:lnTo>
                <a:lnTo>
                  <a:pt x="10" y="29"/>
                </a:lnTo>
                <a:lnTo>
                  <a:pt x="40" y="28"/>
                </a:lnTo>
                <a:lnTo>
                  <a:pt x="67" y="0"/>
                </a:lnTo>
                <a:lnTo>
                  <a:pt x="71" y="17"/>
                </a:lnTo>
                <a:lnTo>
                  <a:pt x="63" y="18"/>
                </a:lnTo>
                <a:lnTo>
                  <a:pt x="67" y="28"/>
                </a:lnTo>
                <a:lnTo>
                  <a:pt x="56" y="49"/>
                </a:lnTo>
                <a:lnTo>
                  <a:pt x="13" y="43"/>
                </a:lnTo>
                <a:lnTo>
                  <a:pt x="0" y="2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6" name="Freeform 801">
            <a:extLst>
              <a:ext uri="{FF2B5EF4-FFF2-40B4-BE49-F238E27FC236}">
                <a16:creationId xmlns:a16="http://schemas.microsoft.com/office/drawing/2014/main" id="{2AF56B3E-A4A0-4E78-9F27-6E1F86480A6E}"/>
              </a:ext>
            </a:extLst>
          </p:cNvPr>
          <p:cNvSpPr>
            <a:spLocks/>
          </p:cNvSpPr>
          <p:nvPr/>
        </p:nvSpPr>
        <p:spPr bwMode="auto">
          <a:xfrm>
            <a:off x="4740857" y="5078889"/>
            <a:ext cx="151042" cy="99090"/>
          </a:xfrm>
          <a:custGeom>
            <a:avLst/>
            <a:gdLst>
              <a:gd name="T0" fmla="*/ 0 w 132"/>
              <a:gd name="T1" fmla="*/ 88 h 89"/>
              <a:gd name="T2" fmla="*/ 0 w 132"/>
              <a:gd name="T3" fmla="*/ 88 h 89"/>
              <a:gd name="T4" fmla="*/ 35 w 132"/>
              <a:gd name="T5" fmla="*/ 68 h 89"/>
              <a:gd name="T6" fmla="*/ 29 w 132"/>
              <a:gd name="T7" fmla="*/ 59 h 89"/>
              <a:gd name="T8" fmla="*/ 39 w 132"/>
              <a:gd name="T9" fmla="*/ 48 h 89"/>
              <a:gd name="T10" fmla="*/ 73 w 132"/>
              <a:gd name="T11" fmla="*/ 9 h 89"/>
              <a:gd name="T12" fmla="*/ 117 w 132"/>
              <a:gd name="T13" fmla="*/ 0 h 89"/>
              <a:gd name="T14" fmla="*/ 131 w 132"/>
              <a:gd name="T15" fmla="*/ 34 h 89"/>
              <a:gd name="T16" fmla="*/ 120 w 132"/>
              <a:gd name="T17" fmla="*/ 48 h 89"/>
              <a:gd name="T18" fmla="*/ 70 w 132"/>
              <a:gd name="T19" fmla="*/ 71 h 89"/>
              <a:gd name="T20" fmla="*/ 0 w 132"/>
              <a:gd name="T21" fmla="*/ 88 h 89"/>
              <a:gd name="T22" fmla="*/ 0 w 132"/>
              <a:gd name="T23" fmla="*/ 88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2"/>
              <a:gd name="T37" fmla="*/ 0 h 89"/>
              <a:gd name="T38" fmla="*/ 132 w 132"/>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2" h="89">
                <a:moveTo>
                  <a:pt x="0" y="88"/>
                </a:moveTo>
                <a:lnTo>
                  <a:pt x="0" y="88"/>
                </a:lnTo>
                <a:lnTo>
                  <a:pt x="35" y="68"/>
                </a:lnTo>
                <a:lnTo>
                  <a:pt x="29" y="59"/>
                </a:lnTo>
                <a:lnTo>
                  <a:pt x="39" y="48"/>
                </a:lnTo>
                <a:lnTo>
                  <a:pt x="73" y="9"/>
                </a:lnTo>
                <a:lnTo>
                  <a:pt x="117" y="0"/>
                </a:lnTo>
                <a:lnTo>
                  <a:pt x="131" y="34"/>
                </a:lnTo>
                <a:lnTo>
                  <a:pt x="120" y="48"/>
                </a:lnTo>
                <a:lnTo>
                  <a:pt x="70" y="71"/>
                </a:lnTo>
                <a:lnTo>
                  <a:pt x="0" y="8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7" name="Freeform 802">
            <a:extLst>
              <a:ext uri="{FF2B5EF4-FFF2-40B4-BE49-F238E27FC236}">
                <a16:creationId xmlns:a16="http://schemas.microsoft.com/office/drawing/2014/main" id="{65BAB392-D000-4FDD-8FB1-AE51D60AF3F4}"/>
              </a:ext>
            </a:extLst>
          </p:cNvPr>
          <p:cNvSpPr>
            <a:spLocks/>
          </p:cNvSpPr>
          <p:nvPr/>
        </p:nvSpPr>
        <p:spPr bwMode="auto">
          <a:xfrm>
            <a:off x="4728270" y="5104496"/>
            <a:ext cx="58357" cy="73483"/>
          </a:xfrm>
          <a:custGeom>
            <a:avLst/>
            <a:gdLst>
              <a:gd name="T0" fmla="*/ 0 w 51"/>
              <a:gd name="T1" fmla="*/ 13 h 66"/>
              <a:gd name="T2" fmla="*/ 0 w 51"/>
              <a:gd name="T3" fmla="*/ 13 h 66"/>
              <a:gd name="T4" fmla="*/ 11 w 51"/>
              <a:gd name="T5" fmla="*/ 65 h 66"/>
              <a:gd name="T6" fmla="*/ 46 w 51"/>
              <a:gd name="T7" fmla="*/ 45 h 66"/>
              <a:gd name="T8" fmla="*/ 40 w 51"/>
              <a:gd name="T9" fmla="*/ 36 h 66"/>
              <a:gd name="T10" fmla="*/ 50 w 51"/>
              <a:gd name="T11" fmla="*/ 25 h 66"/>
              <a:gd name="T12" fmla="*/ 50 w 51"/>
              <a:gd name="T13" fmla="*/ 10 h 66"/>
              <a:gd name="T14" fmla="*/ 25 w 51"/>
              <a:gd name="T15" fmla="*/ 0 h 66"/>
              <a:gd name="T16" fmla="*/ 0 w 51"/>
              <a:gd name="T17" fmla="*/ 13 h 66"/>
              <a:gd name="T18" fmla="*/ 0 w 51"/>
              <a:gd name="T19" fmla="*/ 13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66"/>
              <a:gd name="T32" fmla="*/ 51 w 51"/>
              <a:gd name="T33" fmla="*/ 66 h 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66">
                <a:moveTo>
                  <a:pt x="0" y="13"/>
                </a:moveTo>
                <a:lnTo>
                  <a:pt x="0" y="13"/>
                </a:lnTo>
                <a:lnTo>
                  <a:pt x="11" y="65"/>
                </a:lnTo>
                <a:lnTo>
                  <a:pt x="46" y="45"/>
                </a:lnTo>
                <a:lnTo>
                  <a:pt x="40" y="36"/>
                </a:lnTo>
                <a:lnTo>
                  <a:pt x="50" y="25"/>
                </a:lnTo>
                <a:lnTo>
                  <a:pt x="50" y="10"/>
                </a:lnTo>
                <a:lnTo>
                  <a:pt x="25" y="0"/>
                </a:lnTo>
                <a:lnTo>
                  <a:pt x="0"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8" name="Freeform 803">
            <a:extLst>
              <a:ext uri="{FF2B5EF4-FFF2-40B4-BE49-F238E27FC236}">
                <a16:creationId xmlns:a16="http://schemas.microsoft.com/office/drawing/2014/main" id="{D02BDEA7-490D-491D-ADE1-354D74062D97}"/>
              </a:ext>
            </a:extLst>
          </p:cNvPr>
          <p:cNvSpPr>
            <a:spLocks/>
          </p:cNvSpPr>
          <p:nvPr/>
        </p:nvSpPr>
        <p:spPr bwMode="auto">
          <a:xfrm>
            <a:off x="4243106" y="5455207"/>
            <a:ext cx="199100" cy="189272"/>
          </a:xfrm>
          <a:custGeom>
            <a:avLst/>
            <a:gdLst>
              <a:gd name="T0" fmla="*/ 0 w 174"/>
              <a:gd name="T1" fmla="*/ 159 h 170"/>
              <a:gd name="T2" fmla="*/ 0 w 174"/>
              <a:gd name="T3" fmla="*/ 159 h 170"/>
              <a:gd name="T4" fmla="*/ 23 w 174"/>
              <a:gd name="T5" fmla="*/ 153 h 170"/>
              <a:gd name="T6" fmla="*/ 134 w 174"/>
              <a:gd name="T7" fmla="*/ 169 h 170"/>
              <a:gd name="T8" fmla="*/ 159 w 174"/>
              <a:gd name="T9" fmla="*/ 162 h 170"/>
              <a:gd name="T10" fmla="*/ 142 w 174"/>
              <a:gd name="T11" fmla="*/ 149 h 170"/>
              <a:gd name="T12" fmla="*/ 142 w 174"/>
              <a:gd name="T13" fmla="*/ 98 h 170"/>
              <a:gd name="T14" fmla="*/ 173 w 174"/>
              <a:gd name="T15" fmla="*/ 98 h 170"/>
              <a:gd name="T16" fmla="*/ 170 w 174"/>
              <a:gd name="T17" fmla="*/ 70 h 170"/>
              <a:gd name="T18" fmla="*/ 142 w 174"/>
              <a:gd name="T19" fmla="*/ 73 h 170"/>
              <a:gd name="T20" fmla="*/ 139 w 174"/>
              <a:gd name="T21" fmla="*/ 24 h 170"/>
              <a:gd name="T22" fmla="*/ 127 w 174"/>
              <a:gd name="T23" fmla="*/ 15 h 170"/>
              <a:gd name="T24" fmla="*/ 109 w 174"/>
              <a:gd name="T25" fmla="*/ 16 h 170"/>
              <a:gd name="T26" fmla="*/ 105 w 174"/>
              <a:gd name="T27" fmla="*/ 30 h 170"/>
              <a:gd name="T28" fmla="*/ 86 w 174"/>
              <a:gd name="T29" fmla="*/ 32 h 170"/>
              <a:gd name="T30" fmla="*/ 63 w 174"/>
              <a:gd name="T31" fmla="*/ 0 h 170"/>
              <a:gd name="T32" fmla="*/ 11 w 174"/>
              <a:gd name="T33" fmla="*/ 7 h 170"/>
              <a:gd name="T34" fmla="*/ 30 w 174"/>
              <a:gd name="T35" fmla="*/ 71 h 170"/>
              <a:gd name="T36" fmla="*/ 0 w 174"/>
              <a:gd name="T37" fmla="*/ 159 h 170"/>
              <a:gd name="T38" fmla="*/ 0 w 174"/>
              <a:gd name="T39" fmla="*/ 159 h 1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4"/>
              <a:gd name="T61" fmla="*/ 0 h 170"/>
              <a:gd name="T62" fmla="*/ 174 w 174"/>
              <a:gd name="T63" fmla="*/ 170 h 1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4" h="170">
                <a:moveTo>
                  <a:pt x="0" y="159"/>
                </a:moveTo>
                <a:lnTo>
                  <a:pt x="0" y="159"/>
                </a:lnTo>
                <a:lnTo>
                  <a:pt x="23" y="153"/>
                </a:lnTo>
                <a:lnTo>
                  <a:pt x="134" y="169"/>
                </a:lnTo>
                <a:lnTo>
                  <a:pt x="159" y="162"/>
                </a:lnTo>
                <a:lnTo>
                  <a:pt x="142" y="149"/>
                </a:lnTo>
                <a:lnTo>
                  <a:pt x="142" y="98"/>
                </a:lnTo>
                <a:lnTo>
                  <a:pt x="173" y="98"/>
                </a:lnTo>
                <a:lnTo>
                  <a:pt x="170" y="70"/>
                </a:lnTo>
                <a:lnTo>
                  <a:pt x="142" y="73"/>
                </a:lnTo>
                <a:lnTo>
                  <a:pt x="139" y="24"/>
                </a:lnTo>
                <a:lnTo>
                  <a:pt x="127" y="15"/>
                </a:lnTo>
                <a:lnTo>
                  <a:pt x="109" y="16"/>
                </a:lnTo>
                <a:lnTo>
                  <a:pt x="105" y="30"/>
                </a:lnTo>
                <a:lnTo>
                  <a:pt x="86" y="32"/>
                </a:lnTo>
                <a:lnTo>
                  <a:pt x="63" y="0"/>
                </a:lnTo>
                <a:lnTo>
                  <a:pt x="11" y="7"/>
                </a:lnTo>
                <a:lnTo>
                  <a:pt x="30" y="71"/>
                </a:lnTo>
                <a:lnTo>
                  <a:pt x="0" y="15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9" name="Freeform 804">
            <a:extLst>
              <a:ext uri="{FF2B5EF4-FFF2-40B4-BE49-F238E27FC236}">
                <a16:creationId xmlns:a16="http://schemas.microsoft.com/office/drawing/2014/main" id="{E6CC3D2F-DB61-47E2-8F82-35A70A7033D1}"/>
              </a:ext>
            </a:extLst>
          </p:cNvPr>
          <p:cNvSpPr>
            <a:spLocks/>
          </p:cNvSpPr>
          <p:nvPr/>
        </p:nvSpPr>
        <p:spPr bwMode="auto">
          <a:xfrm>
            <a:off x="4248827" y="5439620"/>
            <a:ext cx="17164" cy="16700"/>
          </a:xfrm>
          <a:custGeom>
            <a:avLst/>
            <a:gdLst>
              <a:gd name="T0" fmla="*/ 0 w 15"/>
              <a:gd name="T1" fmla="*/ 4 h 15"/>
              <a:gd name="T2" fmla="*/ 0 w 15"/>
              <a:gd name="T3" fmla="*/ 4 h 15"/>
              <a:gd name="T4" fmla="*/ 5 w 15"/>
              <a:gd name="T5" fmla="*/ 14 h 15"/>
              <a:gd name="T6" fmla="*/ 14 w 15"/>
              <a:gd name="T7" fmla="*/ 0 h 15"/>
              <a:gd name="T8" fmla="*/ 0 w 15"/>
              <a:gd name="T9" fmla="*/ 4 h 15"/>
              <a:gd name="T10" fmla="*/ 0 w 15"/>
              <a:gd name="T11" fmla="*/ 4 h 15"/>
              <a:gd name="T12" fmla="*/ 0 60000 65536"/>
              <a:gd name="T13" fmla="*/ 0 60000 65536"/>
              <a:gd name="T14" fmla="*/ 0 60000 65536"/>
              <a:gd name="T15" fmla="*/ 0 60000 65536"/>
              <a:gd name="T16" fmla="*/ 0 60000 65536"/>
              <a:gd name="T17" fmla="*/ 0 60000 65536"/>
              <a:gd name="T18" fmla="*/ 0 w 15"/>
              <a:gd name="T19" fmla="*/ 0 h 15"/>
              <a:gd name="T20" fmla="*/ 15 w 1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5" h="15">
                <a:moveTo>
                  <a:pt x="0" y="4"/>
                </a:moveTo>
                <a:lnTo>
                  <a:pt x="0" y="4"/>
                </a:lnTo>
                <a:lnTo>
                  <a:pt x="5" y="14"/>
                </a:lnTo>
                <a:lnTo>
                  <a:pt x="14" y="0"/>
                </a:lnTo>
                <a:lnTo>
                  <a:pt x="0" y="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0" name="Freeform 805">
            <a:extLst>
              <a:ext uri="{FF2B5EF4-FFF2-40B4-BE49-F238E27FC236}">
                <a16:creationId xmlns:a16="http://schemas.microsoft.com/office/drawing/2014/main" id="{A13D6358-E032-4D42-8B3A-BB647533A52A}"/>
              </a:ext>
            </a:extLst>
          </p:cNvPr>
          <p:cNvSpPr>
            <a:spLocks/>
          </p:cNvSpPr>
          <p:nvPr/>
        </p:nvSpPr>
        <p:spPr bwMode="auto">
          <a:xfrm>
            <a:off x="4373551" y="5638913"/>
            <a:ext cx="146465" cy="142511"/>
          </a:xfrm>
          <a:custGeom>
            <a:avLst/>
            <a:gdLst>
              <a:gd name="T0" fmla="*/ 0 w 128"/>
              <a:gd name="T1" fmla="*/ 98 h 128"/>
              <a:gd name="T2" fmla="*/ 0 w 128"/>
              <a:gd name="T3" fmla="*/ 98 h 128"/>
              <a:gd name="T4" fmla="*/ 0 w 128"/>
              <a:gd name="T5" fmla="*/ 59 h 128"/>
              <a:gd name="T6" fmla="*/ 14 w 128"/>
              <a:gd name="T7" fmla="*/ 59 h 128"/>
              <a:gd name="T8" fmla="*/ 14 w 128"/>
              <a:gd name="T9" fmla="*/ 10 h 128"/>
              <a:gd name="T10" fmla="*/ 40 w 128"/>
              <a:gd name="T11" fmla="*/ 4 h 128"/>
              <a:gd name="T12" fmla="*/ 48 w 128"/>
              <a:gd name="T13" fmla="*/ 13 h 128"/>
              <a:gd name="T14" fmla="*/ 71 w 128"/>
              <a:gd name="T15" fmla="*/ 0 h 128"/>
              <a:gd name="T16" fmla="*/ 109 w 128"/>
              <a:gd name="T17" fmla="*/ 53 h 128"/>
              <a:gd name="T18" fmla="*/ 127 w 128"/>
              <a:gd name="T19" fmla="*/ 62 h 128"/>
              <a:gd name="T20" fmla="*/ 76 w 128"/>
              <a:gd name="T21" fmla="*/ 109 h 128"/>
              <a:gd name="T22" fmla="*/ 46 w 128"/>
              <a:gd name="T23" fmla="*/ 109 h 128"/>
              <a:gd name="T24" fmla="*/ 30 w 128"/>
              <a:gd name="T25" fmla="*/ 126 h 128"/>
              <a:gd name="T26" fmla="*/ 11 w 128"/>
              <a:gd name="T27" fmla="*/ 127 h 128"/>
              <a:gd name="T28" fmla="*/ 11 w 128"/>
              <a:gd name="T29" fmla="*/ 112 h 128"/>
              <a:gd name="T30" fmla="*/ 0 w 128"/>
              <a:gd name="T31" fmla="*/ 98 h 128"/>
              <a:gd name="T32" fmla="*/ 0 w 128"/>
              <a:gd name="T33" fmla="*/ 98 h 1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8"/>
              <a:gd name="T52" fmla="*/ 0 h 128"/>
              <a:gd name="T53" fmla="*/ 128 w 128"/>
              <a:gd name="T54" fmla="*/ 128 h 1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8" h="128">
                <a:moveTo>
                  <a:pt x="0" y="98"/>
                </a:moveTo>
                <a:lnTo>
                  <a:pt x="0" y="98"/>
                </a:lnTo>
                <a:lnTo>
                  <a:pt x="0" y="59"/>
                </a:lnTo>
                <a:lnTo>
                  <a:pt x="14" y="59"/>
                </a:lnTo>
                <a:lnTo>
                  <a:pt x="14" y="10"/>
                </a:lnTo>
                <a:lnTo>
                  <a:pt x="40" y="4"/>
                </a:lnTo>
                <a:lnTo>
                  <a:pt x="48" y="13"/>
                </a:lnTo>
                <a:lnTo>
                  <a:pt x="71" y="0"/>
                </a:lnTo>
                <a:lnTo>
                  <a:pt x="109" y="53"/>
                </a:lnTo>
                <a:lnTo>
                  <a:pt x="127" y="62"/>
                </a:lnTo>
                <a:lnTo>
                  <a:pt x="76" y="109"/>
                </a:lnTo>
                <a:lnTo>
                  <a:pt x="46" y="109"/>
                </a:lnTo>
                <a:lnTo>
                  <a:pt x="30" y="126"/>
                </a:lnTo>
                <a:lnTo>
                  <a:pt x="11" y="127"/>
                </a:lnTo>
                <a:lnTo>
                  <a:pt x="11" y="112"/>
                </a:lnTo>
                <a:lnTo>
                  <a:pt x="0" y="9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1" name="Freeform 806">
            <a:extLst>
              <a:ext uri="{FF2B5EF4-FFF2-40B4-BE49-F238E27FC236}">
                <a16:creationId xmlns:a16="http://schemas.microsoft.com/office/drawing/2014/main" id="{2B54C7EB-4521-4D8E-8CC8-3C3AFB6C9D5D}"/>
              </a:ext>
            </a:extLst>
          </p:cNvPr>
          <p:cNvSpPr>
            <a:spLocks/>
          </p:cNvSpPr>
          <p:nvPr/>
        </p:nvSpPr>
        <p:spPr bwMode="auto">
          <a:xfrm>
            <a:off x="4516583" y="5403992"/>
            <a:ext cx="28607" cy="31174"/>
          </a:xfrm>
          <a:custGeom>
            <a:avLst/>
            <a:gdLst>
              <a:gd name="T0" fmla="*/ 0 w 25"/>
              <a:gd name="T1" fmla="*/ 4 h 28"/>
              <a:gd name="T2" fmla="*/ 0 w 25"/>
              <a:gd name="T3" fmla="*/ 4 h 28"/>
              <a:gd name="T4" fmla="*/ 3 w 25"/>
              <a:gd name="T5" fmla="*/ 14 h 28"/>
              <a:gd name="T6" fmla="*/ 9 w 25"/>
              <a:gd name="T7" fmla="*/ 27 h 28"/>
              <a:gd name="T8" fmla="*/ 24 w 25"/>
              <a:gd name="T9" fmla="*/ 11 h 28"/>
              <a:gd name="T10" fmla="*/ 23 w 25"/>
              <a:gd name="T11" fmla="*/ 0 h 28"/>
              <a:gd name="T12" fmla="*/ 0 w 25"/>
              <a:gd name="T13" fmla="*/ 4 h 28"/>
              <a:gd name="T14" fmla="*/ 0 w 25"/>
              <a:gd name="T15" fmla="*/ 4 h 2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28"/>
              <a:gd name="T26" fmla="*/ 25 w 25"/>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28">
                <a:moveTo>
                  <a:pt x="0" y="4"/>
                </a:moveTo>
                <a:lnTo>
                  <a:pt x="0" y="4"/>
                </a:lnTo>
                <a:lnTo>
                  <a:pt x="3" y="14"/>
                </a:lnTo>
                <a:lnTo>
                  <a:pt x="9" y="27"/>
                </a:lnTo>
                <a:lnTo>
                  <a:pt x="24" y="11"/>
                </a:lnTo>
                <a:lnTo>
                  <a:pt x="23" y="0"/>
                </a:lnTo>
                <a:lnTo>
                  <a:pt x="0" y="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2" name="Freeform 807">
            <a:extLst>
              <a:ext uri="{FF2B5EF4-FFF2-40B4-BE49-F238E27FC236}">
                <a16:creationId xmlns:a16="http://schemas.microsoft.com/office/drawing/2014/main" id="{56F9B48F-62FA-48FD-A47B-AEF05EC56DEE}"/>
              </a:ext>
            </a:extLst>
          </p:cNvPr>
          <p:cNvSpPr>
            <a:spLocks/>
          </p:cNvSpPr>
          <p:nvPr/>
        </p:nvSpPr>
        <p:spPr bwMode="auto">
          <a:xfrm>
            <a:off x="4193903" y="5175752"/>
            <a:ext cx="121291" cy="170345"/>
          </a:xfrm>
          <a:custGeom>
            <a:avLst/>
            <a:gdLst>
              <a:gd name="T0" fmla="*/ 0 w 106"/>
              <a:gd name="T1" fmla="*/ 109 h 153"/>
              <a:gd name="T2" fmla="*/ 0 w 106"/>
              <a:gd name="T3" fmla="*/ 109 h 153"/>
              <a:gd name="T4" fmla="*/ 14 w 106"/>
              <a:gd name="T5" fmla="*/ 80 h 153"/>
              <a:gd name="T6" fmla="*/ 40 w 106"/>
              <a:gd name="T7" fmla="*/ 84 h 153"/>
              <a:gd name="T8" fmla="*/ 68 w 106"/>
              <a:gd name="T9" fmla="*/ 25 h 153"/>
              <a:gd name="T10" fmla="*/ 82 w 106"/>
              <a:gd name="T11" fmla="*/ 14 h 153"/>
              <a:gd name="T12" fmla="*/ 77 w 106"/>
              <a:gd name="T13" fmla="*/ 2 h 153"/>
              <a:gd name="T14" fmla="*/ 84 w 106"/>
              <a:gd name="T15" fmla="*/ 0 h 153"/>
              <a:gd name="T16" fmla="*/ 94 w 106"/>
              <a:gd name="T17" fmla="*/ 37 h 153"/>
              <a:gd name="T18" fmla="*/ 77 w 106"/>
              <a:gd name="T19" fmla="*/ 44 h 153"/>
              <a:gd name="T20" fmla="*/ 96 w 106"/>
              <a:gd name="T21" fmla="*/ 73 h 153"/>
              <a:gd name="T22" fmla="*/ 84 w 106"/>
              <a:gd name="T23" fmla="*/ 107 h 153"/>
              <a:gd name="T24" fmla="*/ 105 w 106"/>
              <a:gd name="T25" fmla="*/ 134 h 153"/>
              <a:gd name="T26" fmla="*/ 103 w 106"/>
              <a:gd name="T27" fmla="*/ 152 h 153"/>
              <a:gd name="T28" fmla="*/ 67 w 106"/>
              <a:gd name="T29" fmla="*/ 144 h 153"/>
              <a:gd name="T30" fmla="*/ 39 w 106"/>
              <a:gd name="T31" fmla="*/ 143 h 153"/>
              <a:gd name="T32" fmla="*/ 17 w 106"/>
              <a:gd name="T33" fmla="*/ 144 h 153"/>
              <a:gd name="T34" fmla="*/ 16 w 106"/>
              <a:gd name="T35" fmla="*/ 119 h 153"/>
              <a:gd name="T36" fmla="*/ 0 w 106"/>
              <a:gd name="T37" fmla="*/ 109 h 153"/>
              <a:gd name="T38" fmla="*/ 0 w 106"/>
              <a:gd name="T39" fmla="*/ 109 h 15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6"/>
              <a:gd name="T61" fmla="*/ 0 h 153"/>
              <a:gd name="T62" fmla="*/ 106 w 106"/>
              <a:gd name="T63" fmla="*/ 153 h 15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6" h="153">
                <a:moveTo>
                  <a:pt x="0" y="109"/>
                </a:moveTo>
                <a:lnTo>
                  <a:pt x="0" y="109"/>
                </a:lnTo>
                <a:lnTo>
                  <a:pt x="14" y="80"/>
                </a:lnTo>
                <a:lnTo>
                  <a:pt x="40" y="84"/>
                </a:lnTo>
                <a:lnTo>
                  <a:pt x="68" y="25"/>
                </a:lnTo>
                <a:lnTo>
                  <a:pt x="82" y="14"/>
                </a:lnTo>
                <a:lnTo>
                  <a:pt x="77" y="2"/>
                </a:lnTo>
                <a:lnTo>
                  <a:pt x="84" y="0"/>
                </a:lnTo>
                <a:lnTo>
                  <a:pt x="94" y="37"/>
                </a:lnTo>
                <a:lnTo>
                  <a:pt x="77" y="44"/>
                </a:lnTo>
                <a:lnTo>
                  <a:pt x="96" y="73"/>
                </a:lnTo>
                <a:lnTo>
                  <a:pt x="84" y="107"/>
                </a:lnTo>
                <a:lnTo>
                  <a:pt x="105" y="134"/>
                </a:lnTo>
                <a:lnTo>
                  <a:pt x="103" y="152"/>
                </a:lnTo>
                <a:lnTo>
                  <a:pt x="67" y="144"/>
                </a:lnTo>
                <a:lnTo>
                  <a:pt x="39" y="143"/>
                </a:lnTo>
                <a:lnTo>
                  <a:pt x="17" y="144"/>
                </a:lnTo>
                <a:lnTo>
                  <a:pt x="16" y="119"/>
                </a:lnTo>
                <a:lnTo>
                  <a:pt x="0" y="109"/>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3" name="Freeform 808">
            <a:extLst>
              <a:ext uri="{FF2B5EF4-FFF2-40B4-BE49-F238E27FC236}">
                <a16:creationId xmlns:a16="http://schemas.microsoft.com/office/drawing/2014/main" id="{4462D747-86EA-41CA-8F26-DE6608A116F0}"/>
              </a:ext>
            </a:extLst>
          </p:cNvPr>
          <p:cNvSpPr>
            <a:spLocks/>
          </p:cNvSpPr>
          <p:nvPr/>
        </p:nvSpPr>
        <p:spPr bwMode="auto">
          <a:xfrm>
            <a:off x="4290020" y="5202473"/>
            <a:ext cx="203678" cy="123584"/>
          </a:xfrm>
          <a:custGeom>
            <a:avLst/>
            <a:gdLst>
              <a:gd name="T0" fmla="*/ 0 w 178"/>
              <a:gd name="T1" fmla="*/ 83 h 111"/>
              <a:gd name="T2" fmla="*/ 0 w 178"/>
              <a:gd name="T3" fmla="*/ 83 h 111"/>
              <a:gd name="T4" fmla="*/ 12 w 178"/>
              <a:gd name="T5" fmla="*/ 49 h 111"/>
              <a:gd name="T6" fmla="*/ 56 w 178"/>
              <a:gd name="T7" fmla="*/ 40 h 111"/>
              <a:gd name="T8" fmla="*/ 61 w 178"/>
              <a:gd name="T9" fmla="*/ 29 h 111"/>
              <a:gd name="T10" fmla="*/ 81 w 178"/>
              <a:gd name="T11" fmla="*/ 25 h 111"/>
              <a:gd name="T12" fmla="*/ 111 w 178"/>
              <a:gd name="T13" fmla="*/ 0 h 111"/>
              <a:gd name="T14" fmla="*/ 121 w 178"/>
              <a:gd name="T15" fmla="*/ 29 h 111"/>
              <a:gd name="T16" fmla="*/ 144 w 178"/>
              <a:gd name="T17" fmla="*/ 40 h 111"/>
              <a:gd name="T18" fmla="*/ 177 w 178"/>
              <a:gd name="T19" fmla="*/ 80 h 111"/>
              <a:gd name="T20" fmla="*/ 95 w 178"/>
              <a:gd name="T21" fmla="*/ 91 h 111"/>
              <a:gd name="T22" fmla="*/ 68 w 178"/>
              <a:gd name="T23" fmla="*/ 80 h 111"/>
              <a:gd name="T24" fmla="*/ 56 w 178"/>
              <a:gd name="T25" fmla="*/ 99 h 111"/>
              <a:gd name="T26" fmla="*/ 33 w 178"/>
              <a:gd name="T27" fmla="*/ 99 h 111"/>
              <a:gd name="T28" fmla="*/ 21 w 178"/>
              <a:gd name="T29" fmla="*/ 110 h 111"/>
              <a:gd name="T30" fmla="*/ 0 w 178"/>
              <a:gd name="T31" fmla="*/ 83 h 111"/>
              <a:gd name="T32" fmla="*/ 0 w 178"/>
              <a:gd name="T33" fmla="*/ 83 h 1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8"/>
              <a:gd name="T52" fmla="*/ 0 h 111"/>
              <a:gd name="T53" fmla="*/ 178 w 178"/>
              <a:gd name="T54" fmla="*/ 111 h 1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8" h="111">
                <a:moveTo>
                  <a:pt x="0" y="83"/>
                </a:moveTo>
                <a:lnTo>
                  <a:pt x="0" y="83"/>
                </a:lnTo>
                <a:lnTo>
                  <a:pt x="12" y="49"/>
                </a:lnTo>
                <a:lnTo>
                  <a:pt x="56" y="40"/>
                </a:lnTo>
                <a:lnTo>
                  <a:pt x="61" y="29"/>
                </a:lnTo>
                <a:lnTo>
                  <a:pt x="81" y="25"/>
                </a:lnTo>
                <a:lnTo>
                  <a:pt x="111" y="0"/>
                </a:lnTo>
                <a:lnTo>
                  <a:pt x="121" y="29"/>
                </a:lnTo>
                <a:lnTo>
                  <a:pt x="144" y="40"/>
                </a:lnTo>
                <a:lnTo>
                  <a:pt x="177" y="80"/>
                </a:lnTo>
                <a:lnTo>
                  <a:pt x="95" y="91"/>
                </a:lnTo>
                <a:lnTo>
                  <a:pt x="68" y="80"/>
                </a:lnTo>
                <a:lnTo>
                  <a:pt x="56" y="99"/>
                </a:lnTo>
                <a:lnTo>
                  <a:pt x="33" y="99"/>
                </a:lnTo>
                <a:lnTo>
                  <a:pt x="21" y="110"/>
                </a:lnTo>
                <a:lnTo>
                  <a:pt x="0" y="83"/>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4" name="Freeform 809">
            <a:extLst>
              <a:ext uri="{FF2B5EF4-FFF2-40B4-BE49-F238E27FC236}">
                <a16:creationId xmlns:a16="http://schemas.microsoft.com/office/drawing/2014/main" id="{DBBD5777-1E56-4ABE-BA16-5C74CE9A0EA7}"/>
              </a:ext>
            </a:extLst>
          </p:cNvPr>
          <p:cNvSpPr>
            <a:spLocks/>
          </p:cNvSpPr>
          <p:nvPr/>
        </p:nvSpPr>
        <p:spPr bwMode="auto">
          <a:xfrm>
            <a:off x="4271712" y="5008747"/>
            <a:ext cx="168205" cy="249395"/>
          </a:xfrm>
          <a:custGeom>
            <a:avLst/>
            <a:gdLst>
              <a:gd name="T0" fmla="*/ 0 w 147"/>
              <a:gd name="T1" fmla="*/ 128 h 224"/>
              <a:gd name="T2" fmla="*/ 0 w 147"/>
              <a:gd name="T3" fmla="*/ 128 h 224"/>
              <a:gd name="T4" fmla="*/ 21 w 147"/>
              <a:gd name="T5" fmla="*/ 139 h 224"/>
              <a:gd name="T6" fmla="*/ 16 w 147"/>
              <a:gd name="T7" fmla="*/ 150 h 224"/>
              <a:gd name="T8" fmla="*/ 26 w 147"/>
              <a:gd name="T9" fmla="*/ 187 h 224"/>
              <a:gd name="T10" fmla="*/ 9 w 147"/>
              <a:gd name="T11" fmla="*/ 194 h 224"/>
              <a:gd name="T12" fmla="*/ 28 w 147"/>
              <a:gd name="T13" fmla="*/ 223 h 224"/>
              <a:gd name="T14" fmla="*/ 72 w 147"/>
              <a:gd name="T15" fmla="*/ 214 h 224"/>
              <a:gd name="T16" fmla="*/ 77 w 147"/>
              <a:gd name="T17" fmla="*/ 203 h 224"/>
              <a:gd name="T18" fmla="*/ 97 w 147"/>
              <a:gd name="T19" fmla="*/ 199 h 224"/>
              <a:gd name="T20" fmla="*/ 127 w 147"/>
              <a:gd name="T21" fmla="*/ 174 h 224"/>
              <a:gd name="T22" fmla="*/ 117 w 147"/>
              <a:gd name="T23" fmla="*/ 147 h 224"/>
              <a:gd name="T24" fmla="*/ 131 w 147"/>
              <a:gd name="T25" fmla="*/ 111 h 224"/>
              <a:gd name="T26" fmla="*/ 145 w 147"/>
              <a:gd name="T27" fmla="*/ 108 h 224"/>
              <a:gd name="T28" fmla="*/ 146 w 147"/>
              <a:gd name="T29" fmla="*/ 56 h 224"/>
              <a:gd name="T30" fmla="*/ 36 w 147"/>
              <a:gd name="T31" fmla="*/ 0 h 224"/>
              <a:gd name="T32" fmla="*/ 22 w 147"/>
              <a:gd name="T33" fmla="*/ 5 h 224"/>
              <a:gd name="T34" fmla="*/ 22 w 147"/>
              <a:gd name="T35" fmla="*/ 27 h 224"/>
              <a:gd name="T36" fmla="*/ 36 w 147"/>
              <a:gd name="T37" fmla="*/ 43 h 224"/>
              <a:gd name="T38" fmla="*/ 28 w 147"/>
              <a:gd name="T39" fmla="*/ 92 h 224"/>
              <a:gd name="T40" fmla="*/ 0 w 147"/>
              <a:gd name="T41" fmla="*/ 128 h 224"/>
              <a:gd name="T42" fmla="*/ 0 w 147"/>
              <a:gd name="T43" fmla="*/ 128 h 2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7"/>
              <a:gd name="T67" fmla="*/ 0 h 224"/>
              <a:gd name="T68" fmla="*/ 147 w 147"/>
              <a:gd name="T69" fmla="*/ 224 h 22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7" h="224">
                <a:moveTo>
                  <a:pt x="0" y="128"/>
                </a:moveTo>
                <a:lnTo>
                  <a:pt x="0" y="128"/>
                </a:lnTo>
                <a:lnTo>
                  <a:pt x="21" y="139"/>
                </a:lnTo>
                <a:lnTo>
                  <a:pt x="16" y="150"/>
                </a:lnTo>
                <a:lnTo>
                  <a:pt x="26" y="187"/>
                </a:lnTo>
                <a:lnTo>
                  <a:pt x="9" y="194"/>
                </a:lnTo>
                <a:lnTo>
                  <a:pt x="28" y="223"/>
                </a:lnTo>
                <a:lnTo>
                  <a:pt x="72" y="214"/>
                </a:lnTo>
                <a:lnTo>
                  <a:pt x="77" y="203"/>
                </a:lnTo>
                <a:lnTo>
                  <a:pt x="97" y="199"/>
                </a:lnTo>
                <a:lnTo>
                  <a:pt x="127" y="174"/>
                </a:lnTo>
                <a:lnTo>
                  <a:pt x="117" y="147"/>
                </a:lnTo>
                <a:lnTo>
                  <a:pt x="131" y="111"/>
                </a:lnTo>
                <a:lnTo>
                  <a:pt x="145" y="108"/>
                </a:lnTo>
                <a:lnTo>
                  <a:pt x="146" y="56"/>
                </a:lnTo>
                <a:lnTo>
                  <a:pt x="36" y="0"/>
                </a:lnTo>
                <a:lnTo>
                  <a:pt x="22" y="5"/>
                </a:lnTo>
                <a:lnTo>
                  <a:pt x="22" y="27"/>
                </a:lnTo>
                <a:lnTo>
                  <a:pt x="36" y="43"/>
                </a:lnTo>
                <a:lnTo>
                  <a:pt x="28" y="92"/>
                </a:lnTo>
                <a:lnTo>
                  <a:pt x="0" y="128"/>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5" name="Freeform 810">
            <a:extLst>
              <a:ext uri="{FF2B5EF4-FFF2-40B4-BE49-F238E27FC236}">
                <a16:creationId xmlns:a16="http://schemas.microsoft.com/office/drawing/2014/main" id="{7D7286B1-9422-4310-B4C2-615AF19EAACA}"/>
              </a:ext>
            </a:extLst>
          </p:cNvPr>
          <p:cNvSpPr>
            <a:spLocks/>
          </p:cNvSpPr>
          <p:nvPr/>
        </p:nvSpPr>
        <p:spPr bwMode="auto">
          <a:xfrm>
            <a:off x="4236240" y="5312696"/>
            <a:ext cx="119002" cy="132491"/>
          </a:xfrm>
          <a:custGeom>
            <a:avLst/>
            <a:gdLst>
              <a:gd name="T0" fmla="*/ 0 w 104"/>
              <a:gd name="T1" fmla="*/ 104 h 119"/>
              <a:gd name="T2" fmla="*/ 0 w 104"/>
              <a:gd name="T3" fmla="*/ 104 h 119"/>
              <a:gd name="T4" fmla="*/ 11 w 104"/>
              <a:gd name="T5" fmla="*/ 118 h 119"/>
              <a:gd name="T6" fmla="*/ 25 w 104"/>
              <a:gd name="T7" fmla="*/ 114 h 119"/>
              <a:gd name="T8" fmla="*/ 46 w 104"/>
              <a:gd name="T9" fmla="*/ 115 h 119"/>
              <a:gd name="T10" fmla="*/ 65 w 104"/>
              <a:gd name="T11" fmla="*/ 103 h 119"/>
              <a:gd name="T12" fmla="*/ 70 w 104"/>
              <a:gd name="T13" fmla="*/ 79 h 119"/>
              <a:gd name="T14" fmla="*/ 90 w 104"/>
              <a:gd name="T15" fmla="*/ 59 h 119"/>
              <a:gd name="T16" fmla="*/ 103 w 104"/>
              <a:gd name="T17" fmla="*/ 0 h 119"/>
              <a:gd name="T18" fmla="*/ 80 w 104"/>
              <a:gd name="T19" fmla="*/ 0 h 119"/>
              <a:gd name="T20" fmla="*/ 68 w 104"/>
              <a:gd name="T21" fmla="*/ 11 h 119"/>
              <a:gd name="T22" fmla="*/ 66 w 104"/>
              <a:gd name="T23" fmla="*/ 29 h 119"/>
              <a:gd name="T24" fmla="*/ 30 w 104"/>
              <a:gd name="T25" fmla="*/ 21 h 119"/>
              <a:gd name="T26" fmla="*/ 29 w 104"/>
              <a:gd name="T27" fmla="*/ 33 h 119"/>
              <a:gd name="T28" fmla="*/ 43 w 104"/>
              <a:gd name="T29" fmla="*/ 35 h 119"/>
              <a:gd name="T30" fmla="*/ 39 w 104"/>
              <a:gd name="T31" fmla="*/ 81 h 119"/>
              <a:gd name="T32" fmla="*/ 21 w 104"/>
              <a:gd name="T33" fmla="*/ 76 h 119"/>
              <a:gd name="T34" fmla="*/ 0 w 104"/>
              <a:gd name="T35" fmla="*/ 104 h 119"/>
              <a:gd name="T36" fmla="*/ 0 w 104"/>
              <a:gd name="T37" fmla="*/ 104 h 1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119"/>
              <a:gd name="T59" fmla="*/ 104 w 104"/>
              <a:gd name="T60" fmla="*/ 119 h 1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119">
                <a:moveTo>
                  <a:pt x="0" y="104"/>
                </a:moveTo>
                <a:lnTo>
                  <a:pt x="0" y="104"/>
                </a:lnTo>
                <a:lnTo>
                  <a:pt x="11" y="118"/>
                </a:lnTo>
                <a:lnTo>
                  <a:pt x="25" y="114"/>
                </a:lnTo>
                <a:lnTo>
                  <a:pt x="46" y="115"/>
                </a:lnTo>
                <a:lnTo>
                  <a:pt x="65" y="103"/>
                </a:lnTo>
                <a:lnTo>
                  <a:pt x="70" y="79"/>
                </a:lnTo>
                <a:lnTo>
                  <a:pt x="90" y="59"/>
                </a:lnTo>
                <a:lnTo>
                  <a:pt x="103" y="0"/>
                </a:lnTo>
                <a:lnTo>
                  <a:pt x="80" y="0"/>
                </a:lnTo>
                <a:lnTo>
                  <a:pt x="68" y="11"/>
                </a:lnTo>
                <a:lnTo>
                  <a:pt x="66" y="29"/>
                </a:lnTo>
                <a:lnTo>
                  <a:pt x="30" y="21"/>
                </a:lnTo>
                <a:lnTo>
                  <a:pt x="29" y="33"/>
                </a:lnTo>
                <a:lnTo>
                  <a:pt x="43" y="35"/>
                </a:lnTo>
                <a:lnTo>
                  <a:pt x="39" y="81"/>
                </a:lnTo>
                <a:lnTo>
                  <a:pt x="21" y="76"/>
                </a:lnTo>
                <a:lnTo>
                  <a:pt x="0" y="10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6" name="Freeform 811">
            <a:extLst>
              <a:ext uri="{FF2B5EF4-FFF2-40B4-BE49-F238E27FC236}">
                <a16:creationId xmlns:a16="http://schemas.microsoft.com/office/drawing/2014/main" id="{D40F5B22-E2AA-4258-9265-F1FF9ED960F4}"/>
              </a:ext>
            </a:extLst>
          </p:cNvPr>
          <p:cNvSpPr>
            <a:spLocks/>
          </p:cNvSpPr>
          <p:nvPr/>
        </p:nvSpPr>
        <p:spPr bwMode="auto">
          <a:xfrm>
            <a:off x="4254548" y="5291543"/>
            <a:ext cx="297506" cy="278342"/>
          </a:xfrm>
          <a:custGeom>
            <a:avLst/>
            <a:gdLst>
              <a:gd name="T0" fmla="*/ 0 w 260"/>
              <a:gd name="T1" fmla="*/ 147 h 250"/>
              <a:gd name="T2" fmla="*/ 0 w 260"/>
              <a:gd name="T3" fmla="*/ 147 h 250"/>
              <a:gd name="T4" fmla="*/ 1 w 260"/>
              <a:gd name="T5" fmla="*/ 154 h 250"/>
              <a:gd name="T6" fmla="*/ 53 w 260"/>
              <a:gd name="T7" fmla="*/ 147 h 250"/>
              <a:gd name="T8" fmla="*/ 76 w 260"/>
              <a:gd name="T9" fmla="*/ 179 h 250"/>
              <a:gd name="T10" fmla="*/ 95 w 260"/>
              <a:gd name="T11" fmla="*/ 177 h 250"/>
              <a:gd name="T12" fmla="*/ 99 w 260"/>
              <a:gd name="T13" fmla="*/ 163 h 250"/>
              <a:gd name="T14" fmla="*/ 117 w 260"/>
              <a:gd name="T15" fmla="*/ 162 h 250"/>
              <a:gd name="T16" fmla="*/ 129 w 260"/>
              <a:gd name="T17" fmla="*/ 171 h 250"/>
              <a:gd name="T18" fmla="*/ 132 w 260"/>
              <a:gd name="T19" fmla="*/ 220 h 250"/>
              <a:gd name="T20" fmla="*/ 160 w 260"/>
              <a:gd name="T21" fmla="*/ 217 h 250"/>
              <a:gd name="T22" fmla="*/ 238 w 260"/>
              <a:gd name="T23" fmla="*/ 249 h 250"/>
              <a:gd name="T24" fmla="*/ 238 w 260"/>
              <a:gd name="T25" fmla="*/ 235 h 250"/>
              <a:gd name="T26" fmla="*/ 222 w 260"/>
              <a:gd name="T27" fmla="*/ 228 h 250"/>
              <a:gd name="T28" fmla="*/ 225 w 260"/>
              <a:gd name="T29" fmla="*/ 192 h 250"/>
              <a:gd name="T30" fmla="*/ 250 w 260"/>
              <a:gd name="T31" fmla="*/ 180 h 250"/>
              <a:gd name="T32" fmla="*/ 234 w 260"/>
              <a:gd name="T33" fmla="*/ 156 h 250"/>
              <a:gd name="T34" fmla="*/ 232 w 260"/>
              <a:gd name="T35" fmla="*/ 115 h 250"/>
              <a:gd name="T36" fmla="*/ 229 w 260"/>
              <a:gd name="T37" fmla="*/ 105 h 250"/>
              <a:gd name="T38" fmla="*/ 238 w 260"/>
              <a:gd name="T39" fmla="*/ 87 h 250"/>
              <a:gd name="T40" fmla="*/ 250 w 260"/>
              <a:gd name="T41" fmla="*/ 52 h 250"/>
              <a:gd name="T42" fmla="*/ 259 w 260"/>
              <a:gd name="T43" fmla="*/ 39 h 250"/>
              <a:gd name="T44" fmla="*/ 254 w 260"/>
              <a:gd name="T45" fmla="*/ 20 h 250"/>
              <a:gd name="T46" fmla="*/ 208 w 260"/>
              <a:gd name="T47" fmla="*/ 0 h 250"/>
              <a:gd name="T48" fmla="*/ 126 w 260"/>
              <a:gd name="T49" fmla="*/ 11 h 250"/>
              <a:gd name="T50" fmla="*/ 99 w 260"/>
              <a:gd name="T51" fmla="*/ 0 h 250"/>
              <a:gd name="T52" fmla="*/ 87 w 260"/>
              <a:gd name="T53" fmla="*/ 19 h 250"/>
              <a:gd name="T54" fmla="*/ 74 w 260"/>
              <a:gd name="T55" fmla="*/ 78 h 250"/>
              <a:gd name="T56" fmla="*/ 54 w 260"/>
              <a:gd name="T57" fmla="*/ 98 h 250"/>
              <a:gd name="T58" fmla="*/ 49 w 260"/>
              <a:gd name="T59" fmla="*/ 122 h 250"/>
              <a:gd name="T60" fmla="*/ 30 w 260"/>
              <a:gd name="T61" fmla="*/ 134 h 250"/>
              <a:gd name="T62" fmla="*/ 9 w 260"/>
              <a:gd name="T63" fmla="*/ 133 h 250"/>
              <a:gd name="T64" fmla="*/ 0 w 260"/>
              <a:gd name="T65" fmla="*/ 147 h 250"/>
              <a:gd name="T66" fmla="*/ 0 w 260"/>
              <a:gd name="T67" fmla="*/ 147 h 25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50"/>
              <a:gd name="T104" fmla="*/ 260 w 260"/>
              <a:gd name="T105" fmla="*/ 250 h 25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50">
                <a:moveTo>
                  <a:pt x="0" y="147"/>
                </a:moveTo>
                <a:lnTo>
                  <a:pt x="0" y="147"/>
                </a:lnTo>
                <a:lnTo>
                  <a:pt x="1" y="154"/>
                </a:lnTo>
                <a:lnTo>
                  <a:pt x="53" y="147"/>
                </a:lnTo>
                <a:lnTo>
                  <a:pt x="76" y="179"/>
                </a:lnTo>
                <a:lnTo>
                  <a:pt x="95" y="177"/>
                </a:lnTo>
                <a:lnTo>
                  <a:pt x="99" y="163"/>
                </a:lnTo>
                <a:lnTo>
                  <a:pt x="117" y="162"/>
                </a:lnTo>
                <a:lnTo>
                  <a:pt x="129" y="171"/>
                </a:lnTo>
                <a:lnTo>
                  <a:pt x="132" y="220"/>
                </a:lnTo>
                <a:lnTo>
                  <a:pt x="160" y="217"/>
                </a:lnTo>
                <a:lnTo>
                  <a:pt x="238" y="249"/>
                </a:lnTo>
                <a:lnTo>
                  <a:pt x="238" y="235"/>
                </a:lnTo>
                <a:lnTo>
                  <a:pt x="222" y="228"/>
                </a:lnTo>
                <a:lnTo>
                  <a:pt x="225" y="192"/>
                </a:lnTo>
                <a:lnTo>
                  <a:pt x="250" y="180"/>
                </a:lnTo>
                <a:lnTo>
                  <a:pt x="234" y="156"/>
                </a:lnTo>
                <a:lnTo>
                  <a:pt x="232" y="115"/>
                </a:lnTo>
                <a:lnTo>
                  <a:pt x="229" y="105"/>
                </a:lnTo>
                <a:lnTo>
                  <a:pt x="238" y="87"/>
                </a:lnTo>
                <a:lnTo>
                  <a:pt x="250" y="52"/>
                </a:lnTo>
                <a:lnTo>
                  <a:pt x="259" y="39"/>
                </a:lnTo>
                <a:lnTo>
                  <a:pt x="254" y="20"/>
                </a:lnTo>
                <a:lnTo>
                  <a:pt x="208" y="0"/>
                </a:lnTo>
                <a:lnTo>
                  <a:pt x="126" y="11"/>
                </a:lnTo>
                <a:lnTo>
                  <a:pt x="99" y="0"/>
                </a:lnTo>
                <a:lnTo>
                  <a:pt x="87" y="19"/>
                </a:lnTo>
                <a:lnTo>
                  <a:pt x="74" y="78"/>
                </a:lnTo>
                <a:lnTo>
                  <a:pt x="54" y="98"/>
                </a:lnTo>
                <a:lnTo>
                  <a:pt x="49" y="122"/>
                </a:lnTo>
                <a:lnTo>
                  <a:pt x="30" y="134"/>
                </a:lnTo>
                <a:lnTo>
                  <a:pt x="9" y="133"/>
                </a:lnTo>
                <a:lnTo>
                  <a:pt x="0" y="147"/>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7" name="Freeform 812">
            <a:extLst>
              <a:ext uri="{FF2B5EF4-FFF2-40B4-BE49-F238E27FC236}">
                <a16:creationId xmlns:a16="http://schemas.microsoft.com/office/drawing/2014/main" id="{AD4D240B-D50A-4D70-8C0B-977F83984D3A}"/>
              </a:ext>
            </a:extLst>
          </p:cNvPr>
          <p:cNvSpPr>
            <a:spLocks/>
          </p:cNvSpPr>
          <p:nvPr/>
        </p:nvSpPr>
        <p:spPr bwMode="auto">
          <a:xfrm>
            <a:off x="4568074" y="4807227"/>
            <a:ext cx="37760" cy="20041"/>
          </a:xfrm>
          <a:custGeom>
            <a:avLst/>
            <a:gdLst>
              <a:gd name="T0" fmla="*/ 0 w 33"/>
              <a:gd name="T1" fmla="*/ 9 h 18"/>
              <a:gd name="T2" fmla="*/ 0 w 33"/>
              <a:gd name="T3" fmla="*/ 9 h 18"/>
              <a:gd name="T4" fmla="*/ 11 w 33"/>
              <a:gd name="T5" fmla="*/ 17 h 18"/>
              <a:gd name="T6" fmla="*/ 32 w 33"/>
              <a:gd name="T7" fmla="*/ 0 h 18"/>
              <a:gd name="T8" fmla="*/ 0 w 33"/>
              <a:gd name="T9" fmla="*/ 9 h 18"/>
              <a:gd name="T10" fmla="*/ 0 w 33"/>
              <a:gd name="T11" fmla="*/ 9 h 18"/>
              <a:gd name="T12" fmla="*/ 0 60000 65536"/>
              <a:gd name="T13" fmla="*/ 0 60000 65536"/>
              <a:gd name="T14" fmla="*/ 0 60000 65536"/>
              <a:gd name="T15" fmla="*/ 0 60000 65536"/>
              <a:gd name="T16" fmla="*/ 0 60000 65536"/>
              <a:gd name="T17" fmla="*/ 0 60000 65536"/>
              <a:gd name="T18" fmla="*/ 0 w 33"/>
              <a:gd name="T19" fmla="*/ 0 h 18"/>
              <a:gd name="T20" fmla="*/ 33 w 3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3" h="18">
                <a:moveTo>
                  <a:pt x="0" y="9"/>
                </a:moveTo>
                <a:lnTo>
                  <a:pt x="0" y="9"/>
                </a:lnTo>
                <a:lnTo>
                  <a:pt x="11" y="17"/>
                </a:lnTo>
                <a:lnTo>
                  <a:pt x="32" y="0"/>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8" name="Freeform 813">
            <a:extLst>
              <a:ext uri="{FF2B5EF4-FFF2-40B4-BE49-F238E27FC236}">
                <a16:creationId xmlns:a16="http://schemas.microsoft.com/office/drawing/2014/main" id="{6CE44318-CD7E-445D-B758-E7779777C82F}"/>
              </a:ext>
            </a:extLst>
          </p:cNvPr>
          <p:cNvSpPr>
            <a:spLocks/>
          </p:cNvSpPr>
          <p:nvPr/>
        </p:nvSpPr>
        <p:spPr bwMode="auto">
          <a:xfrm>
            <a:off x="4077188" y="5180206"/>
            <a:ext cx="43481" cy="94637"/>
          </a:xfrm>
          <a:custGeom>
            <a:avLst/>
            <a:gdLst>
              <a:gd name="T0" fmla="*/ 0 w 38"/>
              <a:gd name="T1" fmla="*/ 21 h 85"/>
              <a:gd name="T2" fmla="*/ 0 w 38"/>
              <a:gd name="T3" fmla="*/ 21 h 85"/>
              <a:gd name="T4" fmla="*/ 14 w 38"/>
              <a:gd name="T5" fmla="*/ 84 h 85"/>
              <a:gd name="T6" fmla="*/ 26 w 38"/>
              <a:gd name="T7" fmla="*/ 83 h 85"/>
              <a:gd name="T8" fmla="*/ 37 w 38"/>
              <a:gd name="T9" fmla="*/ 10 h 85"/>
              <a:gd name="T10" fmla="*/ 26 w 38"/>
              <a:gd name="T11" fmla="*/ 0 h 85"/>
              <a:gd name="T12" fmla="*/ 19 w 38"/>
              <a:gd name="T13" fmla="*/ 7 h 85"/>
              <a:gd name="T14" fmla="*/ 0 w 38"/>
              <a:gd name="T15" fmla="*/ 21 h 85"/>
              <a:gd name="T16" fmla="*/ 0 w 38"/>
              <a:gd name="T17" fmla="*/ 21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85"/>
              <a:gd name="T29" fmla="*/ 38 w 38"/>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85">
                <a:moveTo>
                  <a:pt x="0" y="21"/>
                </a:moveTo>
                <a:lnTo>
                  <a:pt x="0" y="21"/>
                </a:lnTo>
                <a:lnTo>
                  <a:pt x="14" y="84"/>
                </a:lnTo>
                <a:lnTo>
                  <a:pt x="26" y="83"/>
                </a:lnTo>
                <a:lnTo>
                  <a:pt x="37" y="10"/>
                </a:lnTo>
                <a:lnTo>
                  <a:pt x="26" y="0"/>
                </a:lnTo>
                <a:lnTo>
                  <a:pt x="19" y="7"/>
                </a:lnTo>
                <a:lnTo>
                  <a:pt x="0" y="2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9" name="Freeform 814">
            <a:extLst>
              <a:ext uri="{FF2B5EF4-FFF2-40B4-BE49-F238E27FC236}">
                <a16:creationId xmlns:a16="http://schemas.microsoft.com/office/drawing/2014/main" id="{1F0F724B-E44F-41E4-8A14-AE2C600D3B37}"/>
              </a:ext>
            </a:extLst>
          </p:cNvPr>
          <p:cNvSpPr>
            <a:spLocks/>
          </p:cNvSpPr>
          <p:nvPr/>
        </p:nvSpPr>
        <p:spPr bwMode="auto">
          <a:xfrm>
            <a:off x="4209922" y="5334964"/>
            <a:ext cx="29751" cy="20041"/>
          </a:xfrm>
          <a:custGeom>
            <a:avLst/>
            <a:gdLst>
              <a:gd name="T0" fmla="*/ 0 w 26"/>
              <a:gd name="T1" fmla="*/ 17 h 18"/>
              <a:gd name="T2" fmla="*/ 0 w 26"/>
              <a:gd name="T3" fmla="*/ 17 h 18"/>
              <a:gd name="T4" fmla="*/ 3 w 26"/>
              <a:gd name="T5" fmla="*/ 1 h 18"/>
              <a:gd name="T6" fmla="*/ 25 w 26"/>
              <a:gd name="T7" fmla="*/ 0 h 18"/>
              <a:gd name="T8" fmla="*/ 25 w 26"/>
              <a:gd name="T9" fmla="*/ 15 h 18"/>
              <a:gd name="T10" fmla="*/ 0 w 26"/>
              <a:gd name="T11" fmla="*/ 17 h 18"/>
              <a:gd name="T12" fmla="*/ 0 w 26"/>
              <a:gd name="T13" fmla="*/ 17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17"/>
                </a:moveTo>
                <a:lnTo>
                  <a:pt x="0" y="17"/>
                </a:lnTo>
                <a:lnTo>
                  <a:pt x="3" y="1"/>
                </a:lnTo>
                <a:lnTo>
                  <a:pt x="25" y="0"/>
                </a:lnTo>
                <a:lnTo>
                  <a:pt x="25" y="15"/>
                </a:lnTo>
                <a:lnTo>
                  <a:pt x="0" y="17"/>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0" name="Freeform 815">
            <a:extLst>
              <a:ext uri="{FF2B5EF4-FFF2-40B4-BE49-F238E27FC236}">
                <a16:creationId xmlns:a16="http://schemas.microsoft.com/office/drawing/2014/main" id="{86E37F85-C5A4-488E-B339-0F0F15565748}"/>
              </a:ext>
            </a:extLst>
          </p:cNvPr>
          <p:cNvSpPr>
            <a:spLocks/>
          </p:cNvSpPr>
          <p:nvPr/>
        </p:nvSpPr>
        <p:spPr bwMode="auto">
          <a:xfrm>
            <a:off x="4577228" y="5093363"/>
            <a:ext cx="236861" cy="223787"/>
          </a:xfrm>
          <a:custGeom>
            <a:avLst/>
            <a:gdLst>
              <a:gd name="T0" fmla="*/ 0 w 207"/>
              <a:gd name="T1" fmla="*/ 140 h 201"/>
              <a:gd name="T2" fmla="*/ 0 w 207"/>
              <a:gd name="T3" fmla="*/ 140 h 201"/>
              <a:gd name="T4" fmla="*/ 16 w 207"/>
              <a:gd name="T5" fmla="*/ 129 h 201"/>
              <a:gd name="T6" fmla="*/ 17 w 207"/>
              <a:gd name="T7" fmla="*/ 105 h 201"/>
              <a:gd name="T8" fmla="*/ 44 w 207"/>
              <a:gd name="T9" fmla="*/ 72 h 201"/>
              <a:gd name="T10" fmla="*/ 55 w 207"/>
              <a:gd name="T11" fmla="*/ 13 h 201"/>
              <a:gd name="T12" fmla="*/ 76 w 207"/>
              <a:gd name="T13" fmla="*/ 0 h 201"/>
              <a:gd name="T14" fmla="*/ 92 w 207"/>
              <a:gd name="T15" fmla="*/ 40 h 201"/>
              <a:gd name="T16" fmla="*/ 137 w 207"/>
              <a:gd name="T17" fmla="*/ 74 h 201"/>
              <a:gd name="T18" fmla="*/ 121 w 207"/>
              <a:gd name="T19" fmla="*/ 95 h 201"/>
              <a:gd name="T20" fmla="*/ 136 w 207"/>
              <a:gd name="T21" fmla="*/ 100 h 201"/>
              <a:gd name="T22" fmla="*/ 152 w 207"/>
              <a:gd name="T23" fmla="*/ 124 h 201"/>
              <a:gd name="T24" fmla="*/ 206 w 207"/>
              <a:gd name="T25" fmla="*/ 138 h 201"/>
              <a:gd name="T26" fmla="*/ 165 w 207"/>
              <a:gd name="T27" fmla="*/ 179 h 201"/>
              <a:gd name="T28" fmla="*/ 122 w 207"/>
              <a:gd name="T29" fmla="*/ 194 h 201"/>
              <a:gd name="T30" fmla="*/ 83 w 207"/>
              <a:gd name="T31" fmla="*/ 200 h 201"/>
              <a:gd name="T32" fmla="*/ 39 w 207"/>
              <a:gd name="T33" fmla="*/ 185 h 201"/>
              <a:gd name="T34" fmla="*/ 24 w 207"/>
              <a:gd name="T35" fmla="*/ 156 h 201"/>
              <a:gd name="T36" fmla="*/ 0 w 207"/>
              <a:gd name="T37" fmla="*/ 140 h 201"/>
              <a:gd name="T38" fmla="*/ 0 w 207"/>
              <a:gd name="T39" fmla="*/ 140 h 2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7"/>
              <a:gd name="T61" fmla="*/ 0 h 201"/>
              <a:gd name="T62" fmla="*/ 207 w 207"/>
              <a:gd name="T63" fmla="*/ 201 h 2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7" h="201">
                <a:moveTo>
                  <a:pt x="0" y="140"/>
                </a:moveTo>
                <a:lnTo>
                  <a:pt x="0" y="140"/>
                </a:lnTo>
                <a:lnTo>
                  <a:pt x="16" y="129"/>
                </a:lnTo>
                <a:lnTo>
                  <a:pt x="17" y="105"/>
                </a:lnTo>
                <a:lnTo>
                  <a:pt x="44" y="72"/>
                </a:lnTo>
                <a:lnTo>
                  <a:pt x="55" y="13"/>
                </a:lnTo>
                <a:lnTo>
                  <a:pt x="76" y="0"/>
                </a:lnTo>
                <a:lnTo>
                  <a:pt x="92" y="40"/>
                </a:lnTo>
                <a:lnTo>
                  <a:pt x="137" y="74"/>
                </a:lnTo>
                <a:lnTo>
                  <a:pt x="121" y="95"/>
                </a:lnTo>
                <a:lnTo>
                  <a:pt x="136" y="100"/>
                </a:lnTo>
                <a:lnTo>
                  <a:pt x="152" y="124"/>
                </a:lnTo>
                <a:lnTo>
                  <a:pt x="206" y="138"/>
                </a:lnTo>
                <a:lnTo>
                  <a:pt x="165" y="179"/>
                </a:lnTo>
                <a:lnTo>
                  <a:pt x="122" y="194"/>
                </a:lnTo>
                <a:lnTo>
                  <a:pt x="83" y="200"/>
                </a:lnTo>
                <a:lnTo>
                  <a:pt x="39" y="185"/>
                </a:lnTo>
                <a:lnTo>
                  <a:pt x="24" y="156"/>
                </a:lnTo>
                <a:lnTo>
                  <a:pt x="0" y="14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1" name="Freeform 816">
            <a:extLst>
              <a:ext uri="{FF2B5EF4-FFF2-40B4-BE49-F238E27FC236}">
                <a16:creationId xmlns:a16="http://schemas.microsoft.com/office/drawing/2014/main" id="{B1F3E296-E0F1-42B3-8EB5-18834C3DEF2D}"/>
              </a:ext>
            </a:extLst>
          </p:cNvPr>
          <p:cNvSpPr>
            <a:spLocks/>
          </p:cNvSpPr>
          <p:nvPr/>
        </p:nvSpPr>
        <p:spPr bwMode="auto">
          <a:xfrm>
            <a:off x="4715683" y="5175752"/>
            <a:ext cx="25174" cy="30061"/>
          </a:xfrm>
          <a:custGeom>
            <a:avLst/>
            <a:gdLst>
              <a:gd name="T0" fmla="*/ 0 w 22"/>
              <a:gd name="T1" fmla="*/ 21 h 27"/>
              <a:gd name="T2" fmla="*/ 0 w 22"/>
              <a:gd name="T3" fmla="*/ 21 h 27"/>
              <a:gd name="T4" fmla="*/ 15 w 22"/>
              <a:gd name="T5" fmla="*/ 26 h 27"/>
              <a:gd name="T6" fmla="*/ 21 w 22"/>
              <a:gd name="T7" fmla="*/ 18 h 27"/>
              <a:gd name="T8" fmla="*/ 10 w 22"/>
              <a:gd name="T9" fmla="*/ 16 h 27"/>
              <a:gd name="T10" fmla="*/ 21 w 22"/>
              <a:gd name="T11" fmla="*/ 10 h 27"/>
              <a:gd name="T12" fmla="*/ 16 w 22"/>
              <a:gd name="T13" fmla="*/ 0 h 27"/>
              <a:gd name="T14" fmla="*/ 0 w 22"/>
              <a:gd name="T15" fmla="*/ 21 h 27"/>
              <a:gd name="T16" fmla="*/ 0 w 22"/>
              <a:gd name="T17" fmla="*/ 21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27"/>
              <a:gd name="T29" fmla="*/ 22 w 22"/>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27">
                <a:moveTo>
                  <a:pt x="0" y="21"/>
                </a:moveTo>
                <a:lnTo>
                  <a:pt x="0" y="21"/>
                </a:lnTo>
                <a:lnTo>
                  <a:pt x="15" y="26"/>
                </a:lnTo>
                <a:lnTo>
                  <a:pt x="21" y="18"/>
                </a:lnTo>
                <a:lnTo>
                  <a:pt x="10" y="16"/>
                </a:lnTo>
                <a:lnTo>
                  <a:pt x="21" y="10"/>
                </a:lnTo>
                <a:lnTo>
                  <a:pt x="16" y="0"/>
                </a:lnTo>
                <a:lnTo>
                  <a:pt x="0" y="2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2" name="Freeform 817">
            <a:extLst>
              <a:ext uri="{FF2B5EF4-FFF2-40B4-BE49-F238E27FC236}">
                <a16:creationId xmlns:a16="http://schemas.microsoft.com/office/drawing/2014/main" id="{BCB202AA-2A16-4C5C-AA67-6AFAFA8F6938}"/>
              </a:ext>
            </a:extLst>
          </p:cNvPr>
          <p:cNvSpPr>
            <a:spLocks/>
          </p:cNvSpPr>
          <p:nvPr/>
        </p:nvSpPr>
        <p:spPr bwMode="auto">
          <a:xfrm>
            <a:off x="4198479" y="5334964"/>
            <a:ext cx="88108" cy="94637"/>
          </a:xfrm>
          <a:custGeom>
            <a:avLst/>
            <a:gdLst>
              <a:gd name="T0" fmla="*/ 0 w 77"/>
              <a:gd name="T1" fmla="*/ 40 h 85"/>
              <a:gd name="T2" fmla="*/ 0 w 77"/>
              <a:gd name="T3" fmla="*/ 40 h 85"/>
              <a:gd name="T4" fmla="*/ 9 w 77"/>
              <a:gd name="T5" fmla="*/ 27 h 85"/>
              <a:gd name="T6" fmla="*/ 14 w 77"/>
              <a:gd name="T7" fmla="*/ 28 h 85"/>
              <a:gd name="T8" fmla="*/ 10 w 77"/>
              <a:gd name="T9" fmla="*/ 17 h 85"/>
              <a:gd name="T10" fmla="*/ 35 w 77"/>
              <a:gd name="T11" fmla="*/ 15 h 85"/>
              <a:gd name="T12" fmla="*/ 35 w 77"/>
              <a:gd name="T13" fmla="*/ 0 h 85"/>
              <a:gd name="T14" fmla="*/ 63 w 77"/>
              <a:gd name="T15" fmla="*/ 1 h 85"/>
              <a:gd name="T16" fmla="*/ 62 w 77"/>
              <a:gd name="T17" fmla="*/ 13 h 85"/>
              <a:gd name="T18" fmla="*/ 76 w 77"/>
              <a:gd name="T19" fmla="*/ 15 h 85"/>
              <a:gd name="T20" fmla="*/ 72 w 77"/>
              <a:gd name="T21" fmla="*/ 61 h 85"/>
              <a:gd name="T22" fmla="*/ 54 w 77"/>
              <a:gd name="T23" fmla="*/ 56 h 85"/>
              <a:gd name="T24" fmla="*/ 33 w 77"/>
              <a:gd name="T25" fmla="*/ 84 h 85"/>
              <a:gd name="T26" fmla="*/ 0 w 77"/>
              <a:gd name="T27" fmla="*/ 40 h 85"/>
              <a:gd name="T28" fmla="*/ 0 w 77"/>
              <a:gd name="T29" fmla="*/ 40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5"/>
              <a:gd name="T47" fmla="*/ 77 w 77"/>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5">
                <a:moveTo>
                  <a:pt x="0" y="40"/>
                </a:moveTo>
                <a:lnTo>
                  <a:pt x="0" y="40"/>
                </a:lnTo>
                <a:lnTo>
                  <a:pt x="9" y="27"/>
                </a:lnTo>
                <a:lnTo>
                  <a:pt x="14" y="28"/>
                </a:lnTo>
                <a:lnTo>
                  <a:pt x="10" y="17"/>
                </a:lnTo>
                <a:lnTo>
                  <a:pt x="35" y="15"/>
                </a:lnTo>
                <a:lnTo>
                  <a:pt x="35" y="0"/>
                </a:lnTo>
                <a:lnTo>
                  <a:pt x="63" y="1"/>
                </a:lnTo>
                <a:lnTo>
                  <a:pt x="62" y="13"/>
                </a:lnTo>
                <a:lnTo>
                  <a:pt x="76" y="15"/>
                </a:lnTo>
                <a:lnTo>
                  <a:pt x="72" y="61"/>
                </a:lnTo>
                <a:lnTo>
                  <a:pt x="54" y="56"/>
                </a:lnTo>
                <a:lnTo>
                  <a:pt x="33" y="84"/>
                </a:lnTo>
                <a:lnTo>
                  <a:pt x="0" y="4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3" name="Freeform 818">
            <a:extLst>
              <a:ext uri="{FF2B5EF4-FFF2-40B4-BE49-F238E27FC236}">
                <a16:creationId xmlns:a16="http://schemas.microsoft.com/office/drawing/2014/main" id="{0C93BDFC-9980-4906-BF18-DAD7D5B3E82D}"/>
              </a:ext>
            </a:extLst>
          </p:cNvPr>
          <p:cNvSpPr>
            <a:spLocks/>
          </p:cNvSpPr>
          <p:nvPr/>
        </p:nvSpPr>
        <p:spPr bwMode="auto">
          <a:xfrm>
            <a:off x="3801422" y="5162392"/>
            <a:ext cx="48059" cy="8907"/>
          </a:xfrm>
          <a:custGeom>
            <a:avLst/>
            <a:gdLst>
              <a:gd name="T0" fmla="*/ 0 w 42"/>
              <a:gd name="T1" fmla="*/ 7 h 8"/>
              <a:gd name="T2" fmla="*/ 0 w 42"/>
              <a:gd name="T3" fmla="*/ 7 h 8"/>
              <a:gd name="T4" fmla="*/ 2 w 42"/>
              <a:gd name="T5" fmla="*/ 0 h 8"/>
              <a:gd name="T6" fmla="*/ 41 w 42"/>
              <a:gd name="T7" fmla="*/ 2 h 8"/>
              <a:gd name="T8" fmla="*/ 0 w 42"/>
              <a:gd name="T9" fmla="*/ 7 h 8"/>
              <a:gd name="T10" fmla="*/ 0 w 42"/>
              <a:gd name="T11" fmla="*/ 7 h 8"/>
              <a:gd name="T12" fmla="*/ 0 60000 65536"/>
              <a:gd name="T13" fmla="*/ 0 60000 65536"/>
              <a:gd name="T14" fmla="*/ 0 60000 65536"/>
              <a:gd name="T15" fmla="*/ 0 60000 65536"/>
              <a:gd name="T16" fmla="*/ 0 60000 65536"/>
              <a:gd name="T17" fmla="*/ 0 60000 65536"/>
              <a:gd name="T18" fmla="*/ 0 w 42"/>
              <a:gd name="T19" fmla="*/ 0 h 8"/>
              <a:gd name="T20" fmla="*/ 42 w 42"/>
              <a:gd name="T21" fmla="*/ 8 h 8"/>
            </a:gdLst>
            <a:ahLst/>
            <a:cxnLst>
              <a:cxn ang="T12">
                <a:pos x="T0" y="T1"/>
              </a:cxn>
              <a:cxn ang="T13">
                <a:pos x="T2" y="T3"/>
              </a:cxn>
              <a:cxn ang="T14">
                <a:pos x="T4" y="T5"/>
              </a:cxn>
              <a:cxn ang="T15">
                <a:pos x="T6" y="T7"/>
              </a:cxn>
              <a:cxn ang="T16">
                <a:pos x="T8" y="T9"/>
              </a:cxn>
              <a:cxn ang="T17">
                <a:pos x="T10" y="T11"/>
              </a:cxn>
            </a:cxnLst>
            <a:rect l="T18" t="T19" r="T20" b="T21"/>
            <a:pathLst>
              <a:path w="42" h="8">
                <a:moveTo>
                  <a:pt x="0" y="7"/>
                </a:moveTo>
                <a:lnTo>
                  <a:pt x="0" y="7"/>
                </a:lnTo>
                <a:lnTo>
                  <a:pt x="2" y="0"/>
                </a:lnTo>
                <a:lnTo>
                  <a:pt x="41" y="2"/>
                </a:lnTo>
                <a:lnTo>
                  <a:pt x="0"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4" name="Freeform 819">
            <a:extLst>
              <a:ext uri="{FF2B5EF4-FFF2-40B4-BE49-F238E27FC236}">
                <a16:creationId xmlns:a16="http://schemas.microsoft.com/office/drawing/2014/main" id="{2483B080-5A2E-4F13-B9A0-DEDEF8079900}"/>
              </a:ext>
            </a:extLst>
          </p:cNvPr>
          <p:cNvSpPr>
            <a:spLocks/>
          </p:cNvSpPr>
          <p:nvPr/>
        </p:nvSpPr>
        <p:spPr bwMode="auto">
          <a:xfrm>
            <a:off x="4015399" y="5199133"/>
            <a:ext cx="67511" cy="99090"/>
          </a:xfrm>
          <a:custGeom>
            <a:avLst/>
            <a:gdLst>
              <a:gd name="T0" fmla="*/ 0 w 59"/>
              <a:gd name="T1" fmla="*/ 83 h 89"/>
              <a:gd name="T2" fmla="*/ 0 w 59"/>
              <a:gd name="T3" fmla="*/ 83 h 89"/>
              <a:gd name="T4" fmla="*/ 5 w 59"/>
              <a:gd name="T5" fmla="*/ 23 h 89"/>
              <a:gd name="T6" fmla="*/ 3 w 59"/>
              <a:gd name="T7" fmla="*/ 4 h 89"/>
              <a:gd name="T8" fmla="*/ 39 w 59"/>
              <a:gd name="T9" fmla="*/ 0 h 89"/>
              <a:gd name="T10" fmla="*/ 58 w 59"/>
              <a:gd name="T11" fmla="*/ 70 h 89"/>
              <a:gd name="T12" fmla="*/ 15 w 59"/>
              <a:gd name="T13" fmla="*/ 88 h 89"/>
              <a:gd name="T14" fmla="*/ 0 w 59"/>
              <a:gd name="T15" fmla="*/ 83 h 89"/>
              <a:gd name="T16" fmla="*/ 0 w 59"/>
              <a:gd name="T17" fmla="*/ 83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89"/>
              <a:gd name="T29" fmla="*/ 59 w 59"/>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89">
                <a:moveTo>
                  <a:pt x="0" y="83"/>
                </a:moveTo>
                <a:lnTo>
                  <a:pt x="0" y="83"/>
                </a:lnTo>
                <a:lnTo>
                  <a:pt x="5" y="23"/>
                </a:lnTo>
                <a:lnTo>
                  <a:pt x="3" y="4"/>
                </a:lnTo>
                <a:lnTo>
                  <a:pt x="39" y="0"/>
                </a:lnTo>
                <a:lnTo>
                  <a:pt x="58" y="70"/>
                </a:lnTo>
                <a:lnTo>
                  <a:pt x="15" y="88"/>
                </a:lnTo>
                <a:lnTo>
                  <a:pt x="0" y="8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5" name="Freeform 820">
            <a:extLst>
              <a:ext uri="{FF2B5EF4-FFF2-40B4-BE49-F238E27FC236}">
                <a16:creationId xmlns:a16="http://schemas.microsoft.com/office/drawing/2014/main" id="{7F1B88CC-77FA-4556-9E9A-EBE75920496C}"/>
              </a:ext>
            </a:extLst>
          </p:cNvPr>
          <p:cNvSpPr>
            <a:spLocks/>
          </p:cNvSpPr>
          <p:nvPr/>
        </p:nvSpPr>
        <p:spPr bwMode="auto">
          <a:xfrm>
            <a:off x="3828885" y="5175752"/>
            <a:ext cx="115570" cy="82389"/>
          </a:xfrm>
          <a:custGeom>
            <a:avLst/>
            <a:gdLst>
              <a:gd name="T0" fmla="*/ 0 w 101"/>
              <a:gd name="T1" fmla="*/ 25 h 74"/>
              <a:gd name="T2" fmla="*/ 0 w 101"/>
              <a:gd name="T3" fmla="*/ 25 h 74"/>
              <a:gd name="T4" fmla="*/ 17 w 101"/>
              <a:gd name="T5" fmla="*/ 14 h 74"/>
              <a:gd name="T6" fmla="*/ 17 w 101"/>
              <a:gd name="T7" fmla="*/ 0 h 74"/>
              <a:gd name="T8" fmla="*/ 50 w 101"/>
              <a:gd name="T9" fmla="*/ 3 h 74"/>
              <a:gd name="T10" fmla="*/ 59 w 101"/>
              <a:gd name="T11" fmla="*/ 10 h 74"/>
              <a:gd name="T12" fmla="*/ 82 w 101"/>
              <a:gd name="T13" fmla="*/ 2 h 74"/>
              <a:gd name="T14" fmla="*/ 96 w 101"/>
              <a:gd name="T15" fmla="*/ 35 h 74"/>
              <a:gd name="T16" fmla="*/ 100 w 101"/>
              <a:gd name="T17" fmla="*/ 59 h 74"/>
              <a:gd name="T18" fmla="*/ 91 w 101"/>
              <a:gd name="T19" fmla="*/ 58 h 74"/>
              <a:gd name="T20" fmla="*/ 89 w 101"/>
              <a:gd name="T21" fmla="*/ 71 h 74"/>
              <a:gd name="T22" fmla="*/ 75 w 101"/>
              <a:gd name="T23" fmla="*/ 73 h 74"/>
              <a:gd name="T24" fmla="*/ 74 w 101"/>
              <a:gd name="T25" fmla="*/ 59 h 74"/>
              <a:gd name="T26" fmla="*/ 66 w 101"/>
              <a:gd name="T27" fmla="*/ 59 h 74"/>
              <a:gd name="T28" fmla="*/ 52 w 101"/>
              <a:gd name="T29" fmla="*/ 38 h 74"/>
              <a:gd name="T30" fmla="*/ 23 w 101"/>
              <a:gd name="T31" fmla="*/ 50 h 74"/>
              <a:gd name="T32" fmla="*/ 0 w 101"/>
              <a:gd name="T33" fmla="*/ 25 h 74"/>
              <a:gd name="T34" fmla="*/ 0 w 101"/>
              <a:gd name="T35" fmla="*/ 2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74"/>
              <a:gd name="T56" fmla="*/ 101 w 101"/>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74">
                <a:moveTo>
                  <a:pt x="0" y="25"/>
                </a:moveTo>
                <a:lnTo>
                  <a:pt x="0" y="25"/>
                </a:lnTo>
                <a:lnTo>
                  <a:pt x="17" y="14"/>
                </a:lnTo>
                <a:lnTo>
                  <a:pt x="17" y="0"/>
                </a:lnTo>
                <a:lnTo>
                  <a:pt x="50" y="3"/>
                </a:lnTo>
                <a:lnTo>
                  <a:pt x="59" y="10"/>
                </a:lnTo>
                <a:lnTo>
                  <a:pt x="82" y="2"/>
                </a:lnTo>
                <a:lnTo>
                  <a:pt x="96" y="35"/>
                </a:lnTo>
                <a:lnTo>
                  <a:pt x="100" y="59"/>
                </a:lnTo>
                <a:lnTo>
                  <a:pt x="91" y="58"/>
                </a:lnTo>
                <a:lnTo>
                  <a:pt x="89" y="71"/>
                </a:lnTo>
                <a:lnTo>
                  <a:pt x="75" y="73"/>
                </a:lnTo>
                <a:lnTo>
                  <a:pt x="74" y="59"/>
                </a:lnTo>
                <a:lnTo>
                  <a:pt x="66" y="59"/>
                </a:lnTo>
                <a:lnTo>
                  <a:pt x="52" y="38"/>
                </a:lnTo>
                <a:lnTo>
                  <a:pt x="23" y="50"/>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6" name="Freeform 821">
            <a:extLst>
              <a:ext uri="{FF2B5EF4-FFF2-40B4-BE49-F238E27FC236}">
                <a16:creationId xmlns:a16="http://schemas.microsoft.com/office/drawing/2014/main" id="{003FC4C7-BA5E-490B-A4F1-1C0EFED6FB87}"/>
              </a:ext>
            </a:extLst>
          </p:cNvPr>
          <p:cNvSpPr>
            <a:spLocks/>
          </p:cNvSpPr>
          <p:nvPr/>
        </p:nvSpPr>
        <p:spPr bwMode="auto">
          <a:xfrm>
            <a:off x="4761453" y="4915224"/>
            <a:ext cx="29751" cy="8907"/>
          </a:xfrm>
          <a:custGeom>
            <a:avLst/>
            <a:gdLst>
              <a:gd name="T0" fmla="*/ 0 w 26"/>
              <a:gd name="T1" fmla="*/ 0 h 8"/>
              <a:gd name="T2" fmla="*/ 0 w 26"/>
              <a:gd name="T3" fmla="*/ 0 h 8"/>
              <a:gd name="T4" fmla="*/ 13 w 26"/>
              <a:gd name="T5" fmla="*/ 7 h 8"/>
              <a:gd name="T6" fmla="*/ 25 w 26"/>
              <a:gd name="T7" fmla="*/ 2 h 8"/>
              <a:gd name="T8" fmla="*/ 0 w 26"/>
              <a:gd name="T9" fmla="*/ 0 h 8"/>
              <a:gd name="T10" fmla="*/ 0 w 26"/>
              <a:gd name="T11" fmla="*/ 0 h 8"/>
              <a:gd name="T12" fmla="*/ 0 60000 65536"/>
              <a:gd name="T13" fmla="*/ 0 60000 65536"/>
              <a:gd name="T14" fmla="*/ 0 60000 65536"/>
              <a:gd name="T15" fmla="*/ 0 60000 65536"/>
              <a:gd name="T16" fmla="*/ 0 60000 65536"/>
              <a:gd name="T17" fmla="*/ 0 60000 65536"/>
              <a:gd name="T18" fmla="*/ 0 w 26"/>
              <a:gd name="T19" fmla="*/ 0 h 8"/>
              <a:gd name="T20" fmla="*/ 26 w 26"/>
              <a:gd name="T21" fmla="*/ 8 h 8"/>
            </a:gdLst>
            <a:ahLst/>
            <a:cxnLst>
              <a:cxn ang="T12">
                <a:pos x="T0" y="T1"/>
              </a:cxn>
              <a:cxn ang="T13">
                <a:pos x="T2" y="T3"/>
              </a:cxn>
              <a:cxn ang="T14">
                <a:pos x="T4" y="T5"/>
              </a:cxn>
              <a:cxn ang="T15">
                <a:pos x="T6" y="T7"/>
              </a:cxn>
              <a:cxn ang="T16">
                <a:pos x="T8" y="T9"/>
              </a:cxn>
              <a:cxn ang="T17">
                <a:pos x="T10" y="T11"/>
              </a:cxn>
            </a:cxnLst>
            <a:rect l="T18" t="T19" r="T20" b="T21"/>
            <a:pathLst>
              <a:path w="26" h="8">
                <a:moveTo>
                  <a:pt x="0" y="0"/>
                </a:moveTo>
                <a:lnTo>
                  <a:pt x="0" y="0"/>
                </a:lnTo>
                <a:lnTo>
                  <a:pt x="13" y="7"/>
                </a:lnTo>
                <a:lnTo>
                  <a:pt x="25" y="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7" name="Freeform 822">
            <a:extLst>
              <a:ext uri="{FF2B5EF4-FFF2-40B4-BE49-F238E27FC236}">
                <a16:creationId xmlns:a16="http://schemas.microsoft.com/office/drawing/2014/main" id="{9BD2EF94-3A1F-4B1E-8B71-180E83DE23F4}"/>
              </a:ext>
            </a:extLst>
          </p:cNvPr>
          <p:cNvSpPr>
            <a:spLocks/>
          </p:cNvSpPr>
          <p:nvPr/>
        </p:nvSpPr>
        <p:spPr bwMode="auto">
          <a:xfrm>
            <a:off x="4593248" y="4849535"/>
            <a:ext cx="25174" cy="64575"/>
          </a:xfrm>
          <a:custGeom>
            <a:avLst/>
            <a:gdLst>
              <a:gd name="T0" fmla="*/ 0 w 22"/>
              <a:gd name="T1" fmla="*/ 28 h 58"/>
              <a:gd name="T2" fmla="*/ 0 w 22"/>
              <a:gd name="T3" fmla="*/ 28 h 58"/>
              <a:gd name="T4" fmla="*/ 11 w 22"/>
              <a:gd name="T5" fmla="*/ 57 h 58"/>
              <a:gd name="T6" fmla="*/ 13 w 22"/>
              <a:gd name="T7" fmla="*/ 56 h 58"/>
              <a:gd name="T8" fmla="*/ 19 w 22"/>
              <a:gd name="T9" fmla="*/ 25 h 58"/>
              <a:gd name="T10" fmla="*/ 11 w 22"/>
              <a:gd name="T11" fmla="*/ 28 h 58"/>
              <a:gd name="T12" fmla="*/ 13 w 22"/>
              <a:gd name="T13" fmla="*/ 14 h 58"/>
              <a:gd name="T14" fmla="*/ 20 w 22"/>
              <a:gd name="T15" fmla="*/ 7 h 58"/>
              <a:gd name="T16" fmla="*/ 21 w 22"/>
              <a:gd name="T17" fmla="*/ 0 h 58"/>
              <a:gd name="T18" fmla="*/ 14 w 22"/>
              <a:gd name="T19" fmla="*/ 1 h 58"/>
              <a:gd name="T20" fmla="*/ 0 w 22"/>
              <a:gd name="T21" fmla="*/ 28 h 58"/>
              <a:gd name="T22" fmla="*/ 0 w 22"/>
              <a:gd name="T23" fmla="*/ 28 h 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8"/>
              <a:gd name="T38" fmla="*/ 22 w 22"/>
              <a:gd name="T39" fmla="*/ 58 h 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8">
                <a:moveTo>
                  <a:pt x="0" y="28"/>
                </a:moveTo>
                <a:lnTo>
                  <a:pt x="0" y="28"/>
                </a:lnTo>
                <a:lnTo>
                  <a:pt x="11" y="57"/>
                </a:lnTo>
                <a:lnTo>
                  <a:pt x="13" y="56"/>
                </a:lnTo>
                <a:lnTo>
                  <a:pt x="19" y="25"/>
                </a:lnTo>
                <a:lnTo>
                  <a:pt x="11" y="28"/>
                </a:lnTo>
                <a:lnTo>
                  <a:pt x="13" y="14"/>
                </a:lnTo>
                <a:lnTo>
                  <a:pt x="20" y="7"/>
                </a:lnTo>
                <a:lnTo>
                  <a:pt x="21" y="0"/>
                </a:lnTo>
                <a:lnTo>
                  <a:pt x="14" y="1"/>
                </a:lnTo>
                <a:lnTo>
                  <a:pt x="0" y="2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8" name="Freeform 823">
            <a:extLst>
              <a:ext uri="{FF2B5EF4-FFF2-40B4-BE49-F238E27FC236}">
                <a16:creationId xmlns:a16="http://schemas.microsoft.com/office/drawing/2014/main" id="{EAEDBD41-082E-45BA-8113-5C661357A1E7}"/>
              </a:ext>
            </a:extLst>
          </p:cNvPr>
          <p:cNvSpPr>
            <a:spLocks/>
          </p:cNvSpPr>
          <p:nvPr/>
        </p:nvSpPr>
        <p:spPr bwMode="auto">
          <a:xfrm>
            <a:off x="3929579" y="5205813"/>
            <a:ext cx="92684" cy="96863"/>
          </a:xfrm>
          <a:custGeom>
            <a:avLst/>
            <a:gdLst>
              <a:gd name="T0" fmla="*/ 0 w 81"/>
              <a:gd name="T1" fmla="*/ 57 h 87"/>
              <a:gd name="T2" fmla="*/ 0 w 81"/>
              <a:gd name="T3" fmla="*/ 57 h 87"/>
              <a:gd name="T4" fmla="*/ 1 w 81"/>
              <a:gd name="T5" fmla="*/ 44 h 87"/>
              <a:gd name="T6" fmla="*/ 3 w 81"/>
              <a:gd name="T7" fmla="*/ 31 h 87"/>
              <a:gd name="T8" fmla="*/ 12 w 81"/>
              <a:gd name="T9" fmla="*/ 32 h 87"/>
              <a:gd name="T10" fmla="*/ 8 w 81"/>
              <a:gd name="T11" fmla="*/ 8 h 87"/>
              <a:gd name="T12" fmla="*/ 32 w 81"/>
              <a:gd name="T13" fmla="*/ 0 h 87"/>
              <a:gd name="T14" fmla="*/ 46 w 81"/>
              <a:gd name="T15" fmla="*/ 5 h 87"/>
              <a:gd name="T16" fmla="*/ 53 w 81"/>
              <a:gd name="T17" fmla="*/ 14 h 87"/>
              <a:gd name="T18" fmla="*/ 80 w 81"/>
              <a:gd name="T19" fmla="*/ 17 h 87"/>
              <a:gd name="T20" fmla="*/ 75 w 81"/>
              <a:gd name="T21" fmla="*/ 77 h 87"/>
              <a:gd name="T22" fmla="*/ 13 w 81"/>
              <a:gd name="T23" fmla="*/ 86 h 87"/>
              <a:gd name="T24" fmla="*/ 15 w 81"/>
              <a:gd name="T25" fmla="*/ 66 h 87"/>
              <a:gd name="T26" fmla="*/ 0 w 81"/>
              <a:gd name="T27" fmla="*/ 57 h 87"/>
              <a:gd name="T28" fmla="*/ 0 w 81"/>
              <a:gd name="T29" fmla="*/ 57 h 8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87"/>
              <a:gd name="T47" fmla="*/ 81 w 81"/>
              <a:gd name="T48" fmla="*/ 87 h 8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87">
                <a:moveTo>
                  <a:pt x="0" y="57"/>
                </a:moveTo>
                <a:lnTo>
                  <a:pt x="0" y="57"/>
                </a:lnTo>
                <a:lnTo>
                  <a:pt x="1" y="44"/>
                </a:lnTo>
                <a:lnTo>
                  <a:pt x="3" y="31"/>
                </a:lnTo>
                <a:lnTo>
                  <a:pt x="12" y="32"/>
                </a:lnTo>
                <a:lnTo>
                  <a:pt x="8" y="8"/>
                </a:lnTo>
                <a:lnTo>
                  <a:pt x="32" y="0"/>
                </a:lnTo>
                <a:lnTo>
                  <a:pt x="46" y="5"/>
                </a:lnTo>
                <a:lnTo>
                  <a:pt x="53" y="14"/>
                </a:lnTo>
                <a:lnTo>
                  <a:pt x="80" y="17"/>
                </a:lnTo>
                <a:lnTo>
                  <a:pt x="75" y="77"/>
                </a:lnTo>
                <a:lnTo>
                  <a:pt x="13" y="86"/>
                </a:lnTo>
                <a:lnTo>
                  <a:pt x="15" y="66"/>
                </a:lnTo>
                <a:lnTo>
                  <a:pt x="0" y="5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9" name="Freeform 824">
            <a:extLst>
              <a:ext uri="{FF2B5EF4-FFF2-40B4-BE49-F238E27FC236}">
                <a16:creationId xmlns:a16="http://schemas.microsoft.com/office/drawing/2014/main" id="{BC07ED43-92C0-4463-BE91-75D378245AC3}"/>
              </a:ext>
            </a:extLst>
          </p:cNvPr>
          <p:cNvSpPr>
            <a:spLocks/>
          </p:cNvSpPr>
          <p:nvPr/>
        </p:nvSpPr>
        <p:spPr bwMode="auto">
          <a:xfrm>
            <a:off x="4605834" y="4846195"/>
            <a:ext cx="68655" cy="72369"/>
          </a:xfrm>
          <a:custGeom>
            <a:avLst/>
            <a:gdLst>
              <a:gd name="T0" fmla="*/ 0 w 60"/>
              <a:gd name="T1" fmla="*/ 31 h 65"/>
              <a:gd name="T2" fmla="*/ 0 w 60"/>
              <a:gd name="T3" fmla="*/ 31 h 65"/>
              <a:gd name="T4" fmla="*/ 2 w 60"/>
              <a:gd name="T5" fmla="*/ 17 h 65"/>
              <a:gd name="T6" fmla="*/ 9 w 60"/>
              <a:gd name="T7" fmla="*/ 10 h 65"/>
              <a:gd name="T8" fmla="*/ 23 w 60"/>
              <a:gd name="T9" fmla="*/ 16 h 65"/>
              <a:gd name="T10" fmla="*/ 53 w 60"/>
              <a:gd name="T11" fmla="*/ 0 h 65"/>
              <a:gd name="T12" fmla="*/ 59 w 60"/>
              <a:gd name="T13" fmla="*/ 18 h 65"/>
              <a:gd name="T14" fmla="*/ 28 w 60"/>
              <a:gd name="T15" fmla="*/ 28 h 65"/>
              <a:gd name="T16" fmla="*/ 44 w 60"/>
              <a:gd name="T17" fmla="*/ 42 h 65"/>
              <a:gd name="T18" fmla="*/ 36 w 60"/>
              <a:gd name="T19" fmla="*/ 51 h 65"/>
              <a:gd name="T20" fmla="*/ 17 w 60"/>
              <a:gd name="T21" fmla="*/ 64 h 65"/>
              <a:gd name="T22" fmla="*/ 2 w 60"/>
              <a:gd name="T23" fmla="*/ 59 h 65"/>
              <a:gd name="T24" fmla="*/ 2 w 60"/>
              <a:gd name="T25" fmla="*/ 59 h 65"/>
              <a:gd name="T26" fmla="*/ 8 w 60"/>
              <a:gd name="T27" fmla="*/ 28 h 65"/>
              <a:gd name="T28" fmla="*/ 0 w 60"/>
              <a:gd name="T29" fmla="*/ 31 h 65"/>
              <a:gd name="T30" fmla="*/ 0 w 60"/>
              <a:gd name="T31" fmla="*/ 31 h 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0"/>
              <a:gd name="T49" fmla="*/ 0 h 65"/>
              <a:gd name="T50" fmla="*/ 60 w 60"/>
              <a:gd name="T51" fmla="*/ 65 h 6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0" h="65">
                <a:moveTo>
                  <a:pt x="0" y="31"/>
                </a:moveTo>
                <a:lnTo>
                  <a:pt x="0" y="31"/>
                </a:lnTo>
                <a:lnTo>
                  <a:pt x="2" y="17"/>
                </a:lnTo>
                <a:lnTo>
                  <a:pt x="9" y="10"/>
                </a:lnTo>
                <a:lnTo>
                  <a:pt x="23" y="16"/>
                </a:lnTo>
                <a:lnTo>
                  <a:pt x="53" y="0"/>
                </a:lnTo>
                <a:lnTo>
                  <a:pt x="59" y="18"/>
                </a:lnTo>
                <a:lnTo>
                  <a:pt x="28" y="28"/>
                </a:lnTo>
                <a:lnTo>
                  <a:pt x="44" y="42"/>
                </a:lnTo>
                <a:lnTo>
                  <a:pt x="36" y="51"/>
                </a:lnTo>
                <a:lnTo>
                  <a:pt x="17" y="64"/>
                </a:lnTo>
                <a:lnTo>
                  <a:pt x="2" y="59"/>
                </a:lnTo>
                <a:lnTo>
                  <a:pt x="8" y="28"/>
                </a:lnTo>
                <a:lnTo>
                  <a:pt x="0" y="3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0" name="Freeform 825">
            <a:extLst>
              <a:ext uri="{FF2B5EF4-FFF2-40B4-BE49-F238E27FC236}">
                <a16:creationId xmlns:a16="http://schemas.microsoft.com/office/drawing/2014/main" id="{193E87B5-9C63-4375-B210-A66A1AFCCF6F}"/>
              </a:ext>
            </a:extLst>
          </p:cNvPr>
          <p:cNvSpPr>
            <a:spLocks/>
          </p:cNvSpPr>
          <p:nvPr/>
        </p:nvSpPr>
        <p:spPr bwMode="auto">
          <a:xfrm>
            <a:off x="4593248" y="5299336"/>
            <a:ext cx="124724" cy="140284"/>
          </a:xfrm>
          <a:custGeom>
            <a:avLst/>
            <a:gdLst>
              <a:gd name="T0" fmla="*/ 0 w 109"/>
              <a:gd name="T1" fmla="*/ 8 h 126"/>
              <a:gd name="T2" fmla="*/ 0 w 109"/>
              <a:gd name="T3" fmla="*/ 8 h 126"/>
              <a:gd name="T4" fmla="*/ 15 w 109"/>
              <a:gd name="T5" fmla="*/ 34 h 126"/>
              <a:gd name="T6" fmla="*/ 0 w 109"/>
              <a:gd name="T7" fmla="*/ 59 h 126"/>
              <a:gd name="T8" fmla="*/ 11 w 109"/>
              <a:gd name="T9" fmla="*/ 66 h 126"/>
              <a:gd name="T10" fmla="*/ 3 w 109"/>
              <a:gd name="T11" fmla="*/ 75 h 126"/>
              <a:gd name="T12" fmla="*/ 74 w 109"/>
              <a:gd name="T13" fmla="*/ 125 h 126"/>
              <a:gd name="T14" fmla="*/ 104 w 109"/>
              <a:gd name="T15" fmla="*/ 85 h 126"/>
              <a:gd name="T16" fmla="*/ 97 w 109"/>
              <a:gd name="T17" fmla="*/ 74 h 126"/>
              <a:gd name="T18" fmla="*/ 97 w 109"/>
              <a:gd name="T19" fmla="*/ 23 h 126"/>
              <a:gd name="T20" fmla="*/ 108 w 109"/>
              <a:gd name="T21" fmla="*/ 9 h 126"/>
              <a:gd name="T22" fmla="*/ 69 w 109"/>
              <a:gd name="T23" fmla="*/ 15 h 126"/>
              <a:gd name="T24" fmla="*/ 25 w 109"/>
              <a:gd name="T25" fmla="*/ 0 h 126"/>
              <a:gd name="T26" fmla="*/ 0 w 109"/>
              <a:gd name="T27" fmla="*/ 8 h 126"/>
              <a:gd name="T28" fmla="*/ 0 w 109"/>
              <a:gd name="T29" fmla="*/ 8 h 1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9"/>
              <a:gd name="T46" fmla="*/ 0 h 126"/>
              <a:gd name="T47" fmla="*/ 109 w 109"/>
              <a:gd name="T48" fmla="*/ 126 h 1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9" h="126">
                <a:moveTo>
                  <a:pt x="0" y="8"/>
                </a:moveTo>
                <a:lnTo>
                  <a:pt x="0" y="8"/>
                </a:lnTo>
                <a:lnTo>
                  <a:pt x="15" y="34"/>
                </a:lnTo>
                <a:lnTo>
                  <a:pt x="0" y="59"/>
                </a:lnTo>
                <a:lnTo>
                  <a:pt x="11" y="66"/>
                </a:lnTo>
                <a:lnTo>
                  <a:pt x="3" y="75"/>
                </a:lnTo>
                <a:lnTo>
                  <a:pt x="74" y="125"/>
                </a:lnTo>
                <a:lnTo>
                  <a:pt x="104" y="85"/>
                </a:lnTo>
                <a:lnTo>
                  <a:pt x="97" y="74"/>
                </a:lnTo>
                <a:lnTo>
                  <a:pt x="97" y="23"/>
                </a:lnTo>
                <a:lnTo>
                  <a:pt x="108" y="9"/>
                </a:lnTo>
                <a:lnTo>
                  <a:pt x="69" y="15"/>
                </a:lnTo>
                <a:lnTo>
                  <a:pt x="25" y="0"/>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1" name="Freeform 826">
            <a:extLst>
              <a:ext uri="{FF2B5EF4-FFF2-40B4-BE49-F238E27FC236}">
                <a16:creationId xmlns:a16="http://schemas.microsoft.com/office/drawing/2014/main" id="{793AFA17-087D-46AE-869B-60FF321E751B}"/>
              </a:ext>
            </a:extLst>
          </p:cNvPr>
          <p:cNvSpPr>
            <a:spLocks/>
          </p:cNvSpPr>
          <p:nvPr/>
        </p:nvSpPr>
        <p:spPr bwMode="auto">
          <a:xfrm>
            <a:off x="4790060" y="4902977"/>
            <a:ext cx="28607" cy="24494"/>
          </a:xfrm>
          <a:custGeom>
            <a:avLst/>
            <a:gdLst>
              <a:gd name="T0" fmla="*/ 0 w 25"/>
              <a:gd name="T1" fmla="*/ 13 h 22"/>
              <a:gd name="T2" fmla="*/ 0 w 25"/>
              <a:gd name="T3" fmla="*/ 13 h 22"/>
              <a:gd name="T4" fmla="*/ 20 w 25"/>
              <a:gd name="T5" fmla="*/ 0 h 22"/>
              <a:gd name="T6" fmla="*/ 24 w 25"/>
              <a:gd name="T7" fmla="*/ 21 h 22"/>
              <a:gd name="T8" fmla="*/ 0 w 25"/>
              <a:gd name="T9" fmla="*/ 13 h 22"/>
              <a:gd name="T10" fmla="*/ 0 w 25"/>
              <a:gd name="T11" fmla="*/ 13 h 22"/>
              <a:gd name="T12" fmla="*/ 0 60000 65536"/>
              <a:gd name="T13" fmla="*/ 0 60000 65536"/>
              <a:gd name="T14" fmla="*/ 0 60000 65536"/>
              <a:gd name="T15" fmla="*/ 0 60000 65536"/>
              <a:gd name="T16" fmla="*/ 0 60000 65536"/>
              <a:gd name="T17" fmla="*/ 0 60000 65536"/>
              <a:gd name="T18" fmla="*/ 0 w 25"/>
              <a:gd name="T19" fmla="*/ 0 h 22"/>
              <a:gd name="T20" fmla="*/ 25 w 2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5" h="22">
                <a:moveTo>
                  <a:pt x="0" y="13"/>
                </a:moveTo>
                <a:lnTo>
                  <a:pt x="0" y="13"/>
                </a:lnTo>
                <a:lnTo>
                  <a:pt x="20" y="0"/>
                </a:lnTo>
                <a:lnTo>
                  <a:pt x="24" y="21"/>
                </a:lnTo>
                <a:lnTo>
                  <a:pt x="0"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2" name="Freeform 827">
            <a:extLst>
              <a:ext uri="{FF2B5EF4-FFF2-40B4-BE49-F238E27FC236}">
                <a16:creationId xmlns:a16="http://schemas.microsoft.com/office/drawing/2014/main" id="{84307B0E-2C20-4123-9CAA-1D24370C93CD}"/>
              </a:ext>
            </a:extLst>
          </p:cNvPr>
          <p:cNvSpPr>
            <a:spLocks/>
          </p:cNvSpPr>
          <p:nvPr/>
        </p:nvSpPr>
        <p:spPr bwMode="auto">
          <a:xfrm>
            <a:off x="4609267" y="4823927"/>
            <a:ext cx="25174" cy="27834"/>
          </a:xfrm>
          <a:custGeom>
            <a:avLst/>
            <a:gdLst>
              <a:gd name="T0" fmla="*/ 0 w 22"/>
              <a:gd name="T1" fmla="*/ 24 h 25"/>
              <a:gd name="T2" fmla="*/ 0 w 22"/>
              <a:gd name="T3" fmla="*/ 24 h 25"/>
              <a:gd name="T4" fmla="*/ 7 w 22"/>
              <a:gd name="T5" fmla="*/ 23 h 25"/>
              <a:gd name="T6" fmla="*/ 21 w 22"/>
              <a:gd name="T7" fmla="*/ 7 h 25"/>
              <a:gd name="T8" fmla="*/ 14 w 22"/>
              <a:gd name="T9" fmla="*/ 0 h 25"/>
              <a:gd name="T10" fmla="*/ 0 w 22"/>
              <a:gd name="T11" fmla="*/ 24 h 25"/>
              <a:gd name="T12" fmla="*/ 0 w 22"/>
              <a:gd name="T13" fmla="*/ 24 h 25"/>
              <a:gd name="T14" fmla="*/ 0 60000 65536"/>
              <a:gd name="T15" fmla="*/ 0 60000 65536"/>
              <a:gd name="T16" fmla="*/ 0 60000 65536"/>
              <a:gd name="T17" fmla="*/ 0 60000 65536"/>
              <a:gd name="T18" fmla="*/ 0 60000 65536"/>
              <a:gd name="T19" fmla="*/ 0 60000 65536"/>
              <a:gd name="T20" fmla="*/ 0 60000 65536"/>
              <a:gd name="T21" fmla="*/ 0 w 22"/>
              <a:gd name="T22" fmla="*/ 0 h 25"/>
              <a:gd name="T23" fmla="*/ 22 w 2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5">
                <a:moveTo>
                  <a:pt x="0" y="24"/>
                </a:moveTo>
                <a:lnTo>
                  <a:pt x="0" y="24"/>
                </a:lnTo>
                <a:lnTo>
                  <a:pt x="7" y="23"/>
                </a:lnTo>
                <a:lnTo>
                  <a:pt x="21" y="7"/>
                </a:lnTo>
                <a:lnTo>
                  <a:pt x="14" y="0"/>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3" name="Freeform 828">
            <a:extLst>
              <a:ext uri="{FF2B5EF4-FFF2-40B4-BE49-F238E27FC236}">
                <a16:creationId xmlns:a16="http://schemas.microsoft.com/office/drawing/2014/main" id="{77A30CF6-910C-42F4-A2AF-820286EDA0EC}"/>
              </a:ext>
            </a:extLst>
          </p:cNvPr>
          <p:cNvSpPr>
            <a:spLocks/>
          </p:cNvSpPr>
          <p:nvPr/>
        </p:nvSpPr>
        <p:spPr bwMode="auto">
          <a:xfrm>
            <a:off x="3884953" y="5241441"/>
            <a:ext cx="62934" cy="61235"/>
          </a:xfrm>
          <a:custGeom>
            <a:avLst/>
            <a:gdLst>
              <a:gd name="T0" fmla="*/ 0 w 55"/>
              <a:gd name="T1" fmla="*/ 20 h 55"/>
              <a:gd name="T2" fmla="*/ 0 w 55"/>
              <a:gd name="T3" fmla="*/ 20 h 55"/>
              <a:gd name="T4" fmla="*/ 17 w 55"/>
              <a:gd name="T5" fmla="*/ 0 h 55"/>
              <a:gd name="T6" fmla="*/ 25 w 55"/>
              <a:gd name="T7" fmla="*/ 0 h 55"/>
              <a:gd name="T8" fmla="*/ 26 w 55"/>
              <a:gd name="T9" fmla="*/ 14 h 55"/>
              <a:gd name="T10" fmla="*/ 40 w 55"/>
              <a:gd name="T11" fmla="*/ 12 h 55"/>
              <a:gd name="T12" fmla="*/ 39 w 55"/>
              <a:gd name="T13" fmla="*/ 25 h 55"/>
              <a:gd name="T14" fmla="*/ 54 w 55"/>
              <a:gd name="T15" fmla="*/ 34 h 55"/>
              <a:gd name="T16" fmla="*/ 52 w 55"/>
              <a:gd name="T17" fmla="*/ 54 h 55"/>
              <a:gd name="T18" fmla="*/ 0 w 55"/>
              <a:gd name="T19" fmla="*/ 20 h 55"/>
              <a:gd name="T20" fmla="*/ 0 w 55"/>
              <a:gd name="T21" fmla="*/ 2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55"/>
              <a:gd name="T35" fmla="*/ 55 w 55"/>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55">
                <a:moveTo>
                  <a:pt x="0" y="20"/>
                </a:moveTo>
                <a:lnTo>
                  <a:pt x="0" y="20"/>
                </a:lnTo>
                <a:lnTo>
                  <a:pt x="17" y="0"/>
                </a:lnTo>
                <a:lnTo>
                  <a:pt x="25" y="0"/>
                </a:lnTo>
                <a:lnTo>
                  <a:pt x="26" y="14"/>
                </a:lnTo>
                <a:lnTo>
                  <a:pt x="40" y="12"/>
                </a:lnTo>
                <a:lnTo>
                  <a:pt x="39" y="25"/>
                </a:lnTo>
                <a:lnTo>
                  <a:pt x="54" y="34"/>
                </a:lnTo>
                <a:lnTo>
                  <a:pt x="52" y="54"/>
                </a:lnTo>
                <a:lnTo>
                  <a:pt x="0" y="2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4" name="Freeform 829">
            <a:extLst>
              <a:ext uri="{FF2B5EF4-FFF2-40B4-BE49-F238E27FC236}">
                <a16:creationId xmlns:a16="http://schemas.microsoft.com/office/drawing/2014/main" id="{3F674640-2E1D-4DFF-B01D-3A3488930238}"/>
              </a:ext>
            </a:extLst>
          </p:cNvPr>
          <p:cNvSpPr>
            <a:spLocks/>
          </p:cNvSpPr>
          <p:nvPr/>
        </p:nvSpPr>
        <p:spPr bwMode="auto">
          <a:xfrm>
            <a:off x="4208778" y="4850649"/>
            <a:ext cx="244871" cy="221560"/>
          </a:xfrm>
          <a:custGeom>
            <a:avLst/>
            <a:gdLst>
              <a:gd name="T0" fmla="*/ 0 w 214"/>
              <a:gd name="T1" fmla="*/ 103 h 199"/>
              <a:gd name="T2" fmla="*/ 0 w 214"/>
              <a:gd name="T3" fmla="*/ 103 h 199"/>
              <a:gd name="T4" fmla="*/ 0 w 214"/>
              <a:gd name="T5" fmla="*/ 42 h 199"/>
              <a:gd name="T6" fmla="*/ 27 w 214"/>
              <a:gd name="T7" fmla="*/ 0 h 199"/>
              <a:gd name="T8" fmla="*/ 78 w 214"/>
              <a:gd name="T9" fmla="*/ 12 h 199"/>
              <a:gd name="T10" fmla="*/ 87 w 214"/>
              <a:gd name="T11" fmla="*/ 27 h 199"/>
              <a:gd name="T12" fmla="*/ 129 w 214"/>
              <a:gd name="T13" fmla="*/ 42 h 199"/>
              <a:gd name="T14" fmla="*/ 143 w 214"/>
              <a:gd name="T15" fmla="*/ 37 h 199"/>
              <a:gd name="T16" fmla="*/ 144 w 214"/>
              <a:gd name="T17" fmla="*/ 15 h 199"/>
              <a:gd name="T18" fmla="*/ 157 w 214"/>
              <a:gd name="T19" fmla="*/ 5 h 199"/>
              <a:gd name="T20" fmla="*/ 213 w 214"/>
              <a:gd name="T21" fmla="*/ 22 h 199"/>
              <a:gd name="T22" fmla="*/ 207 w 214"/>
              <a:gd name="T23" fmla="*/ 46 h 199"/>
              <a:gd name="T24" fmla="*/ 213 w 214"/>
              <a:gd name="T25" fmla="*/ 162 h 199"/>
              <a:gd name="T26" fmla="*/ 213 w 214"/>
              <a:gd name="T27" fmla="*/ 190 h 199"/>
              <a:gd name="T28" fmla="*/ 201 w 214"/>
              <a:gd name="T29" fmla="*/ 190 h 199"/>
              <a:gd name="T30" fmla="*/ 201 w 214"/>
              <a:gd name="T31" fmla="*/ 198 h 199"/>
              <a:gd name="T32" fmla="*/ 91 w 214"/>
              <a:gd name="T33" fmla="*/ 142 h 199"/>
              <a:gd name="T34" fmla="*/ 77 w 214"/>
              <a:gd name="T35" fmla="*/ 147 h 199"/>
              <a:gd name="T36" fmla="*/ 32 w 214"/>
              <a:gd name="T37" fmla="*/ 141 h 199"/>
              <a:gd name="T38" fmla="*/ 0 w 214"/>
              <a:gd name="T39" fmla="*/ 103 h 199"/>
              <a:gd name="T40" fmla="*/ 0 w 214"/>
              <a:gd name="T41" fmla="*/ 103 h 19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4"/>
              <a:gd name="T64" fmla="*/ 0 h 199"/>
              <a:gd name="T65" fmla="*/ 214 w 214"/>
              <a:gd name="T66" fmla="*/ 199 h 19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4" h="199">
                <a:moveTo>
                  <a:pt x="0" y="103"/>
                </a:moveTo>
                <a:lnTo>
                  <a:pt x="0" y="103"/>
                </a:lnTo>
                <a:lnTo>
                  <a:pt x="0" y="42"/>
                </a:lnTo>
                <a:lnTo>
                  <a:pt x="27" y="0"/>
                </a:lnTo>
                <a:lnTo>
                  <a:pt x="78" y="12"/>
                </a:lnTo>
                <a:lnTo>
                  <a:pt x="87" y="27"/>
                </a:lnTo>
                <a:lnTo>
                  <a:pt x="129" y="42"/>
                </a:lnTo>
                <a:lnTo>
                  <a:pt x="143" y="37"/>
                </a:lnTo>
                <a:lnTo>
                  <a:pt x="144" y="15"/>
                </a:lnTo>
                <a:lnTo>
                  <a:pt x="157" y="5"/>
                </a:lnTo>
                <a:lnTo>
                  <a:pt x="213" y="22"/>
                </a:lnTo>
                <a:lnTo>
                  <a:pt x="207" y="46"/>
                </a:lnTo>
                <a:lnTo>
                  <a:pt x="213" y="162"/>
                </a:lnTo>
                <a:lnTo>
                  <a:pt x="213" y="190"/>
                </a:lnTo>
                <a:lnTo>
                  <a:pt x="201" y="190"/>
                </a:lnTo>
                <a:lnTo>
                  <a:pt x="201" y="198"/>
                </a:lnTo>
                <a:lnTo>
                  <a:pt x="91" y="142"/>
                </a:lnTo>
                <a:lnTo>
                  <a:pt x="77" y="147"/>
                </a:lnTo>
                <a:lnTo>
                  <a:pt x="32" y="141"/>
                </a:lnTo>
                <a:lnTo>
                  <a:pt x="0" y="10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5" name="Freeform 830">
            <a:extLst>
              <a:ext uri="{FF2B5EF4-FFF2-40B4-BE49-F238E27FC236}">
                <a16:creationId xmlns:a16="http://schemas.microsoft.com/office/drawing/2014/main" id="{85D81B0A-8416-497A-99DC-67F35F0AD3D9}"/>
              </a:ext>
            </a:extLst>
          </p:cNvPr>
          <p:cNvSpPr>
            <a:spLocks/>
          </p:cNvSpPr>
          <p:nvPr/>
        </p:nvSpPr>
        <p:spPr bwMode="auto">
          <a:xfrm>
            <a:off x="4735135" y="5553184"/>
            <a:ext cx="110993" cy="211540"/>
          </a:xfrm>
          <a:custGeom>
            <a:avLst/>
            <a:gdLst>
              <a:gd name="T0" fmla="*/ 0 w 97"/>
              <a:gd name="T1" fmla="*/ 135 h 190"/>
              <a:gd name="T2" fmla="*/ 0 w 97"/>
              <a:gd name="T3" fmla="*/ 135 h 190"/>
              <a:gd name="T4" fmla="*/ 9 w 97"/>
              <a:gd name="T5" fmla="*/ 173 h 190"/>
              <a:gd name="T6" fmla="*/ 27 w 97"/>
              <a:gd name="T7" fmla="*/ 189 h 190"/>
              <a:gd name="T8" fmla="*/ 57 w 97"/>
              <a:gd name="T9" fmla="*/ 173 h 190"/>
              <a:gd name="T10" fmla="*/ 90 w 97"/>
              <a:gd name="T11" fmla="*/ 43 h 190"/>
              <a:gd name="T12" fmla="*/ 96 w 97"/>
              <a:gd name="T13" fmla="*/ 48 h 190"/>
              <a:gd name="T14" fmla="*/ 82 w 97"/>
              <a:gd name="T15" fmla="*/ 0 h 190"/>
              <a:gd name="T16" fmla="*/ 64 w 97"/>
              <a:gd name="T17" fmla="*/ 20 h 190"/>
              <a:gd name="T18" fmla="*/ 65 w 97"/>
              <a:gd name="T19" fmla="*/ 34 h 190"/>
              <a:gd name="T20" fmla="*/ 44 w 97"/>
              <a:gd name="T21" fmla="*/ 49 h 190"/>
              <a:gd name="T22" fmla="*/ 17 w 97"/>
              <a:gd name="T23" fmla="*/ 56 h 190"/>
              <a:gd name="T24" fmla="*/ 10 w 97"/>
              <a:gd name="T25" fmla="*/ 73 h 190"/>
              <a:gd name="T26" fmla="*/ 17 w 97"/>
              <a:gd name="T27" fmla="*/ 106 h 190"/>
              <a:gd name="T28" fmla="*/ 0 w 97"/>
              <a:gd name="T29" fmla="*/ 135 h 190"/>
              <a:gd name="T30" fmla="*/ 0 w 97"/>
              <a:gd name="T31" fmla="*/ 135 h 19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7"/>
              <a:gd name="T49" fmla="*/ 0 h 190"/>
              <a:gd name="T50" fmla="*/ 97 w 97"/>
              <a:gd name="T51" fmla="*/ 190 h 19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7" h="190">
                <a:moveTo>
                  <a:pt x="0" y="135"/>
                </a:moveTo>
                <a:lnTo>
                  <a:pt x="0" y="135"/>
                </a:lnTo>
                <a:lnTo>
                  <a:pt x="9" y="173"/>
                </a:lnTo>
                <a:lnTo>
                  <a:pt x="27" y="189"/>
                </a:lnTo>
                <a:lnTo>
                  <a:pt x="57" y="173"/>
                </a:lnTo>
                <a:lnTo>
                  <a:pt x="90" y="43"/>
                </a:lnTo>
                <a:lnTo>
                  <a:pt x="96" y="48"/>
                </a:lnTo>
                <a:lnTo>
                  <a:pt x="82" y="0"/>
                </a:lnTo>
                <a:lnTo>
                  <a:pt x="64" y="20"/>
                </a:lnTo>
                <a:lnTo>
                  <a:pt x="65" y="34"/>
                </a:lnTo>
                <a:lnTo>
                  <a:pt x="44" y="49"/>
                </a:lnTo>
                <a:lnTo>
                  <a:pt x="17" y="56"/>
                </a:lnTo>
                <a:lnTo>
                  <a:pt x="10" y="73"/>
                </a:lnTo>
                <a:lnTo>
                  <a:pt x="17" y="106"/>
                </a:lnTo>
                <a:lnTo>
                  <a:pt x="0" y="13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6" name="Freeform 831">
            <a:extLst>
              <a:ext uri="{FF2B5EF4-FFF2-40B4-BE49-F238E27FC236}">
                <a16:creationId xmlns:a16="http://schemas.microsoft.com/office/drawing/2014/main" id="{C18ABAB0-2722-4783-84A2-5634D23EAA75}"/>
              </a:ext>
            </a:extLst>
          </p:cNvPr>
          <p:cNvSpPr>
            <a:spLocks/>
          </p:cNvSpPr>
          <p:nvPr/>
        </p:nvSpPr>
        <p:spPr bwMode="auto">
          <a:xfrm>
            <a:off x="4573795" y="5510876"/>
            <a:ext cx="51492" cy="119130"/>
          </a:xfrm>
          <a:custGeom>
            <a:avLst/>
            <a:gdLst>
              <a:gd name="T0" fmla="*/ 0 w 45"/>
              <a:gd name="T1" fmla="*/ 58 h 107"/>
              <a:gd name="T2" fmla="*/ 0 w 45"/>
              <a:gd name="T3" fmla="*/ 58 h 107"/>
              <a:gd name="T4" fmla="*/ 6 w 45"/>
              <a:gd name="T5" fmla="*/ 64 h 107"/>
              <a:gd name="T6" fmla="*/ 23 w 45"/>
              <a:gd name="T7" fmla="*/ 70 h 107"/>
              <a:gd name="T8" fmla="*/ 21 w 45"/>
              <a:gd name="T9" fmla="*/ 90 h 107"/>
              <a:gd name="T10" fmla="*/ 36 w 45"/>
              <a:gd name="T11" fmla="*/ 106 h 107"/>
              <a:gd name="T12" fmla="*/ 44 w 45"/>
              <a:gd name="T13" fmla="*/ 76 h 107"/>
              <a:gd name="T14" fmla="*/ 30 w 45"/>
              <a:gd name="T15" fmla="*/ 56 h 107"/>
              <a:gd name="T16" fmla="*/ 34 w 45"/>
              <a:gd name="T17" fmla="*/ 67 h 107"/>
              <a:gd name="T18" fmla="*/ 26 w 45"/>
              <a:gd name="T19" fmla="*/ 67 h 107"/>
              <a:gd name="T20" fmla="*/ 17 w 45"/>
              <a:gd name="T21" fmla="*/ 39 h 107"/>
              <a:gd name="T22" fmla="*/ 16 w 45"/>
              <a:gd name="T23" fmla="*/ 3 h 107"/>
              <a:gd name="T24" fmla="*/ 3 w 45"/>
              <a:gd name="T25" fmla="*/ 0 h 107"/>
              <a:gd name="T26" fmla="*/ 14 w 45"/>
              <a:gd name="T27" fmla="*/ 17 h 107"/>
              <a:gd name="T28" fmla="*/ 0 w 45"/>
              <a:gd name="T29" fmla="*/ 58 h 107"/>
              <a:gd name="T30" fmla="*/ 0 w 45"/>
              <a:gd name="T31" fmla="*/ 58 h 10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107"/>
              <a:gd name="T50" fmla="*/ 45 w 45"/>
              <a:gd name="T51" fmla="*/ 107 h 10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107">
                <a:moveTo>
                  <a:pt x="0" y="58"/>
                </a:moveTo>
                <a:lnTo>
                  <a:pt x="0" y="58"/>
                </a:lnTo>
                <a:lnTo>
                  <a:pt x="6" y="64"/>
                </a:lnTo>
                <a:lnTo>
                  <a:pt x="23" y="70"/>
                </a:lnTo>
                <a:lnTo>
                  <a:pt x="21" y="90"/>
                </a:lnTo>
                <a:lnTo>
                  <a:pt x="36" y="106"/>
                </a:lnTo>
                <a:lnTo>
                  <a:pt x="44" y="76"/>
                </a:lnTo>
                <a:lnTo>
                  <a:pt x="30" y="56"/>
                </a:lnTo>
                <a:lnTo>
                  <a:pt x="34" y="67"/>
                </a:lnTo>
                <a:lnTo>
                  <a:pt x="26" y="67"/>
                </a:lnTo>
                <a:lnTo>
                  <a:pt x="17" y="39"/>
                </a:lnTo>
                <a:lnTo>
                  <a:pt x="16" y="3"/>
                </a:lnTo>
                <a:lnTo>
                  <a:pt x="3" y="0"/>
                </a:lnTo>
                <a:lnTo>
                  <a:pt x="14" y="17"/>
                </a:lnTo>
                <a:lnTo>
                  <a:pt x="0" y="5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7" name="Freeform 832">
            <a:extLst>
              <a:ext uri="{FF2B5EF4-FFF2-40B4-BE49-F238E27FC236}">
                <a16:creationId xmlns:a16="http://schemas.microsoft.com/office/drawing/2014/main" id="{EFCB03DB-03D6-4A91-8CBD-792B0C10DE69}"/>
              </a:ext>
            </a:extLst>
          </p:cNvPr>
          <p:cNvSpPr>
            <a:spLocks/>
          </p:cNvSpPr>
          <p:nvPr/>
        </p:nvSpPr>
        <p:spPr bwMode="auto">
          <a:xfrm>
            <a:off x="3874655" y="4984252"/>
            <a:ext cx="252881" cy="231581"/>
          </a:xfrm>
          <a:custGeom>
            <a:avLst/>
            <a:gdLst>
              <a:gd name="T0" fmla="*/ 0 w 221"/>
              <a:gd name="T1" fmla="*/ 143 h 208"/>
              <a:gd name="T2" fmla="*/ 0 w 221"/>
              <a:gd name="T3" fmla="*/ 143 h 208"/>
              <a:gd name="T4" fmla="*/ 9 w 221"/>
              <a:gd name="T5" fmla="*/ 129 h 208"/>
              <a:gd name="T6" fmla="*/ 20 w 221"/>
              <a:gd name="T7" fmla="*/ 138 h 208"/>
              <a:gd name="T8" fmla="*/ 89 w 221"/>
              <a:gd name="T9" fmla="*/ 134 h 208"/>
              <a:gd name="T10" fmla="*/ 75 w 221"/>
              <a:gd name="T11" fmla="*/ 0 h 208"/>
              <a:gd name="T12" fmla="*/ 99 w 221"/>
              <a:gd name="T13" fmla="*/ 0 h 208"/>
              <a:gd name="T14" fmla="*/ 208 w 221"/>
              <a:gd name="T15" fmla="*/ 72 h 208"/>
              <a:gd name="T16" fmla="*/ 209 w 221"/>
              <a:gd name="T17" fmla="*/ 85 h 208"/>
              <a:gd name="T18" fmla="*/ 220 w 221"/>
              <a:gd name="T19" fmla="*/ 83 h 208"/>
              <a:gd name="T20" fmla="*/ 220 w 221"/>
              <a:gd name="T21" fmla="*/ 126 h 208"/>
              <a:gd name="T22" fmla="*/ 211 w 221"/>
              <a:gd name="T23" fmla="*/ 135 h 208"/>
              <a:gd name="T24" fmla="*/ 167 w 221"/>
              <a:gd name="T25" fmla="*/ 141 h 208"/>
              <a:gd name="T26" fmla="*/ 111 w 221"/>
              <a:gd name="T27" fmla="*/ 165 h 208"/>
              <a:gd name="T28" fmla="*/ 94 w 221"/>
              <a:gd name="T29" fmla="*/ 204 h 208"/>
              <a:gd name="T30" fmla="*/ 80 w 221"/>
              <a:gd name="T31" fmla="*/ 199 h 208"/>
              <a:gd name="T32" fmla="*/ 56 w 221"/>
              <a:gd name="T33" fmla="*/ 207 h 208"/>
              <a:gd name="T34" fmla="*/ 42 w 221"/>
              <a:gd name="T35" fmla="*/ 174 h 208"/>
              <a:gd name="T36" fmla="*/ 19 w 221"/>
              <a:gd name="T37" fmla="*/ 182 h 208"/>
              <a:gd name="T38" fmla="*/ 10 w 221"/>
              <a:gd name="T39" fmla="*/ 175 h 208"/>
              <a:gd name="T40" fmla="*/ 0 w 221"/>
              <a:gd name="T41" fmla="*/ 143 h 208"/>
              <a:gd name="T42" fmla="*/ 0 w 221"/>
              <a:gd name="T43" fmla="*/ 143 h 2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1"/>
              <a:gd name="T67" fmla="*/ 0 h 208"/>
              <a:gd name="T68" fmla="*/ 221 w 221"/>
              <a:gd name="T69" fmla="*/ 208 h 2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1" h="208">
                <a:moveTo>
                  <a:pt x="0" y="143"/>
                </a:moveTo>
                <a:lnTo>
                  <a:pt x="0" y="143"/>
                </a:lnTo>
                <a:lnTo>
                  <a:pt x="9" y="129"/>
                </a:lnTo>
                <a:lnTo>
                  <a:pt x="20" y="138"/>
                </a:lnTo>
                <a:lnTo>
                  <a:pt x="89" y="134"/>
                </a:lnTo>
                <a:lnTo>
                  <a:pt x="75" y="0"/>
                </a:lnTo>
                <a:lnTo>
                  <a:pt x="99" y="0"/>
                </a:lnTo>
                <a:lnTo>
                  <a:pt x="208" y="72"/>
                </a:lnTo>
                <a:lnTo>
                  <a:pt x="209" y="85"/>
                </a:lnTo>
                <a:lnTo>
                  <a:pt x="220" y="83"/>
                </a:lnTo>
                <a:lnTo>
                  <a:pt x="220" y="126"/>
                </a:lnTo>
                <a:lnTo>
                  <a:pt x="211" y="135"/>
                </a:lnTo>
                <a:lnTo>
                  <a:pt x="167" y="141"/>
                </a:lnTo>
                <a:lnTo>
                  <a:pt x="111" y="165"/>
                </a:lnTo>
                <a:lnTo>
                  <a:pt x="94" y="204"/>
                </a:lnTo>
                <a:lnTo>
                  <a:pt x="80" y="199"/>
                </a:lnTo>
                <a:lnTo>
                  <a:pt x="56" y="207"/>
                </a:lnTo>
                <a:lnTo>
                  <a:pt x="42" y="174"/>
                </a:lnTo>
                <a:lnTo>
                  <a:pt x="19" y="182"/>
                </a:lnTo>
                <a:lnTo>
                  <a:pt x="10" y="175"/>
                </a:lnTo>
                <a:lnTo>
                  <a:pt x="0" y="14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8" name="Freeform 833">
            <a:extLst>
              <a:ext uri="{FF2B5EF4-FFF2-40B4-BE49-F238E27FC236}">
                <a16:creationId xmlns:a16="http://schemas.microsoft.com/office/drawing/2014/main" id="{C59BD9FB-1B30-423F-B1D7-751A58E65F2D}"/>
              </a:ext>
            </a:extLst>
          </p:cNvPr>
          <p:cNvSpPr>
            <a:spLocks/>
          </p:cNvSpPr>
          <p:nvPr/>
        </p:nvSpPr>
        <p:spPr bwMode="auto">
          <a:xfrm>
            <a:off x="3797990" y="4947511"/>
            <a:ext cx="191090" cy="197066"/>
          </a:xfrm>
          <a:custGeom>
            <a:avLst/>
            <a:gdLst>
              <a:gd name="T0" fmla="*/ 0 w 167"/>
              <a:gd name="T1" fmla="*/ 89 h 177"/>
              <a:gd name="T2" fmla="*/ 0 w 167"/>
              <a:gd name="T3" fmla="*/ 89 h 177"/>
              <a:gd name="T4" fmla="*/ 10 w 167"/>
              <a:gd name="T5" fmla="*/ 99 h 177"/>
              <a:gd name="T6" fmla="*/ 13 w 167"/>
              <a:gd name="T7" fmla="*/ 125 h 177"/>
              <a:gd name="T8" fmla="*/ 5 w 167"/>
              <a:gd name="T9" fmla="*/ 158 h 177"/>
              <a:gd name="T10" fmla="*/ 36 w 167"/>
              <a:gd name="T11" fmla="*/ 151 h 177"/>
              <a:gd name="T12" fmla="*/ 67 w 167"/>
              <a:gd name="T13" fmla="*/ 176 h 177"/>
              <a:gd name="T14" fmla="*/ 76 w 167"/>
              <a:gd name="T15" fmla="*/ 162 h 177"/>
              <a:gd name="T16" fmla="*/ 87 w 167"/>
              <a:gd name="T17" fmla="*/ 171 h 177"/>
              <a:gd name="T18" fmla="*/ 156 w 167"/>
              <a:gd name="T19" fmla="*/ 167 h 177"/>
              <a:gd name="T20" fmla="*/ 142 w 167"/>
              <a:gd name="T21" fmla="*/ 33 h 177"/>
              <a:gd name="T22" fmla="*/ 166 w 167"/>
              <a:gd name="T23" fmla="*/ 33 h 177"/>
              <a:gd name="T24" fmla="*/ 115 w 167"/>
              <a:gd name="T25" fmla="*/ 0 h 177"/>
              <a:gd name="T26" fmla="*/ 114 w 167"/>
              <a:gd name="T27" fmla="*/ 18 h 177"/>
              <a:gd name="T28" fmla="*/ 70 w 167"/>
              <a:gd name="T29" fmla="*/ 17 h 177"/>
              <a:gd name="T30" fmla="*/ 70 w 167"/>
              <a:gd name="T31" fmla="*/ 54 h 177"/>
              <a:gd name="T32" fmla="*/ 54 w 167"/>
              <a:gd name="T33" fmla="*/ 60 h 177"/>
              <a:gd name="T34" fmla="*/ 55 w 167"/>
              <a:gd name="T35" fmla="*/ 83 h 177"/>
              <a:gd name="T36" fmla="*/ 0 w 167"/>
              <a:gd name="T37" fmla="*/ 89 h 177"/>
              <a:gd name="T38" fmla="*/ 0 w 167"/>
              <a:gd name="T39" fmla="*/ 89 h 1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7"/>
              <a:gd name="T61" fmla="*/ 0 h 177"/>
              <a:gd name="T62" fmla="*/ 167 w 167"/>
              <a:gd name="T63" fmla="*/ 177 h 1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7" h="177">
                <a:moveTo>
                  <a:pt x="0" y="89"/>
                </a:moveTo>
                <a:lnTo>
                  <a:pt x="0" y="89"/>
                </a:lnTo>
                <a:lnTo>
                  <a:pt x="10" y="99"/>
                </a:lnTo>
                <a:lnTo>
                  <a:pt x="13" y="125"/>
                </a:lnTo>
                <a:lnTo>
                  <a:pt x="5" y="158"/>
                </a:lnTo>
                <a:lnTo>
                  <a:pt x="36" y="151"/>
                </a:lnTo>
                <a:lnTo>
                  <a:pt x="67" y="176"/>
                </a:lnTo>
                <a:lnTo>
                  <a:pt x="76" y="162"/>
                </a:lnTo>
                <a:lnTo>
                  <a:pt x="87" y="171"/>
                </a:lnTo>
                <a:lnTo>
                  <a:pt x="156" y="167"/>
                </a:lnTo>
                <a:lnTo>
                  <a:pt x="142" y="33"/>
                </a:lnTo>
                <a:lnTo>
                  <a:pt x="166" y="33"/>
                </a:lnTo>
                <a:lnTo>
                  <a:pt x="115" y="0"/>
                </a:lnTo>
                <a:lnTo>
                  <a:pt x="114" y="18"/>
                </a:lnTo>
                <a:lnTo>
                  <a:pt x="70" y="17"/>
                </a:lnTo>
                <a:lnTo>
                  <a:pt x="70" y="54"/>
                </a:lnTo>
                <a:lnTo>
                  <a:pt x="54" y="60"/>
                </a:lnTo>
                <a:lnTo>
                  <a:pt x="55" y="83"/>
                </a:lnTo>
                <a:lnTo>
                  <a:pt x="0" y="8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9" name="Freeform 834">
            <a:extLst>
              <a:ext uri="{FF2B5EF4-FFF2-40B4-BE49-F238E27FC236}">
                <a16:creationId xmlns:a16="http://schemas.microsoft.com/office/drawing/2014/main" id="{EFA08614-7E06-47B4-99AF-2865D4F47977}"/>
              </a:ext>
            </a:extLst>
          </p:cNvPr>
          <p:cNvSpPr>
            <a:spLocks/>
          </p:cNvSpPr>
          <p:nvPr/>
        </p:nvSpPr>
        <p:spPr bwMode="auto">
          <a:xfrm>
            <a:off x="3859780" y="4807227"/>
            <a:ext cx="184226" cy="135831"/>
          </a:xfrm>
          <a:custGeom>
            <a:avLst/>
            <a:gdLst>
              <a:gd name="T0" fmla="*/ 0 w 161"/>
              <a:gd name="T1" fmla="*/ 119 h 122"/>
              <a:gd name="T2" fmla="*/ 0 w 161"/>
              <a:gd name="T3" fmla="*/ 119 h 122"/>
              <a:gd name="T4" fmla="*/ 40 w 161"/>
              <a:gd name="T5" fmla="*/ 96 h 122"/>
              <a:gd name="T6" fmla="*/ 54 w 161"/>
              <a:gd name="T7" fmla="*/ 48 h 122"/>
              <a:gd name="T8" fmla="*/ 88 w 161"/>
              <a:gd name="T9" fmla="*/ 24 h 122"/>
              <a:gd name="T10" fmla="*/ 99 w 161"/>
              <a:gd name="T11" fmla="*/ 0 h 122"/>
              <a:gd name="T12" fmla="*/ 148 w 161"/>
              <a:gd name="T13" fmla="*/ 8 h 122"/>
              <a:gd name="T14" fmla="*/ 160 w 161"/>
              <a:gd name="T15" fmla="*/ 53 h 122"/>
              <a:gd name="T16" fmla="*/ 139 w 161"/>
              <a:gd name="T17" fmla="*/ 54 h 122"/>
              <a:gd name="T18" fmla="*/ 127 w 161"/>
              <a:gd name="T19" fmla="*/ 59 h 122"/>
              <a:gd name="T20" fmla="*/ 129 w 161"/>
              <a:gd name="T21" fmla="*/ 71 h 122"/>
              <a:gd name="T22" fmla="*/ 67 w 161"/>
              <a:gd name="T23" fmla="*/ 98 h 122"/>
              <a:gd name="T24" fmla="*/ 60 w 161"/>
              <a:gd name="T25" fmla="*/ 121 h 122"/>
              <a:gd name="T26" fmla="*/ 0 w 161"/>
              <a:gd name="T27" fmla="*/ 119 h 122"/>
              <a:gd name="T28" fmla="*/ 0 w 161"/>
              <a:gd name="T29" fmla="*/ 119 h 1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1"/>
              <a:gd name="T46" fmla="*/ 0 h 122"/>
              <a:gd name="T47" fmla="*/ 161 w 161"/>
              <a:gd name="T48" fmla="*/ 122 h 1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1" h="122">
                <a:moveTo>
                  <a:pt x="0" y="119"/>
                </a:moveTo>
                <a:lnTo>
                  <a:pt x="0" y="119"/>
                </a:lnTo>
                <a:lnTo>
                  <a:pt x="40" y="96"/>
                </a:lnTo>
                <a:lnTo>
                  <a:pt x="54" y="48"/>
                </a:lnTo>
                <a:lnTo>
                  <a:pt x="88" y="24"/>
                </a:lnTo>
                <a:lnTo>
                  <a:pt x="99" y="0"/>
                </a:lnTo>
                <a:lnTo>
                  <a:pt x="148" y="8"/>
                </a:lnTo>
                <a:lnTo>
                  <a:pt x="160" y="53"/>
                </a:lnTo>
                <a:lnTo>
                  <a:pt x="139" y="54"/>
                </a:lnTo>
                <a:lnTo>
                  <a:pt x="127" y="59"/>
                </a:lnTo>
                <a:lnTo>
                  <a:pt x="129" y="71"/>
                </a:lnTo>
                <a:lnTo>
                  <a:pt x="67" y="98"/>
                </a:lnTo>
                <a:lnTo>
                  <a:pt x="60" y="121"/>
                </a:lnTo>
                <a:lnTo>
                  <a:pt x="0" y="1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0" name="Freeform 835">
            <a:extLst>
              <a:ext uri="{FF2B5EF4-FFF2-40B4-BE49-F238E27FC236}">
                <a16:creationId xmlns:a16="http://schemas.microsoft.com/office/drawing/2014/main" id="{444A65E3-4F6F-4AFB-87EC-33F20023A968}"/>
              </a:ext>
            </a:extLst>
          </p:cNvPr>
          <p:cNvSpPr>
            <a:spLocks/>
          </p:cNvSpPr>
          <p:nvPr/>
        </p:nvSpPr>
        <p:spPr bwMode="auto">
          <a:xfrm>
            <a:off x="4530313" y="5527576"/>
            <a:ext cx="165917" cy="253848"/>
          </a:xfrm>
          <a:custGeom>
            <a:avLst/>
            <a:gdLst>
              <a:gd name="T0" fmla="*/ 0 w 145"/>
              <a:gd name="T1" fmla="*/ 63 h 228"/>
              <a:gd name="T2" fmla="*/ 0 w 145"/>
              <a:gd name="T3" fmla="*/ 63 h 228"/>
              <a:gd name="T4" fmla="*/ 4 w 145"/>
              <a:gd name="T5" fmla="*/ 70 h 228"/>
              <a:gd name="T6" fmla="*/ 38 w 145"/>
              <a:gd name="T7" fmla="*/ 81 h 228"/>
              <a:gd name="T8" fmla="*/ 41 w 145"/>
              <a:gd name="T9" fmla="*/ 95 h 228"/>
              <a:gd name="T10" fmla="*/ 39 w 145"/>
              <a:gd name="T11" fmla="*/ 131 h 228"/>
              <a:gd name="T12" fmla="*/ 21 w 145"/>
              <a:gd name="T13" fmla="*/ 168 h 228"/>
              <a:gd name="T14" fmla="*/ 26 w 145"/>
              <a:gd name="T15" fmla="*/ 213 h 228"/>
              <a:gd name="T16" fmla="*/ 28 w 145"/>
              <a:gd name="T17" fmla="*/ 227 h 228"/>
              <a:gd name="T18" fmla="*/ 39 w 145"/>
              <a:gd name="T19" fmla="*/ 227 h 228"/>
              <a:gd name="T20" fmla="*/ 39 w 145"/>
              <a:gd name="T21" fmla="*/ 212 h 228"/>
              <a:gd name="T22" fmla="*/ 74 w 145"/>
              <a:gd name="T23" fmla="*/ 191 h 228"/>
              <a:gd name="T24" fmla="*/ 64 w 145"/>
              <a:gd name="T25" fmla="*/ 131 h 228"/>
              <a:gd name="T26" fmla="*/ 143 w 145"/>
              <a:gd name="T27" fmla="*/ 70 h 228"/>
              <a:gd name="T28" fmla="*/ 144 w 145"/>
              <a:gd name="T29" fmla="*/ 0 h 228"/>
              <a:gd name="T30" fmla="*/ 124 w 145"/>
              <a:gd name="T31" fmla="*/ 12 h 228"/>
              <a:gd name="T32" fmla="*/ 69 w 145"/>
              <a:gd name="T33" fmla="*/ 15 h 228"/>
              <a:gd name="T34" fmla="*/ 68 w 145"/>
              <a:gd name="T35" fmla="*/ 41 h 228"/>
              <a:gd name="T36" fmla="*/ 82 w 145"/>
              <a:gd name="T37" fmla="*/ 61 h 228"/>
              <a:gd name="T38" fmla="*/ 74 w 145"/>
              <a:gd name="T39" fmla="*/ 91 h 228"/>
              <a:gd name="T40" fmla="*/ 59 w 145"/>
              <a:gd name="T41" fmla="*/ 75 h 228"/>
              <a:gd name="T42" fmla="*/ 61 w 145"/>
              <a:gd name="T43" fmla="*/ 55 h 228"/>
              <a:gd name="T44" fmla="*/ 44 w 145"/>
              <a:gd name="T45" fmla="*/ 49 h 228"/>
              <a:gd name="T46" fmla="*/ 0 w 145"/>
              <a:gd name="T47" fmla="*/ 63 h 228"/>
              <a:gd name="T48" fmla="*/ 0 w 145"/>
              <a:gd name="T49" fmla="*/ 63 h 2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228"/>
              <a:gd name="T77" fmla="*/ 145 w 145"/>
              <a:gd name="T78" fmla="*/ 228 h 2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228">
                <a:moveTo>
                  <a:pt x="0" y="63"/>
                </a:moveTo>
                <a:lnTo>
                  <a:pt x="0" y="63"/>
                </a:lnTo>
                <a:lnTo>
                  <a:pt x="4" y="70"/>
                </a:lnTo>
                <a:lnTo>
                  <a:pt x="38" y="81"/>
                </a:lnTo>
                <a:lnTo>
                  <a:pt x="41" y="95"/>
                </a:lnTo>
                <a:lnTo>
                  <a:pt x="39" y="131"/>
                </a:lnTo>
                <a:lnTo>
                  <a:pt x="21" y="168"/>
                </a:lnTo>
                <a:lnTo>
                  <a:pt x="26" y="213"/>
                </a:lnTo>
                <a:lnTo>
                  <a:pt x="28" y="227"/>
                </a:lnTo>
                <a:lnTo>
                  <a:pt x="39" y="227"/>
                </a:lnTo>
                <a:lnTo>
                  <a:pt x="39" y="212"/>
                </a:lnTo>
                <a:lnTo>
                  <a:pt x="74" y="191"/>
                </a:lnTo>
                <a:lnTo>
                  <a:pt x="64" y="131"/>
                </a:lnTo>
                <a:lnTo>
                  <a:pt x="143" y="70"/>
                </a:lnTo>
                <a:lnTo>
                  <a:pt x="144" y="0"/>
                </a:lnTo>
                <a:lnTo>
                  <a:pt x="124" y="12"/>
                </a:lnTo>
                <a:lnTo>
                  <a:pt x="69" y="15"/>
                </a:lnTo>
                <a:lnTo>
                  <a:pt x="68" y="41"/>
                </a:lnTo>
                <a:lnTo>
                  <a:pt x="82" y="61"/>
                </a:lnTo>
                <a:lnTo>
                  <a:pt x="74" y="91"/>
                </a:lnTo>
                <a:lnTo>
                  <a:pt x="59" y="75"/>
                </a:lnTo>
                <a:lnTo>
                  <a:pt x="61" y="55"/>
                </a:lnTo>
                <a:lnTo>
                  <a:pt x="44" y="49"/>
                </a:lnTo>
                <a:lnTo>
                  <a:pt x="0" y="6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1" name="Freeform 836">
            <a:extLst>
              <a:ext uri="{FF2B5EF4-FFF2-40B4-BE49-F238E27FC236}">
                <a16:creationId xmlns:a16="http://schemas.microsoft.com/office/drawing/2014/main" id="{E4377BC2-14F9-4CD6-A14C-C44A4E3AA617}"/>
              </a:ext>
            </a:extLst>
          </p:cNvPr>
          <p:cNvSpPr>
            <a:spLocks/>
          </p:cNvSpPr>
          <p:nvPr/>
        </p:nvSpPr>
        <p:spPr bwMode="auto">
          <a:xfrm>
            <a:off x="4065746" y="5007634"/>
            <a:ext cx="248303" cy="184819"/>
          </a:xfrm>
          <a:custGeom>
            <a:avLst/>
            <a:gdLst>
              <a:gd name="T0" fmla="*/ 0 w 217"/>
              <a:gd name="T1" fmla="*/ 120 h 166"/>
              <a:gd name="T2" fmla="*/ 0 w 217"/>
              <a:gd name="T3" fmla="*/ 120 h 166"/>
              <a:gd name="T4" fmla="*/ 3 w 217"/>
              <a:gd name="T5" fmla="*/ 133 h 166"/>
              <a:gd name="T6" fmla="*/ 29 w 217"/>
              <a:gd name="T7" fmla="*/ 162 h 166"/>
              <a:gd name="T8" fmla="*/ 36 w 217"/>
              <a:gd name="T9" fmla="*/ 155 h 166"/>
              <a:gd name="T10" fmla="*/ 47 w 217"/>
              <a:gd name="T11" fmla="*/ 165 h 166"/>
              <a:gd name="T12" fmla="*/ 63 w 217"/>
              <a:gd name="T13" fmla="*/ 136 h 166"/>
              <a:gd name="T14" fmla="*/ 125 w 217"/>
              <a:gd name="T15" fmla="*/ 151 h 166"/>
              <a:gd name="T16" fmla="*/ 178 w 217"/>
              <a:gd name="T17" fmla="*/ 136 h 166"/>
              <a:gd name="T18" fmla="*/ 180 w 217"/>
              <a:gd name="T19" fmla="*/ 129 h 166"/>
              <a:gd name="T20" fmla="*/ 208 w 217"/>
              <a:gd name="T21" fmla="*/ 93 h 166"/>
              <a:gd name="T22" fmla="*/ 216 w 217"/>
              <a:gd name="T23" fmla="*/ 44 h 166"/>
              <a:gd name="T24" fmla="*/ 202 w 217"/>
              <a:gd name="T25" fmla="*/ 28 h 166"/>
              <a:gd name="T26" fmla="*/ 202 w 217"/>
              <a:gd name="T27" fmla="*/ 6 h 166"/>
              <a:gd name="T28" fmla="*/ 157 w 217"/>
              <a:gd name="T29" fmla="*/ 0 h 166"/>
              <a:gd name="T30" fmla="*/ 74 w 217"/>
              <a:gd name="T31" fmla="*/ 57 h 166"/>
              <a:gd name="T32" fmla="*/ 53 w 217"/>
              <a:gd name="T33" fmla="*/ 62 h 166"/>
              <a:gd name="T34" fmla="*/ 53 w 217"/>
              <a:gd name="T35" fmla="*/ 105 h 166"/>
              <a:gd name="T36" fmla="*/ 44 w 217"/>
              <a:gd name="T37" fmla="*/ 114 h 166"/>
              <a:gd name="T38" fmla="*/ 0 w 217"/>
              <a:gd name="T39" fmla="*/ 120 h 166"/>
              <a:gd name="T40" fmla="*/ 0 w 217"/>
              <a:gd name="T41" fmla="*/ 120 h 1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7"/>
              <a:gd name="T64" fmla="*/ 0 h 166"/>
              <a:gd name="T65" fmla="*/ 217 w 217"/>
              <a:gd name="T66" fmla="*/ 166 h 1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7" h="166">
                <a:moveTo>
                  <a:pt x="0" y="120"/>
                </a:moveTo>
                <a:lnTo>
                  <a:pt x="0" y="120"/>
                </a:lnTo>
                <a:lnTo>
                  <a:pt x="3" y="133"/>
                </a:lnTo>
                <a:lnTo>
                  <a:pt x="29" y="162"/>
                </a:lnTo>
                <a:lnTo>
                  <a:pt x="36" y="155"/>
                </a:lnTo>
                <a:lnTo>
                  <a:pt x="47" y="165"/>
                </a:lnTo>
                <a:lnTo>
                  <a:pt x="63" y="136"/>
                </a:lnTo>
                <a:lnTo>
                  <a:pt x="125" y="151"/>
                </a:lnTo>
                <a:lnTo>
                  <a:pt x="178" y="136"/>
                </a:lnTo>
                <a:lnTo>
                  <a:pt x="180" y="129"/>
                </a:lnTo>
                <a:lnTo>
                  <a:pt x="208" y="93"/>
                </a:lnTo>
                <a:lnTo>
                  <a:pt x="216" y="44"/>
                </a:lnTo>
                <a:lnTo>
                  <a:pt x="202" y="28"/>
                </a:lnTo>
                <a:lnTo>
                  <a:pt x="202" y="6"/>
                </a:lnTo>
                <a:lnTo>
                  <a:pt x="157" y="0"/>
                </a:lnTo>
                <a:lnTo>
                  <a:pt x="74" y="57"/>
                </a:lnTo>
                <a:lnTo>
                  <a:pt x="53" y="62"/>
                </a:lnTo>
                <a:lnTo>
                  <a:pt x="53" y="105"/>
                </a:lnTo>
                <a:lnTo>
                  <a:pt x="44" y="114"/>
                </a:lnTo>
                <a:lnTo>
                  <a:pt x="0" y="12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2" name="Freeform 837">
            <a:extLst>
              <a:ext uri="{FF2B5EF4-FFF2-40B4-BE49-F238E27FC236}">
                <a16:creationId xmlns:a16="http://schemas.microsoft.com/office/drawing/2014/main" id="{5CCF650A-0F72-4561-8E58-2343C3DBFEBE}"/>
              </a:ext>
            </a:extLst>
          </p:cNvPr>
          <p:cNvSpPr>
            <a:spLocks/>
          </p:cNvSpPr>
          <p:nvPr/>
        </p:nvSpPr>
        <p:spPr bwMode="auto">
          <a:xfrm>
            <a:off x="4106939" y="5159051"/>
            <a:ext cx="181937" cy="146965"/>
          </a:xfrm>
          <a:custGeom>
            <a:avLst/>
            <a:gdLst>
              <a:gd name="T0" fmla="*/ 0 w 159"/>
              <a:gd name="T1" fmla="*/ 102 h 132"/>
              <a:gd name="T2" fmla="*/ 0 w 159"/>
              <a:gd name="T3" fmla="*/ 102 h 132"/>
              <a:gd name="T4" fmla="*/ 11 w 159"/>
              <a:gd name="T5" fmla="*/ 29 h 132"/>
              <a:gd name="T6" fmla="*/ 27 w 159"/>
              <a:gd name="T7" fmla="*/ 0 h 132"/>
              <a:gd name="T8" fmla="*/ 89 w 159"/>
              <a:gd name="T9" fmla="*/ 15 h 132"/>
              <a:gd name="T10" fmla="*/ 142 w 159"/>
              <a:gd name="T11" fmla="*/ 0 h 132"/>
              <a:gd name="T12" fmla="*/ 153 w 159"/>
              <a:gd name="T13" fmla="*/ 17 h 132"/>
              <a:gd name="T14" fmla="*/ 158 w 159"/>
              <a:gd name="T15" fmla="*/ 29 h 132"/>
              <a:gd name="T16" fmla="*/ 144 w 159"/>
              <a:gd name="T17" fmla="*/ 40 h 132"/>
              <a:gd name="T18" fmla="*/ 116 w 159"/>
              <a:gd name="T19" fmla="*/ 99 h 132"/>
              <a:gd name="T20" fmla="*/ 90 w 159"/>
              <a:gd name="T21" fmla="*/ 95 h 132"/>
              <a:gd name="T22" fmla="*/ 76 w 159"/>
              <a:gd name="T23" fmla="*/ 124 h 132"/>
              <a:gd name="T24" fmla="*/ 45 w 159"/>
              <a:gd name="T25" fmla="*/ 131 h 132"/>
              <a:gd name="T26" fmla="*/ 27 w 159"/>
              <a:gd name="T27" fmla="*/ 106 h 132"/>
              <a:gd name="T28" fmla="*/ 0 w 159"/>
              <a:gd name="T29" fmla="*/ 102 h 132"/>
              <a:gd name="T30" fmla="*/ 0 w 159"/>
              <a:gd name="T31" fmla="*/ 102 h 13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9"/>
              <a:gd name="T49" fmla="*/ 0 h 132"/>
              <a:gd name="T50" fmla="*/ 159 w 159"/>
              <a:gd name="T51" fmla="*/ 132 h 13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9" h="132">
                <a:moveTo>
                  <a:pt x="0" y="102"/>
                </a:moveTo>
                <a:lnTo>
                  <a:pt x="0" y="102"/>
                </a:lnTo>
                <a:lnTo>
                  <a:pt x="11" y="29"/>
                </a:lnTo>
                <a:lnTo>
                  <a:pt x="27" y="0"/>
                </a:lnTo>
                <a:lnTo>
                  <a:pt x="89" y="15"/>
                </a:lnTo>
                <a:lnTo>
                  <a:pt x="142" y="0"/>
                </a:lnTo>
                <a:lnTo>
                  <a:pt x="153" y="17"/>
                </a:lnTo>
                <a:lnTo>
                  <a:pt x="158" y="29"/>
                </a:lnTo>
                <a:lnTo>
                  <a:pt x="144" y="40"/>
                </a:lnTo>
                <a:lnTo>
                  <a:pt x="116" y="99"/>
                </a:lnTo>
                <a:lnTo>
                  <a:pt x="90" y="95"/>
                </a:lnTo>
                <a:lnTo>
                  <a:pt x="76" y="124"/>
                </a:lnTo>
                <a:lnTo>
                  <a:pt x="45" y="131"/>
                </a:lnTo>
                <a:lnTo>
                  <a:pt x="27" y="106"/>
                </a:lnTo>
                <a:lnTo>
                  <a:pt x="0" y="102"/>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3" name="Freeform 838">
            <a:extLst>
              <a:ext uri="{FF2B5EF4-FFF2-40B4-BE49-F238E27FC236}">
                <a16:creationId xmlns:a16="http://schemas.microsoft.com/office/drawing/2014/main" id="{63CA195B-A87C-444E-8191-3ECC991AB875}"/>
              </a:ext>
            </a:extLst>
          </p:cNvPr>
          <p:cNvSpPr>
            <a:spLocks/>
          </p:cNvSpPr>
          <p:nvPr/>
        </p:nvSpPr>
        <p:spPr bwMode="auto">
          <a:xfrm>
            <a:off x="3801422" y="5175752"/>
            <a:ext cx="48059" cy="28947"/>
          </a:xfrm>
          <a:custGeom>
            <a:avLst/>
            <a:gdLst>
              <a:gd name="T0" fmla="*/ 0 w 42"/>
              <a:gd name="T1" fmla="*/ 3 h 26"/>
              <a:gd name="T2" fmla="*/ 0 w 42"/>
              <a:gd name="T3" fmla="*/ 3 h 26"/>
              <a:gd name="T4" fmla="*/ 12 w 42"/>
              <a:gd name="T5" fmla="*/ 14 h 26"/>
              <a:gd name="T6" fmla="*/ 25 w 42"/>
              <a:gd name="T7" fmla="*/ 11 h 26"/>
              <a:gd name="T8" fmla="*/ 18 w 42"/>
              <a:gd name="T9" fmla="*/ 14 h 26"/>
              <a:gd name="T10" fmla="*/ 24 w 42"/>
              <a:gd name="T11" fmla="*/ 25 h 26"/>
              <a:gd name="T12" fmla="*/ 41 w 42"/>
              <a:gd name="T13" fmla="*/ 14 h 26"/>
              <a:gd name="T14" fmla="*/ 41 w 42"/>
              <a:gd name="T15" fmla="*/ 0 h 26"/>
              <a:gd name="T16" fmla="*/ 0 w 42"/>
              <a:gd name="T17" fmla="*/ 3 h 26"/>
              <a:gd name="T18" fmla="*/ 0 w 42"/>
              <a:gd name="T19" fmla="*/ 3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26"/>
              <a:gd name="T32" fmla="*/ 42 w 42"/>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26">
                <a:moveTo>
                  <a:pt x="0" y="3"/>
                </a:moveTo>
                <a:lnTo>
                  <a:pt x="0" y="3"/>
                </a:lnTo>
                <a:lnTo>
                  <a:pt x="12" y="14"/>
                </a:lnTo>
                <a:lnTo>
                  <a:pt x="25" y="11"/>
                </a:lnTo>
                <a:lnTo>
                  <a:pt x="18" y="14"/>
                </a:lnTo>
                <a:lnTo>
                  <a:pt x="24" y="25"/>
                </a:lnTo>
                <a:lnTo>
                  <a:pt x="41" y="14"/>
                </a:lnTo>
                <a:lnTo>
                  <a:pt x="41" y="0"/>
                </a:lnTo>
                <a:lnTo>
                  <a:pt x="0" y="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4" name="Freeform 839">
            <a:extLst>
              <a:ext uri="{FF2B5EF4-FFF2-40B4-BE49-F238E27FC236}">
                <a16:creationId xmlns:a16="http://schemas.microsoft.com/office/drawing/2014/main" id="{1BF71304-587F-4508-A321-52BEFDF494DC}"/>
              </a:ext>
            </a:extLst>
          </p:cNvPr>
          <p:cNvSpPr>
            <a:spLocks/>
          </p:cNvSpPr>
          <p:nvPr/>
        </p:nvSpPr>
        <p:spPr bwMode="auto">
          <a:xfrm>
            <a:off x="4855282" y="4966439"/>
            <a:ext cx="10298" cy="25608"/>
          </a:xfrm>
          <a:custGeom>
            <a:avLst/>
            <a:gdLst>
              <a:gd name="T0" fmla="*/ 0 w 9"/>
              <a:gd name="T1" fmla="*/ 18 h 23"/>
              <a:gd name="T2" fmla="*/ 0 w 9"/>
              <a:gd name="T3" fmla="*/ 18 h 23"/>
              <a:gd name="T4" fmla="*/ 4 w 9"/>
              <a:gd name="T5" fmla="*/ 22 h 23"/>
              <a:gd name="T6" fmla="*/ 8 w 9"/>
              <a:gd name="T7" fmla="*/ 21 h 23"/>
              <a:gd name="T8" fmla="*/ 5 w 9"/>
              <a:gd name="T9" fmla="*/ 0 h 23"/>
              <a:gd name="T10" fmla="*/ 0 w 9"/>
              <a:gd name="T11" fmla="*/ 18 h 23"/>
              <a:gd name="T12" fmla="*/ 0 w 9"/>
              <a:gd name="T13" fmla="*/ 18 h 23"/>
              <a:gd name="T14" fmla="*/ 0 60000 65536"/>
              <a:gd name="T15" fmla="*/ 0 60000 65536"/>
              <a:gd name="T16" fmla="*/ 0 60000 65536"/>
              <a:gd name="T17" fmla="*/ 0 60000 65536"/>
              <a:gd name="T18" fmla="*/ 0 60000 65536"/>
              <a:gd name="T19" fmla="*/ 0 60000 65536"/>
              <a:gd name="T20" fmla="*/ 0 60000 65536"/>
              <a:gd name="T21" fmla="*/ 0 w 9"/>
              <a:gd name="T22" fmla="*/ 0 h 23"/>
              <a:gd name="T23" fmla="*/ 9 w 9"/>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3">
                <a:moveTo>
                  <a:pt x="0" y="18"/>
                </a:moveTo>
                <a:lnTo>
                  <a:pt x="0" y="18"/>
                </a:lnTo>
                <a:lnTo>
                  <a:pt x="4" y="22"/>
                </a:lnTo>
                <a:lnTo>
                  <a:pt x="8" y="21"/>
                </a:lnTo>
                <a:lnTo>
                  <a:pt x="5" y="0"/>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5" name="Freeform 840">
            <a:extLst>
              <a:ext uri="{FF2B5EF4-FFF2-40B4-BE49-F238E27FC236}">
                <a16:creationId xmlns:a16="http://schemas.microsoft.com/office/drawing/2014/main" id="{D74CE2DA-D7AA-4661-A52B-C9D5B3290A9A}"/>
              </a:ext>
            </a:extLst>
          </p:cNvPr>
          <p:cNvSpPr>
            <a:spLocks/>
          </p:cNvSpPr>
          <p:nvPr/>
        </p:nvSpPr>
        <p:spPr bwMode="auto">
          <a:xfrm>
            <a:off x="4516583" y="5383952"/>
            <a:ext cx="27462" cy="25608"/>
          </a:xfrm>
          <a:custGeom>
            <a:avLst/>
            <a:gdLst>
              <a:gd name="T0" fmla="*/ 0 w 24"/>
              <a:gd name="T1" fmla="*/ 22 h 23"/>
              <a:gd name="T2" fmla="*/ 0 w 24"/>
              <a:gd name="T3" fmla="*/ 22 h 23"/>
              <a:gd name="T4" fmla="*/ 9 w 24"/>
              <a:gd name="T5" fmla="*/ 4 h 23"/>
              <a:gd name="T6" fmla="*/ 20 w 24"/>
              <a:gd name="T7" fmla="*/ 0 h 23"/>
              <a:gd name="T8" fmla="*/ 23 w 24"/>
              <a:gd name="T9" fmla="*/ 18 h 23"/>
              <a:gd name="T10" fmla="*/ 0 w 24"/>
              <a:gd name="T11" fmla="*/ 22 h 23"/>
              <a:gd name="T12" fmla="*/ 0 w 24"/>
              <a:gd name="T13" fmla="*/ 22 h 23"/>
              <a:gd name="T14" fmla="*/ 0 60000 65536"/>
              <a:gd name="T15" fmla="*/ 0 60000 65536"/>
              <a:gd name="T16" fmla="*/ 0 60000 65536"/>
              <a:gd name="T17" fmla="*/ 0 60000 65536"/>
              <a:gd name="T18" fmla="*/ 0 60000 65536"/>
              <a:gd name="T19" fmla="*/ 0 60000 65536"/>
              <a:gd name="T20" fmla="*/ 0 60000 65536"/>
              <a:gd name="T21" fmla="*/ 0 w 24"/>
              <a:gd name="T22" fmla="*/ 0 h 23"/>
              <a:gd name="T23" fmla="*/ 24 w 24"/>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3">
                <a:moveTo>
                  <a:pt x="0" y="22"/>
                </a:moveTo>
                <a:lnTo>
                  <a:pt x="0" y="22"/>
                </a:lnTo>
                <a:lnTo>
                  <a:pt x="9" y="4"/>
                </a:lnTo>
                <a:lnTo>
                  <a:pt x="20" y="0"/>
                </a:lnTo>
                <a:lnTo>
                  <a:pt x="23" y="18"/>
                </a:lnTo>
                <a:lnTo>
                  <a:pt x="0" y="2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6" name="Freeform 841">
            <a:extLst>
              <a:ext uri="{FF2B5EF4-FFF2-40B4-BE49-F238E27FC236}">
                <a16:creationId xmlns:a16="http://schemas.microsoft.com/office/drawing/2014/main" id="{551F1F9D-E21B-4640-B8C7-C60950AB302D}"/>
              </a:ext>
            </a:extLst>
          </p:cNvPr>
          <p:cNvSpPr>
            <a:spLocks/>
          </p:cNvSpPr>
          <p:nvPr/>
        </p:nvSpPr>
        <p:spPr bwMode="auto">
          <a:xfrm>
            <a:off x="3788836" y="5115630"/>
            <a:ext cx="98406" cy="64575"/>
          </a:xfrm>
          <a:custGeom>
            <a:avLst/>
            <a:gdLst>
              <a:gd name="T0" fmla="*/ 0 w 86"/>
              <a:gd name="T1" fmla="*/ 25 h 58"/>
              <a:gd name="T2" fmla="*/ 0 w 86"/>
              <a:gd name="T3" fmla="*/ 25 h 58"/>
              <a:gd name="T4" fmla="*/ 13 w 86"/>
              <a:gd name="T5" fmla="*/ 42 h 58"/>
              <a:gd name="T6" fmla="*/ 52 w 86"/>
              <a:gd name="T7" fmla="*/ 44 h 58"/>
              <a:gd name="T8" fmla="*/ 11 w 86"/>
              <a:gd name="T9" fmla="*/ 49 h 58"/>
              <a:gd name="T10" fmla="*/ 11 w 86"/>
              <a:gd name="T11" fmla="*/ 57 h 58"/>
              <a:gd name="T12" fmla="*/ 52 w 86"/>
              <a:gd name="T13" fmla="*/ 54 h 58"/>
              <a:gd name="T14" fmla="*/ 85 w 86"/>
              <a:gd name="T15" fmla="*/ 57 h 58"/>
              <a:gd name="T16" fmla="*/ 75 w 86"/>
              <a:gd name="T17" fmla="*/ 25 h 58"/>
              <a:gd name="T18" fmla="*/ 44 w 86"/>
              <a:gd name="T19" fmla="*/ 0 h 58"/>
              <a:gd name="T20" fmla="*/ 13 w 86"/>
              <a:gd name="T21" fmla="*/ 7 h 58"/>
              <a:gd name="T22" fmla="*/ 0 w 86"/>
              <a:gd name="T23" fmla="*/ 25 h 58"/>
              <a:gd name="T24" fmla="*/ 0 w 86"/>
              <a:gd name="T25" fmla="*/ 25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58"/>
              <a:gd name="T41" fmla="*/ 86 w 8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58">
                <a:moveTo>
                  <a:pt x="0" y="25"/>
                </a:moveTo>
                <a:lnTo>
                  <a:pt x="0" y="25"/>
                </a:lnTo>
                <a:lnTo>
                  <a:pt x="13" y="42"/>
                </a:lnTo>
                <a:lnTo>
                  <a:pt x="52" y="44"/>
                </a:lnTo>
                <a:lnTo>
                  <a:pt x="11" y="49"/>
                </a:lnTo>
                <a:lnTo>
                  <a:pt x="11" y="57"/>
                </a:lnTo>
                <a:lnTo>
                  <a:pt x="52" y="54"/>
                </a:lnTo>
                <a:lnTo>
                  <a:pt x="85" y="57"/>
                </a:lnTo>
                <a:lnTo>
                  <a:pt x="75" y="25"/>
                </a:lnTo>
                <a:lnTo>
                  <a:pt x="44" y="0"/>
                </a:lnTo>
                <a:lnTo>
                  <a:pt x="13" y="7"/>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7" name="Freeform 842">
            <a:extLst>
              <a:ext uri="{FF2B5EF4-FFF2-40B4-BE49-F238E27FC236}">
                <a16:creationId xmlns:a16="http://schemas.microsoft.com/office/drawing/2014/main" id="{936ED875-F3AB-4A18-8E6A-F9C7C270CF02}"/>
              </a:ext>
            </a:extLst>
          </p:cNvPr>
          <p:cNvSpPr>
            <a:spLocks/>
          </p:cNvSpPr>
          <p:nvPr/>
        </p:nvSpPr>
        <p:spPr bwMode="auto">
          <a:xfrm>
            <a:off x="3855202" y="5218060"/>
            <a:ext cx="50347" cy="46761"/>
          </a:xfrm>
          <a:custGeom>
            <a:avLst/>
            <a:gdLst>
              <a:gd name="T0" fmla="*/ 0 w 44"/>
              <a:gd name="T1" fmla="*/ 12 h 42"/>
              <a:gd name="T2" fmla="*/ 0 w 44"/>
              <a:gd name="T3" fmla="*/ 12 h 42"/>
              <a:gd name="T4" fmla="*/ 5 w 44"/>
              <a:gd name="T5" fmla="*/ 28 h 42"/>
              <a:gd name="T6" fmla="*/ 26 w 44"/>
              <a:gd name="T7" fmla="*/ 41 h 42"/>
              <a:gd name="T8" fmla="*/ 43 w 44"/>
              <a:gd name="T9" fmla="*/ 21 h 42"/>
              <a:gd name="T10" fmla="*/ 29 w 44"/>
              <a:gd name="T11" fmla="*/ 0 h 42"/>
              <a:gd name="T12" fmla="*/ 0 w 44"/>
              <a:gd name="T13" fmla="*/ 12 h 42"/>
              <a:gd name="T14" fmla="*/ 0 w 44"/>
              <a:gd name="T15" fmla="*/ 12 h 42"/>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2"/>
              <a:gd name="T26" fmla="*/ 44 w 44"/>
              <a:gd name="T27" fmla="*/ 42 h 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2">
                <a:moveTo>
                  <a:pt x="0" y="12"/>
                </a:moveTo>
                <a:lnTo>
                  <a:pt x="0" y="12"/>
                </a:lnTo>
                <a:lnTo>
                  <a:pt x="5" y="28"/>
                </a:lnTo>
                <a:lnTo>
                  <a:pt x="26" y="41"/>
                </a:lnTo>
                <a:lnTo>
                  <a:pt x="43" y="21"/>
                </a:lnTo>
                <a:lnTo>
                  <a:pt x="29" y="0"/>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8" name="Freeform 843">
            <a:extLst>
              <a:ext uri="{FF2B5EF4-FFF2-40B4-BE49-F238E27FC236}">
                <a16:creationId xmlns:a16="http://schemas.microsoft.com/office/drawing/2014/main" id="{430A0786-7BD9-46DA-A610-519693964F01}"/>
              </a:ext>
            </a:extLst>
          </p:cNvPr>
          <p:cNvSpPr>
            <a:spLocks/>
          </p:cNvSpPr>
          <p:nvPr/>
        </p:nvSpPr>
        <p:spPr bwMode="auto">
          <a:xfrm>
            <a:off x="4704240" y="5187999"/>
            <a:ext cx="160196" cy="207086"/>
          </a:xfrm>
          <a:custGeom>
            <a:avLst/>
            <a:gdLst>
              <a:gd name="T0" fmla="*/ 0 w 140"/>
              <a:gd name="T1" fmla="*/ 174 h 186"/>
              <a:gd name="T2" fmla="*/ 0 w 140"/>
              <a:gd name="T3" fmla="*/ 174 h 186"/>
              <a:gd name="T4" fmla="*/ 0 w 140"/>
              <a:gd name="T5" fmla="*/ 123 h 186"/>
              <a:gd name="T6" fmla="*/ 11 w 140"/>
              <a:gd name="T7" fmla="*/ 109 h 186"/>
              <a:gd name="T8" fmla="*/ 54 w 140"/>
              <a:gd name="T9" fmla="*/ 94 h 186"/>
              <a:gd name="T10" fmla="*/ 95 w 140"/>
              <a:gd name="T11" fmla="*/ 53 h 186"/>
              <a:gd name="T12" fmla="*/ 41 w 140"/>
              <a:gd name="T13" fmla="*/ 39 h 186"/>
              <a:gd name="T14" fmla="*/ 25 w 140"/>
              <a:gd name="T15" fmla="*/ 15 h 186"/>
              <a:gd name="T16" fmla="*/ 31 w 140"/>
              <a:gd name="T17" fmla="*/ 7 h 186"/>
              <a:gd name="T18" fmla="*/ 52 w 140"/>
              <a:gd name="T19" fmla="*/ 21 h 186"/>
              <a:gd name="T20" fmla="*/ 133 w 140"/>
              <a:gd name="T21" fmla="*/ 0 h 186"/>
              <a:gd name="T22" fmla="*/ 139 w 140"/>
              <a:gd name="T23" fmla="*/ 21 h 186"/>
              <a:gd name="T24" fmla="*/ 90 w 140"/>
              <a:gd name="T25" fmla="*/ 108 h 186"/>
              <a:gd name="T26" fmla="*/ 7 w 140"/>
              <a:gd name="T27" fmla="*/ 185 h 186"/>
              <a:gd name="T28" fmla="*/ 0 w 140"/>
              <a:gd name="T29" fmla="*/ 174 h 186"/>
              <a:gd name="T30" fmla="*/ 0 w 140"/>
              <a:gd name="T31" fmla="*/ 174 h 18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0"/>
              <a:gd name="T49" fmla="*/ 0 h 186"/>
              <a:gd name="T50" fmla="*/ 140 w 140"/>
              <a:gd name="T51" fmla="*/ 186 h 18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0" h="186">
                <a:moveTo>
                  <a:pt x="0" y="174"/>
                </a:moveTo>
                <a:lnTo>
                  <a:pt x="0" y="174"/>
                </a:lnTo>
                <a:lnTo>
                  <a:pt x="0" y="123"/>
                </a:lnTo>
                <a:lnTo>
                  <a:pt x="11" y="109"/>
                </a:lnTo>
                <a:lnTo>
                  <a:pt x="54" y="94"/>
                </a:lnTo>
                <a:lnTo>
                  <a:pt x="95" y="53"/>
                </a:lnTo>
                <a:lnTo>
                  <a:pt x="41" y="39"/>
                </a:lnTo>
                <a:lnTo>
                  <a:pt x="25" y="15"/>
                </a:lnTo>
                <a:lnTo>
                  <a:pt x="31" y="7"/>
                </a:lnTo>
                <a:lnTo>
                  <a:pt x="52" y="21"/>
                </a:lnTo>
                <a:lnTo>
                  <a:pt x="133" y="0"/>
                </a:lnTo>
                <a:lnTo>
                  <a:pt x="139" y="21"/>
                </a:lnTo>
                <a:lnTo>
                  <a:pt x="90" y="108"/>
                </a:lnTo>
                <a:lnTo>
                  <a:pt x="7" y="185"/>
                </a:lnTo>
                <a:lnTo>
                  <a:pt x="0" y="17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9" name="Freeform 844">
            <a:extLst>
              <a:ext uri="{FF2B5EF4-FFF2-40B4-BE49-F238E27FC236}">
                <a16:creationId xmlns:a16="http://schemas.microsoft.com/office/drawing/2014/main" id="{DBAC6905-1A25-4E2C-90D6-5580DDEDDB85}"/>
              </a:ext>
            </a:extLst>
          </p:cNvPr>
          <p:cNvSpPr>
            <a:spLocks/>
          </p:cNvSpPr>
          <p:nvPr/>
        </p:nvSpPr>
        <p:spPr bwMode="auto">
          <a:xfrm>
            <a:off x="4454793" y="5605513"/>
            <a:ext cx="123580" cy="110224"/>
          </a:xfrm>
          <a:custGeom>
            <a:avLst/>
            <a:gdLst>
              <a:gd name="T0" fmla="*/ 0 w 108"/>
              <a:gd name="T1" fmla="*/ 30 h 99"/>
              <a:gd name="T2" fmla="*/ 0 w 108"/>
              <a:gd name="T3" fmla="*/ 30 h 99"/>
              <a:gd name="T4" fmla="*/ 0 w 108"/>
              <a:gd name="T5" fmla="*/ 30 h 99"/>
              <a:gd name="T6" fmla="*/ 24 w 108"/>
              <a:gd name="T7" fmla="*/ 31 h 99"/>
              <a:gd name="T8" fmla="*/ 48 w 108"/>
              <a:gd name="T9" fmla="*/ 13 h 99"/>
              <a:gd name="T10" fmla="*/ 49 w 108"/>
              <a:gd name="T11" fmla="*/ 5 h 99"/>
              <a:gd name="T12" fmla="*/ 70 w 108"/>
              <a:gd name="T13" fmla="*/ 0 h 99"/>
              <a:gd name="T14" fmla="*/ 104 w 108"/>
              <a:gd name="T15" fmla="*/ 11 h 99"/>
              <a:gd name="T16" fmla="*/ 107 w 108"/>
              <a:gd name="T17" fmla="*/ 25 h 99"/>
              <a:gd name="T18" fmla="*/ 105 w 108"/>
              <a:gd name="T19" fmla="*/ 61 h 99"/>
              <a:gd name="T20" fmla="*/ 87 w 108"/>
              <a:gd name="T21" fmla="*/ 98 h 99"/>
              <a:gd name="T22" fmla="*/ 56 w 108"/>
              <a:gd name="T23" fmla="*/ 92 h 99"/>
              <a:gd name="T24" fmla="*/ 38 w 108"/>
              <a:gd name="T25" fmla="*/ 83 h 99"/>
              <a:gd name="T26" fmla="*/ 0 w 108"/>
              <a:gd name="T27" fmla="*/ 30 h 99"/>
              <a:gd name="T28" fmla="*/ 0 w 108"/>
              <a:gd name="T29" fmla="*/ 30 h 9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8"/>
              <a:gd name="T46" fmla="*/ 0 h 99"/>
              <a:gd name="T47" fmla="*/ 108 w 108"/>
              <a:gd name="T48" fmla="*/ 99 h 9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8" h="99">
                <a:moveTo>
                  <a:pt x="0" y="30"/>
                </a:moveTo>
                <a:lnTo>
                  <a:pt x="0" y="30"/>
                </a:lnTo>
                <a:lnTo>
                  <a:pt x="24" y="31"/>
                </a:lnTo>
                <a:lnTo>
                  <a:pt x="48" y="13"/>
                </a:lnTo>
                <a:lnTo>
                  <a:pt x="49" y="5"/>
                </a:lnTo>
                <a:lnTo>
                  <a:pt x="70" y="0"/>
                </a:lnTo>
                <a:lnTo>
                  <a:pt x="104" y="11"/>
                </a:lnTo>
                <a:lnTo>
                  <a:pt x="107" y="25"/>
                </a:lnTo>
                <a:lnTo>
                  <a:pt x="105" y="61"/>
                </a:lnTo>
                <a:lnTo>
                  <a:pt x="87" y="98"/>
                </a:lnTo>
                <a:lnTo>
                  <a:pt x="56" y="92"/>
                </a:lnTo>
                <a:lnTo>
                  <a:pt x="38" y="83"/>
                </a:lnTo>
                <a:lnTo>
                  <a:pt x="0" y="3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0" name="Freeform 845">
            <a:extLst>
              <a:ext uri="{FF2B5EF4-FFF2-40B4-BE49-F238E27FC236}">
                <a16:creationId xmlns:a16="http://schemas.microsoft.com/office/drawing/2014/main" id="{63E38F12-2AAD-4FA1-88BA-4655424B7ABA}"/>
              </a:ext>
            </a:extLst>
          </p:cNvPr>
          <p:cNvSpPr>
            <a:spLocks/>
          </p:cNvSpPr>
          <p:nvPr/>
        </p:nvSpPr>
        <p:spPr bwMode="auto">
          <a:xfrm>
            <a:off x="4243106" y="5625553"/>
            <a:ext cx="212832" cy="194840"/>
          </a:xfrm>
          <a:custGeom>
            <a:avLst/>
            <a:gdLst>
              <a:gd name="T0" fmla="*/ 0 w 186"/>
              <a:gd name="T1" fmla="*/ 6 h 175"/>
              <a:gd name="T2" fmla="*/ 0 w 186"/>
              <a:gd name="T3" fmla="*/ 6 h 175"/>
              <a:gd name="T4" fmla="*/ 23 w 186"/>
              <a:gd name="T5" fmla="*/ 0 h 175"/>
              <a:gd name="T6" fmla="*/ 134 w 186"/>
              <a:gd name="T7" fmla="*/ 16 h 175"/>
              <a:gd name="T8" fmla="*/ 159 w 186"/>
              <a:gd name="T9" fmla="*/ 9 h 175"/>
              <a:gd name="T10" fmla="*/ 185 w 186"/>
              <a:gd name="T11" fmla="*/ 12 h 175"/>
              <a:gd name="T12" fmla="*/ 185 w 186"/>
              <a:gd name="T13" fmla="*/ 12 h 175"/>
              <a:gd name="T14" fmla="*/ 162 w 186"/>
              <a:gd name="T15" fmla="*/ 25 h 175"/>
              <a:gd name="T16" fmla="*/ 154 w 186"/>
              <a:gd name="T17" fmla="*/ 16 h 175"/>
              <a:gd name="T18" fmla="*/ 128 w 186"/>
              <a:gd name="T19" fmla="*/ 22 h 175"/>
              <a:gd name="T20" fmla="*/ 128 w 186"/>
              <a:gd name="T21" fmla="*/ 71 h 175"/>
              <a:gd name="T22" fmla="*/ 114 w 186"/>
              <a:gd name="T23" fmla="*/ 71 h 175"/>
              <a:gd name="T24" fmla="*/ 114 w 186"/>
              <a:gd name="T25" fmla="*/ 110 h 175"/>
              <a:gd name="T26" fmla="*/ 114 w 186"/>
              <a:gd name="T27" fmla="*/ 165 h 175"/>
              <a:gd name="T28" fmla="*/ 102 w 186"/>
              <a:gd name="T29" fmla="*/ 174 h 175"/>
              <a:gd name="T30" fmla="*/ 84 w 186"/>
              <a:gd name="T31" fmla="*/ 174 h 175"/>
              <a:gd name="T32" fmla="*/ 75 w 186"/>
              <a:gd name="T33" fmla="*/ 162 h 175"/>
              <a:gd name="T34" fmla="*/ 67 w 186"/>
              <a:gd name="T35" fmla="*/ 168 h 175"/>
              <a:gd name="T36" fmla="*/ 49 w 186"/>
              <a:gd name="T37" fmla="*/ 149 h 175"/>
              <a:gd name="T38" fmla="*/ 39 w 186"/>
              <a:gd name="T39" fmla="*/ 88 h 175"/>
              <a:gd name="T40" fmla="*/ 39 w 186"/>
              <a:gd name="T41" fmla="*/ 81 h 175"/>
              <a:gd name="T42" fmla="*/ 0 w 186"/>
              <a:gd name="T43" fmla="*/ 6 h 175"/>
              <a:gd name="T44" fmla="*/ 0 w 186"/>
              <a:gd name="T45" fmla="*/ 6 h 17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6"/>
              <a:gd name="T70" fmla="*/ 0 h 175"/>
              <a:gd name="T71" fmla="*/ 186 w 186"/>
              <a:gd name="T72" fmla="*/ 175 h 17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6" h="175">
                <a:moveTo>
                  <a:pt x="0" y="6"/>
                </a:moveTo>
                <a:lnTo>
                  <a:pt x="0" y="6"/>
                </a:lnTo>
                <a:lnTo>
                  <a:pt x="23" y="0"/>
                </a:lnTo>
                <a:lnTo>
                  <a:pt x="134" y="16"/>
                </a:lnTo>
                <a:lnTo>
                  <a:pt x="159" y="9"/>
                </a:lnTo>
                <a:lnTo>
                  <a:pt x="185" y="12"/>
                </a:lnTo>
                <a:lnTo>
                  <a:pt x="162" y="25"/>
                </a:lnTo>
                <a:lnTo>
                  <a:pt x="154" y="16"/>
                </a:lnTo>
                <a:lnTo>
                  <a:pt x="128" y="22"/>
                </a:lnTo>
                <a:lnTo>
                  <a:pt x="128" y="71"/>
                </a:lnTo>
                <a:lnTo>
                  <a:pt x="114" y="71"/>
                </a:lnTo>
                <a:lnTo>
                  <a:pt x="114" y="110"/>
                </a:lnTo>
                <a:lnTo>
                  <a:pt x="114" y="165"/>
                </a:lnTo>
                <a:lnTo>
                  <a:pt x="102" y="174"/>
                </a:lnTo>
                <a:lnTo>
                  <a:pt x="84" y="174"/>
                </a:lnTo>
                <a:lnTo>
                  <a:pt x="75" y="162"/>
                </a:lnTo>
                <a:lnTo>
                  <a:pt x="67" y="168"/>
                </a:lnTo>
                <a:lnTo>
                  <a:pt x="49" y="149"/>
                </a:lnTo>
                <a:lnTo>
                  <a:pt x="39" y="88"/>
                </a:lnTo>
                <a:lnTo>
                  <a:pt x="39" y="81"/>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1" name="Freeform 846">
            <a:extLst>
              <a:ext uri="{FF2B5EF4-FFF2-40B4-BE49-F238E27FC236}">
                <a16:creationId xmlns:a16="http://schemas.microsoft.com/office/drawing/2014/main" id="{4BD50ED2-1085-45E9-834B-CC17883DC947}"/>
              </a:ext>
            </a:extLst>
          </p:cNvPr>
          <p:cNvSpPr>
            <a:spLocks/>
          </p:cNvSpPr>
          <p:nvPr/>
        </p:nvSpPr>
        <p:spPr bwMode="auto">
          <a:xfrm>
            <a:off x="3797990" y="4939718"/>
            <a:ext cx="132734" cy="107997"/>
          </a:xfrm>
          <a:custGeom>
            <a:avLst/>
            <a:gdLst>
              <a:gd name="T0" fmla="*/ 0 w 116"/>
              <a:gd name="T1" fmla="*/ 96 h 97"/>
              <a:gd name="T2" fmla="*/ 0 w 116"/>
              <a:gd name="T3" fmla="*/ 96 h 97"/>
              <a:gd name="T4" fmla="*/ 54 w 116"/>
              <a:gd name="T5" fmla="*/ 0 h 97"/>
              <a:gd name="T6" fmla="*/ 114 w 116"/>
              <a:gd name="T7" fmla="*/ 2 h 97"/>
              <a:gd name="T8" fmla="*/ 115 w 116"/>
              <a:gd name="T9" fmla="*/ 7 h 97"/>
              <a:gd name="T10" fmla="*/ 114 w 116"/>
              <a:gd name="T11" fmla="*/ 25 h 97"/>
              <a:gd name="T12" fmla="*/ 70 w 116"/>
              <a:gd name="T13" fmla="*/ 24 h 97"/>
              <a:gd name="T14" fmla="*/ 70 w 116"/>
              <a:gd name="T15" fmla="*/ 61 h 97"/>
              <a:gd name="T16" fmla="*/ 54 w 116"/>
              <a:gd name="T17" fmla="*/ 67 h 97"/>
              <a:gd name="T18" fmla="*/ 55 w 116"/>
              <a:gd name="T19" fmla="*/ 90 h 97"/>
              <a:gd name="T20" fmla="*/ 0 w 116"/>
              <a:gd name="T21" fmla="*/ 96 h 97"/>
              <a:gd name="T22" fmla="*/ 0 w 116"/>
              <a:gd name="T23" fmla="*/ 96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6"/>
              <a:gd name="T37" fmla="*/ 0 h 97"/>
              <a:gd name="T38" fmla="*/ 116 w 116"/>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6" h="97">
                <a:moveTo>
                  <a:pt x="0" y="96"/>
                </a:moveTo>
                <a:lnTo>
                  <a:pt x="0" y="96"/>
                </a:lnTo>
                <a:lnTo>
                  <a:pt x="54" y="0"/>
                </a:lnTo>
                <a:lnTo>
                  <a:pt x="114" y="2"/>
                </a:lnTo>
                <a:lnTo>
                  <a:pt x="115" y="7"/>
                </a:lnTo>
                <a:lnTo>
                  <a:pt x="114" y="25"/>
                </a:lnTo>
                <a:lnTo>
                  <a:pt x="70" y="24"/>
                </a:lnTo>
                <a:lnTo>
                  <a:pt x="70" y="61"/>
                </a:lnTo>
                <a:lnTo>
                  <a:pt x="54" y="67"/>
                </a:lnTo>
                <a:lnTo>
                  <a:pt x="55" y="90"/>
                </a:lnTo>
                <a:lnTo>
                  <a:pt x="0" y="9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2" name="Freeform 847">
            <a:extLst>
              <a:ext uri="{FF2B5EF4-FFF2-40B4-BE49-F238E27FC236}">
                <a16:creationId xmlns:a16="http://schemas.microsoft.com/office/drawing/2014/main" id="{6E77A66E-2021-43C9-8F5F-B91B3DF1E257}"/>
              </a:ext>
            </a:extLst>
          </p:cNvPr>
          <p:cNvSpPr>
            <a:spLocks/>
          </p:cNvSpPr>
          <p:nvPr/>
        </p:nvSpPr>
        <p:spPr bwMode="auto">
          <a:xfrm>
            <a:off x="4405590" y="5014313"/>
            <a:ext cx="259746" cy="300610"/>
          </a:xfrm>
          <a:custGeom>
            <a:avLst/>
            <a:gdLst>
              <a:gd name="T0" fmla="*/ 0 w 227"/>
              <a:gd name="T1" fmla="*/ 142 h 270"/>
              <a:gd name="T2" fmla="*/ 0 w 227"/>
              <a:gd name="T3" fmla="*/ 142 h 270"/>
              <a:gd name="T4" fmla="*/ 10 w 227"/>
              <a:gd name="T5" fmla="*/ 169 h 270"/>
              <a:gd name="T6" fmla="*/ 20 w 227"/>
              <a:gd name="T7" fmla="*/ 198 h 270"/>
              <a:gd name="T8" fmla="*/ 43 w 227"/>
              <a:gd name="T9" fmla="*/ 209 h 270"/>
              <a:gd name="T10" fmla="*/ 76 w 227"/>
              <a:gd name="T11" fmla="*/ 249 h 270"/>
              <a:gd name="T12" fmla="*/ 122 w 227"/>
              <a:gd name="T13" fmla="*/ 269 h 270"/>
              <a:gd name="T14" fmla="*/ 164 w 227"/>
              <a:gd name="T15" fmla="*/ 264 h 270"/>
              <a:gd name="T16" fmla="*/ 189 w 227"/>
              <a:gd name="T17" fmla="*/ 256 h 270"/>
              <a:gd name="T18" fmla="*/ 174 w 227"/>
              <a:gd name="T19" fmla="*/ 227 h 270"/>
              <a:gd name="T20" fmla="*/ 150 w 227"/>
              <a:gd name="T21" fmla="*/ 211 h 270"/>
              <a:gd name="T22" fmla="*/ 166 w 227"/>
              <a:gd name="T23" fmla="*/ 200 h 270"/>
              <a:gd name="T24" fmla="*/ 167 w 227"/>
              <a:gd name="T25" fmla="*/ 176 h 270"/>
              <a:gd name="T26" fmla="*/ 194 w 227"/>
              <a:gd name="T27" fmla="*/ 143 h 270"/>
              <a:gd name="T28" fmla="*/ 205 w 227"/>
              <a:gd name="T29" fmla="*/ 84 h 270"/>
              <a:gd name="T30" fmla="*/ 226 w 227"/>
              <a:gd name="T31" fmla="*/ 71 h 270"/>
              <a:gd name="T32" fmla="*/ 210 w 227"/>
              <a:gd name="T33" fmla="*/ 59 h 270"/>
              <a:gd name="T34" fmla="*/ 203 w 227"/>
              <a:gd name="T35" fmla="*/ 16 h 270"/>
              <a:gd name="T36" fmla="*/ 185 w 227"/>
              <a:gd name="T37" fmla="*/ 0 h 270"/>
              <a:gd name="T38" fmla="*/ 164 w 227"/>
              <a:gd name="T39" fmla="*/ 18 h 270"/>
              <a:gd name="T40" fmla="*/ 41 w 227"/>
              <a:gd name="T41" fmla="*/ 15 h 270"/>
              <a:gd name="T42" fmla="*/ 41 w 227"/>
              <a:gd name="T43" fmla="*/ 43 h 270"/>
              <a:gd name="T44" fmla="*/ 29 w 227"/>
              <a:gd name="T45" fmla="*/ 43 h 270"/>
              <a:gd name="T46" fmla="*/ 29 w 227"/>
              <a:gd name="T47" fmla="*/ 51 h 270"/>
              <a:gd name="T48" fmla="*/ 28 w 227"/>
              <a:gd name="T49" fmla="*/ 103 h 270"/>
              <a:gd name="T50" fmla="*/ 14 w 227"/>
              <a:gd name="T51" fmla="*/ 106 h 270"/>
              <a:gd name="T52" fmla="*/ 0 w 227"/>
              <a:gd name="T53" fmla="*/ 142 h 270"/>
              <a:gd name="T54" fmla="*/ 0 w 227"/>
              <a:gd name="T55" fmla="*/ 142 h 2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7"/>
              <a:gd name="T85" fmla="*/ 0 h 270"/>
              <a:gd name="T86" fmla="*/ 227 w 227"/>
              <a:gd name="T87" fmla="*/ 270 h 2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7" h="270">
                <a:moveTo>
                  <a:pt x="0" y="142"/>
                </a:moveTo>
                <a:lnTo>
                  <a:pt x="0" y="142"/>
                </a:lnTo>
                <a:lnTo>
                  <a:pt x="10" y="169"/>
                </a:lnTo>
                <a:lnTo>
                  <a:pt x="20" y="198"/>
                </a:lnTo>
                <a:lnTo>
                  <a:pt x="43" y="209"/>
                </a:lnTo>
                <a:lnTo>
                  <a:pt x="76" y="249"/>
                </a:lnTo>
                <a:lnTo>
                  <a:pt x="122" y="269"/>
                </a:lnTo>
                <a:lnTo>
                  <a:pt x="164" y="264"/>
                </a:lnTo>
                <a:lnTo>
                  <a:pt x="189" y="256"/>
                </a:lnTo>
                <a:lnTo>
                  <a:pt x="174" y="227"/>
                </a:lnTo>
                <a:lnTo>
                  <a:pt x="150" y="211"/>
                </a:lnTo>
                <a:lnTo>
                  <a:pt x="166" y="200"/>
                </a:lnTo>
                <a:lnTo>
                  <a:pt x="167" y="176"/>
                </a:lnTo>
                <a:lnTo>
                  <a:pt x="194" y="143"/>
                </a:lnTo>
                <a:lnTo>
                  <a:pt x="205" y="84"/>
                </a:lnTo>
                <a:lnTo>
                  <a:pt x="226" y="71"/>
                </a:lnTo>
                <a:lnTo>
                  <a:pt x="210" y="59"/>
                </a:lnTo>
                <a:lnTo>
                  <a:pt x="203" y="16"/>
                </a:lnTo>
                <a:lnTo>
                  <a:pt x="185" y="0"/>
                </a:lnTo>
                <a:lnTo>
                  <a:pt x="164" y="18"/>
                </a:lnTo>
                <a:lnTo>
                  <a:pt x="41" y="15"/>
                </a:lnTo>
                <a:lnTo>
                  <a:pt x="41" y="43"/>
                </a:lnTo>
                <a:lnTo>
                  <a:pt x="29" y="43"/>
                </a:lnTo>
                <a:lnTo>
                  <a:pt x="29" y="51"/>
                </a:lnTo>
                <a:lnTo>
                  <a:pt x="28" y="103"/>
                </a:lnTo>
                <a:lnTo>
                  <a:pt x="14" y="106"/>
                </a:lnTo>
                <a:lnTo>
                  <a:pt x="0" y="14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3" name="Freeform 848">
            <a:extLst>
              <a:ext uri="{FF2B5EF4-FFF2-40B4-BE49-F238E27FC236}">
                <a16:creationId xmlns:a16="http://schemas.microsoft.com/office/drawing/2014/main" id="{EBD29889-D0B4-43B9-8442-B91A3B9BE83C}"/>
              </a:ext>
            </a:extLst>
          </p:cNvPr>
          <p:cNvSpPr>
            <a:spLocks/>
          </p:cNvSpPr>
          <p:nvPr/>
        </p:nvSpPr>
        <p:spPr bwMode="auto">
          <a:xfrm>
            <a:off x="4544045" y="5764724"/>
            <a:ext cx="19452" cy="25608"/>
          </a:xfrm>
          <a:custGeom>
            <a:avLst/>
            <a:gdLst>
              <a:gd name="T0" fmla="*/ 0 w 17"/>
              <a:gd name="T1" fmla="*/ 12 h 23"/>
              <a:gd name="T2" fmla="*/ 0 w 17"/>
              <a:gd name="T3" fmla="*/ 12 h 23"/>
              <a:gd name="T4" fmla="*/ 9 w 17"/>
              <a:gd name="T5" fmla="*/ 22 h 23"/>
              <a:gd name="T6" fmla="*/ 16 w 17"/>
              <a:gd name="T7" fmla="*/ 14 h 23"/>
              <a:gd name="T8" fmla="*/ 14 w 17"/>
              <a:gd name="T9" fmla="*/ 0 h 23"/>
              <a:gd name="T10" fmla="*/ 0 w 17"/>
              <a:gd name="T11" fmla="*/ 12 h 23"/>
              <a:gd name="T12" fmla="*/ 0 w 17"/>
              <a:gd name="T13" fmla="*/ 12 h 23"/>
              <a:gd name="T14" fmla="*/ 0 60000 65536"/>
              <a:gd name="T15" fmla="*/ 0 60000 65536"/>
              <a:gd name="T16" fmla="*/ 0 60000 65536"/>
              <a:gd name="T17" fmla="*/ 0 60000 65536"/>
              <a:gd name="T18" fmla="*/ 0 60000 65536"/>
              <a:gd name="T19" fmla="*/ 0 60000 65536"/>
              <a:gd name="T20" fmla="*/ 0 60000 65536"/>
              <a:gd name="T21" fmla="*/ 0 w 17"/>
              <a:gd name="T22" fmla="*/ 0 h 23"/>
              <a:gd name="T23" fmla="*/ 17 w 17"/>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3">
                <a:moveTo>
                  <a:pt x="0" y="12"/>
                </a:moveTo>
                <a:lnTo>
                  <a:pt x="0" y="12"/>
                </a:lnTo>
                <a:lnTo>
                  <a:pt x="9" y="22"/>
                </a:lnTo>
                <a:lnTo>
                  <a:pt x="16" y="14"/>
                </a:lnTo>
                <a:lnTo>
                  <a:pt x="14" y="0"/>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4" name="Freeform 849">
            <a:extLst>
              <a:ext uri="{FF2B5EF4-FFF2-40B4-BE49-F238E27FC236}">
                <a16:creationId xmlns:a16="http://schemas.microsoft.com/office/drawing/2014/main" id="{21F0D43F-287D-4CDA-B746-2C8A66A82376}"/>
              </a:ext>
            </a:extLst>
          </p:cNvPr>
          <p:cNvSpPr>
            <a:spLocks/>
          </p:cNvSpPr>
          <p:nvPr/>
        </p:nvSpPr>
        <p:spPr bwMode="auto">
          <a:xfrm>
            <a:off x="4526881" y="5382839"/>
            <a:ext cx="169350" cy="162552"/>
          </a:xfrm>
          <a:custGeom>
            <a:avLst/>
            <a:gdLst>
              <a:gd name="T0" fmla="*/ 0 w 148"/>
              <a:gd name="T1" fmla="*/ 46 h 146"/>
              <a:gd name="T2" fmla="*/ 0 w 148"/>
              <a:gd name="T3" fmla="*/ 46 h 146"/>
              <a:gd name="T4" fmla="*/ 1 w 148"/>
              <a:gd name="T5" fmla="*/ 74 h 146"/>
              <a:gd name="T6" fmla="*/ 19 w 148"/>
              <a:gd name="T7" fmla="*/ 103 h 146"/>
              <a:gd name="T8" fmla="*/ 44 w 148"/>
              <a:gd name="T9" fmla="*/ 115 h 146"/>
              <a:gd name="T10" fmla="*/ 57 w 148"/>
              <a:gd name="T11" fmla="*/ 118 h 146"/>
              <a:gd name="T12" fmla="*/ 72 w 148"/>
              <a:gd name="T13" fmla="*/ 145 h 146"/>
              <a:gd name="T14" fmla="*/ 127 w 148"/>
              <a:gd name="T15" fmla="*/ 142 h 146"/>
              <a:gd name="T16" fmla="*/ 147 w 148"/>
              <a:gd name="T17" fmla="*/ 130 h 146"/>
              <a:gd name="T18" fmla="*/ 126 w 148"/>
              <a:gd name="T19" fmla="*/ 72 h 146"/>
              <a:gd name="T20" fmla="*/ 132 w 148"/>
              <a:gd name="T21" fmla="*/ 50 h 146"/>
              <a:gd name="T22" fmla="*/ 61 w 148"/>
              <a:gd name="T23" fmla="*/ 0 h 146"/>
              <a:gd name="T24" fmla="*/ 43 w 148"/>
              <a:gd name="T25" fmla="*/ 25 h 146"/>
              <a:gd name="T26" fmla="*/ 35 w 148"/>
              <a:gd name="T27" fmla="*/ 18 h 146"/>
              <a:gd name="T28" fmla="*/ 29 w 148"/>
              <a:gd name="T29" fmla="*/ 24 h 146"/>
              <a:gd name="T30" fmla="*/ 29 w 148"/>
              <a:gd name="T31" fmla="*/ 0 h 146"/>
              <a:gd name="T32" fmla="*/ 11 w 148"/>
              <a:gd name="T33" fmla="*/ 1 h 146"/>
              <a:gd name="T34" fmla="*/ 14 w 148"/>
              <a:gd name="T35" fmla="*/ 19 h 146"/>
              <a:gd name="T36" fmla="*/ 15 w 148"/>
              <a:gd name="T37" fmla="*/ 30 h 146"/>
              <a:gd name="T38" fmla="*/ 0 w 148"/>
              <a:gd name="T39" fmla="*/ 46 h 146"/>
              <a:gd name="T40" fmla="*/ 0 w 148"/>
              <a:gd name="T41" fmla="*/ 46 h 1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46"/>
              <a:gd name="T65" fmla="*/ 148 w 148"/>
              <a:gd name="T66" fmla="*/ 146 h 1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46">
                <a:moveTo>
                  <a:pt x="0" y="46"/>
                </a:moveTo>
                <a:lnTo>
                  <a:pt x="0" y="46"/>
                </a:lnTo>
                <a:lnTo>
                  <a:pt x="1" y="74"/>
                </a:lnTo>
                <a:lnTo>
                  <a:pt x="19" y="103"/>
                </a:lnTo>
                <a:lnTo>
                  <a:pt x="44" y="115"/>
                </a:lnTo>
                <a:lnTo>
                  <a:pt x="57" y="118"/>
                </a:lnTo>
                <a:lnTo>
                  <a:pt x="72" y="145"/>
                </a:lnTo>
                <a:lnTo>
                  <a:pt x="127" y="142"/>
                </a:lnTo>
                <a:lnTo>
                  <a:pt x="147" y="130"/>
                </a:lnTo>
                <a:lnTo>
                  <a:pt x="126" y="72"/>
                </a:lnTo>
                <a:lnTo>
                  <a:pt x="132" y="50"/>
                </a:lnTo>
                <a:lnTo>
                  <a:pt x="61" y="0"/>
                </a:lnTo>
                <a:lnTo>
                  <a:pt x="43" y="25"/>
                </a:lnTo>
                <a:lnTo>
                  <a:pt x="35" y="18"/>
                </a:lnTo>
                <a:lnTo>
                  <a:pt x="29" y="24"/>
                </a:lnTo>
                <a:lnTo>
                  <a:pt x="29" y="0"/>
                </a:lnTo>
                <a:lnTo>
                  <a:pt x="11" y="1"/>
                </a:lnTo>
                <a:lnTo>
                  <a:pt x="14" y="19"/>
                </a:lnTo>
                <a:lnTo>
                  <a:pt x="15" y="30"/>
                </a:lnTo>
                <a:lnTo>
                  <a:pt x="0" y="4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5" name="Freeform 850">
            <a:extLst>
              <a:ext uri="{FF2B5EF4-FFF2-40B4-BE49-F238E27FC236}">
                <a16:creationId xmlns:a16="http://schemas.microsoft.com/office/drawing/2014/main" id="{ABF8C690-9AB9-49DF-AC8F-3A1B953C7881}"/>
              </a:ext>
            </a:extLst>
          </p:cNvPr>
          <p:cNvSpPr>
            <a:spLocks/>
          </p:cNvSpPr>
          <p:nvPr/>
        </p:nvSpPr>
        <p:spPr bwMode="auto">
          <a:xfrm>
            <a:off x="4060024" y="5199133"/>
            <a:ext cx="34328" cy="79049"/>
          </a:xfrm>
          <a:custGeom>
            <a:avLst/>
            <a:gdLst>
              <a:gd name="T0" fmla="*/ 0 w 30"/>
              <a:gd name="T1" fmla="*/ 0 h 71"/>
              <a:gd name="T2" fmla="*/ 0 w 30"/>
              <a:gd name="T3" fmla="*/ 0 h 71"/>
              <a:gd name="T4" fmla="*/ 15 w 30"/>
              <a:gd name="T5" fmla="*/ 4 h 71"/>
              <a:gd name="T6" fmla="*/ 29 w 30"/>
              <a:gd name="T7" fmla="*/ 67 h 71"/>
              <a:gd name="T8" fmla="*/ 19 w 30"/>
              <a:gd name="T9" fmla="*/ 70 h 71"/>
              <a:gd name="T10" fmla="*/ 0 w 30"/>
              <a:gd name="T11" fmla="*/ 0 h 71"/>
              <a:gd name="T12" fmla="*/ 0 w 30"/>
              <a:gd name="T13" fmla="*/ 0 h 71"/>
              <a:gd name="T14" fmla="*/ 0 60000 65536"/>
              <a:gd name="T15" fmla="*/ 0 60000 65536"/>
              <a:gd name="T16" fmla="*/ 0 60000 65536"/>
              <a:gd name="T17" fmla="*/ 0 60000 65536"/>
              <a:gd name="T18" fmla="*/ 0 60000 65536"/>
              <a:gd name="T19" fmla="*/ 0 60000 65536"/>
              <a:gd name="T20" fmla="*/ 0 60000 65536"/>
              <a:gd name="T21" fmla="*/ 0 w 30"/>
              <a:gd name="T22" fmla="*/ 0 h 71"/>
              <a:gd name="T23" fmla="*/ 30 w 30"/>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71">
                <a:moveTo>
                  <a:pt x="0" y="0"/>
                </a:moveTo>
                <a:lnTo>
                  <a:pt x="0" y="0"/>
                </a:lnTo>
                <a:lnTo>
                  <a:pt x="15" y="4"/>
                </a:lnTo>
                <a:lnTo>
                  <a:pt x="29" y="67"/>
                </a:lnTo>
                <a:lnTo>
                  <a:pt x="19" y="70"/>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6" name="Freeform 851">
            <a:extLst>
              <a:ext uri="{FF2B5EF4-FFF2-40B4-BE49-F238E27FC236}">
                <a16:creationId xmlns:a16="http://schemas.microsoft.com/office/drawing/2014/main" id="{E3F0EFE2-BC71-410C-B51D-B34F896014ED}"/>
              </a:ext>
            </a:extLst>
          </p:cNvPr>
          <p:cNvSpPr>
            <a:spLocks/>
          </p:cNvSpPr>
          <p:nvPr/>
        </p:nvSpPr>
        <p:spPr bwMode="auto">
          <a:xfrm>
            <a:off x="4526881" y="5308243"/>
            <a:ext cx="84675" cy="81276"/>
          </a:xfrm>
          <a:custGeom>
            <a:avLst/>
            <a:gdLst>
              <a:gd name="T0" fmla="*/ 0 w 74"/>
              <a:gd name="T1" fmla="*/ 72 h 73"/>
              <a:gd name="T2" fmla="*/ 0 w 74"/>
              <a:gd name="T3" fmla="*/ 72 h 73"/>
              <a:gd name="T4" fmla="*/ 11 w 74"/>
              <a:gd name="T5" fmla="*/ 68 h 73"/>
              <a:gd name="T6" fmla="*/ 29 w 74"/>
              <a:gd name="T7" fmla="*/ 67 h 73"/>
              <a:gd name="T8" fmla="*/ 29 w 74"/>
              <a:gd name="T9" fmla="*/ 57 h 73"/>
              <a:gd name="T10" fmla="*/ 58 w 74"/>
              <a:gd name="T11" fmla="*/ 51 h 73"/>
              <a:gd name="T12" fmla="*/ 73 w 74"/>
              <a:gd name="T13" fmla="*/ 26 h 73"/>
              <a:gd name="T14" fmla="*/ 58 w 74"/>
              <a:gd name="T15" fmla="*/ 0 h 73"/>
              <a:gd name="T16" fmla="*/ 16 w 74"/>
              <a:gd name="T17" fmla="*/ 5 h 73"/>
              <a:gd name="T18" fmla="*/ 21 w 74"/>
              <a:gd name="T19" fmla="*/ 24 h 73"/>
              <a:gd name="T20" fmla="*/ 12 w 74"/>
              <a:gd name="T21" fmla="*/ 37 h 73"/>
              <a:gd name="T22" fmla="*/ 0 w 74"/>
              <a:gd name="T23" fmla="*/ 72 h 73"/>
              <a:gd name="T24" fmla="*/ 0 w 74"/>
              <a:gd name="T25" fmla="*/ 72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
              <a:gd name="T40" fmla="*/ 0 h 73"/>
              <a:gd name="T41" fmla="*/ 74 w 74"/>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 h="73">
                <a:moveTo>
                  <a:pt x="0" y="72"/>
                </a:moveTo>
                <a:lnTo>
                  <a:pt x="0" y="72"/>
                </a:lnTo>
                <a:lnTo>
                  <a:pt x="11" y="68"/>
                </a:lnTo>
                <a:lnTo>
                  <a:pt x="29" y="67"/>
                </a:lnTo>
                <a:lnTo>
                  <a:pt x="29" y="57"/>
                </a:lnTo>
                <a:lnTo>
                  <a:pt x="58" y="51"/>
                </a:lnTo>
                <a:lnTo>
                  <a:pt x="73" y="26"/>
                </a:lnTo>
                <a:lnTo>
                  <a:pt x="58" y="0"/>
                </a:lnTo>
                <a:lnTo>
                  <a:pt x="16" y="5"/>
                </a:lnTo>
                <a:lnTo>
                  <a:pt x="21" y="24"/>
                </a:lnTo>
                <a:lnTo>
                  <a:pt x="12" y="37"/>
                </a:lnTo>
                <a:lnTo>
                  <a:pt x="0" y="7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7" name="Freeform 852">
            <a:extLst>
              <a:ext uri="{FF2B5EF4-FFF2-40B4-BE49-F238E27FC236}">
                <a16:creationId xmlns:a16="http://schemas.microsoft.com/office/drawing/2014/main" id="{54372FEB-36D5-41EF-9588-6403ECD97FEB}"/>
              </a:ext>
            </a:extLst>
          </p:cNvPr>
          <p:cNvSpPr>
            <a:spLocks/>
          </p:cNvSpPr>
          <p:nvPr/>
        </p:nvSpPr>
        <p:spPr bwMode="auto">
          <a:xfrm>
            <a:off x="4445639" y="4875142"/>
            <a:ext cx="176215" cy="160325"/>
          </a:xfrm>
          <a:custGeom>
            <a:avLst/>
            <a:gdLst>
              <a:gd name="T0" fmla="*/ 0 w 154"/>
              <a:gd name="T1" fmla="*/ 24 h 144"/>
              <a:gd name="T2" fmla="*/ 0 w 154"/>
              <a:gd name="T3" fmla="*/ 24 h 144"/>
              <a:gd name="T4" fmla="*/ 6 w 154"/>
              <a:gd name="T5" fmla="*/ 140 h 144"/>
              <a:gd name="T6" fmla="*/ 129 w 154"/>
              <a:gd name="T7" fmla="*/ 143 h 144"/>
              <a:gd name="T8" fmla="*/ 150 w 154"/>
              <a:gd name="T9" fmla="*/ 125 h 144"/>
              <a:gd name="T10" fmla="*/ 153 w 154"/>
              <a:gd name="T11" fmla="*/ 113 h 144"/>
              <a:gd name="T12" fmla="*/ 107 w 154"/>
              <a:gd name="T13" fmla="*/ 30 h 144"/>
              <a:gd name="T14" fmla="*/ 129 w 154"/>
              <a:gd name="T15" fmla="*/ 57 h 144"/>
              <a:gd name="T16" fmla="*/ 140 w 154"/>
              <a:gd name="T17" fmla="*/ 34 h 144"/>
              <a:gd name="T18" fmla="*/ 129 w 154"/>
              <a:gd name="T19" fmla="*/ 5 h 144"/>
              <a:gd name="T20" fmla="*/ 100 w 154"/>
              <a:gd name="T21" fmla="*/ 10 h 144"/>
              <a:gd name="T22" fmla="*/ 100 w 154"/>
              <a:gd name="T23" fmla="*/ 2 h 144"/>
              <a:gd name="T24" fmla="*/ 85 w 154"/>
              <a:gd name="T25" fmla="*/ 2 h 144"/>
              <a:gd name="T26" fmla="*/ 59 w 154"/>
              <a:gd name="T27" fmla="*/ 12 h 144"/>
              <a:gd name="T28" fmla="*/ 6 w 154"/>
              <a:gd name="T29" fmla="*/ 0 h 144"/>
              <a:gd name="T30" fmla="*/ 0 w 154"/>
              <a:gd name="T31" fmla="*/ 24 h 144"/>
              <a:gd name="T32" fmla="*/ 0 w 154"/>
              <a:gd name="T33" fmla="*/ 24 h 1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4"/>
              <a:gd name="T52" fmla="*/ 0 h 144"/>
              <a:gd name="T53" fmla="*/ 154 w 154"/>
              <a:gd name="T54" fmla="*/ 144 h 14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4" h="144">
                <a:moveTo>
                  <a:pt x="0" y="24"/>
                </a:moveTo>
                <a:lnTo>
                  <a:pt x="0" y="24"/>
                </a:lnTo>
                <a:lnTo>
                  <a:pt x="6" y="140"/>
                </a:lnTo>
                <a:lnTo>
                  <a:pt x="129" y="143"/>
                </a:lnTo>
                <a:lnTo>
                  <a:pt x="150" y="125"/>
                </a:lnTo>
                <a:lnTo>
                  <a:pt x="153" y="113"/>
                </a:lnTo>
                <a:lnTo>
                  <a:pt x="107" y="30"/>
                </a:lnTo>
                <a:lnTo>
                  <a:pt x="129" y="57"/>
                </a:lnTo>
                <a:lnTo>
                  <a:pt x="140" y="34"/>
                </a:lnTo>
                <a:lnTo>
                  <a:pt x="129" y="5"/>
                </a:lnTo>
                <a:lnTo>
                  <a:pt x="100" y="10"/>
                </a:lnTo>
                <a:lnTo>
                  <a:pt x="100" y="2"/>
                </a:lnTo>
                <a:lnTo>
                  <a:pt x="85" y="2"/>
                </a:lnTo>
                <a:lnTo>
                  <a:pt x="59" y="12"/>
                </a:lnTo>
                <a:lnTo>
                  <a:pt x="6" y="0"/>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8" name="Freeform 853">
            <a:extLst>
              <a:ext uri="{FF2B5EF4-FFF2-40B4-BE49-F238E27FC236}">
                <a16:creationId xmlns:a16="http://schemas.microsoft.com/office/drawing/2014/main" id="{EF6C8537-8511-49E7-A9E1-0022384E5493}"/>
              </a:ext>
            </a:extLst>
          </p:cNvPr>
          <p:cNvSpPr>
            <a:spLocks/>
          </p:cNvSpPr>
          <p:nvPr/>
        </p:nvSpPr>
        <p:spPr bwMode="auto">
          <a:xfrm>
            <a:off x="3982215" y="5141237"/>
            <a:ext cx="117858" cy="84616"/>
          </a:xfrm>
          <a:custGeom>
            <a:avLst/>
            <a:gdLst>
              <a:gd name="T0" fmla="*/ 0 w 103"/>
              <a:gd name="T1" fmla="*/ 63 h 76"/>
              <a:gd name="T2" fmla="*/ 0 w 103"/>
              <a:gd name="T3" fmla="*/ 63 h 76"/>
              <a:gd name="T4" fmla="*/ 7 w 103"/>
              <a:gd name="T5" fmla="*/ 72 h 76"/>
              <a:gd name="T6" fmla="*/ 34 w 103"/>
              <a:gd name="T7" fmla="*/ 75 h 76"/>
              <a:gd name="T8" fmla="*/ 32 w 103"/>
              <a:gd name="T9" fmla="*/ 56 h 76"/>
              <a:gd name="T10" fmla="*/ 68 w 103"/>
              <a:gd name="T11" fmla="*/ 52 h 76"/>
              <a:gd name="T12" fmla="*/ 83 w 103"/>
              <a:gd name="T13" fmla="*/ 56 h 76"/>
              <a:gd name="T14" fmla="*/ 102 w 103"/>
              <a:gd name="T15" fmla="*/ 42 h 76"/>
              <a:gd name="T16" fmla="*/ 76 w 103"/>
              <a:gd name="T17" fmla="*/ 13 h 76"/>
              <a:gd name="T18" fmla="*/ 73 w 103"/>
              <a:gd name="T19" fmla="*/ 0 h 76"/>
              <a:gd name="T20" fmla="*/ 17 w 103"/>
              <a:gd name="T21" fmla="*/ 24 h 76"/>
              <a:gd name="T22" fmla="*/ 0 w 103"/>
              <a:gd name="T23" fmla="*/ 63 h 76"/>
              <a:gd name="T24" fmla="*/ 0 w 103"/>
              <a:gd name="T25" fmla="*/ 63 h 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3"/>
              <a:gd name="T40" fmla="*/ 0 h 76"/>
              <a:gd name="T41" fmla="*/ 103 w 103"/>
              <a:gd name="T42" fmla="*/ 76 h 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3" h="76">
                <a:moveTo>
                  <a:pt x="0" y="63"/>
                </a:moveTo>
                <a:lnTo>
                  <a:pt x="0" y="63"/>
                </a:lnTo>
                <a:lnTo>
                  <a:pt x="7" y="72"/>
                </a:lnTo>
                <a:lnTo>
                  <a:pt x="34" y="75"/>
                </a:lnTo>
                <a:lnTo>
                  <a:pt x="32" y="56"/>
                </a:lnTo>
                <a:lnTo>
                  <a:pt x="68" y="52"/>
                </a:lnTo>
                <a:lnTo>
                  <a:pt x="83" y="56"/>
                </a:lnTo>
                <a:lnTo>
                  <a:pt x="102" y="42"/>
                </a:lnTo>
                <a:lnTo>
                  <a:pt x="76" y="13"/>
                </a:lnTo>
                <a:lnTo>
                  <a:pt x="73" y="0"/>
                </a:lnTo>
                <a:lnTo>
                  <a:pt x="17" y="24"/>
                </a:lnTo>
                <a:lnTo>
                  <a:pt x="0" y="6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9" name="Freeform 854">
            <a:extLst>
              <a:ext uri="{FF2B5EF4-FFF2-40B4-BE49-F238E27FC236}">
                <a16:creationId xmlns:a16="http://schemas.microsoft.com/office/drawing/2014/main" id="{469F0A00-47B2-4DDD-BF87-88A646D345DE}"/>
              </a:ext>
            </a:extLst>
          </p:cNvPr>
          <p:cNvSpPr>
            <a:spLocks/>
          </p:cNvSpPr>
          <p:nvPr/>
        </p:nvSpPr>
        <p:spPr bwMode="auto">
          <a:xfrm>
            <a:off x="4405590" y="5491948"/>
            <a:ext cx="185370" cy="149191"/>
          </a:xfrm>
          <a:custGeom>
            <a:avLst/>
            <a:gdLst>
              <a:gd name="T0" fmla="*/ 0 w 162"/>
              <a:gd name="T1" fmla="*/ 65 h 134"/>
              <a:gd name="T2" fmla="*/ 0 w 162"/>
              <a:gd name="T3" fmla="*/ 65 h 134"/>
              <a:gd name="T4" fmla="*/ 0 w 162"/>
              <a:gd name="T5" fmla="*/ 116 h 134"/>
              <a:gd name="T6" fmla="*/ 17 w 162"/>
              <a:gd name="T7" fmla="*/ 129 h 134"/>
              <a:gd name="T8" fmla="*/ 43 w 162"/>
              <a:gd name="T9" fmla="*/ 132 h 134"/>
              <a:gd name="T10" fmla="*/ 67 w 162"/>
              <a:gd name="T11" fmla="*/ 133 h 134"/>
              <a:gd name="T12" fmla="*/ 91 w 162"/>
              <a:gd name="T13" fmla="*/ 115 h 134"/>
              <a:gd name="T14" fmla="*/ 92 w 162"/>
              <a:gd name="T15" fmla="*/ 107 h 134"/>
              <a:gd name="T16" fmla="*/ 113 w 162"/>
              <a:gd name="T17" fmla="*/ 102 h 134"/>
              <a:gd name="T18" fmla="*/ 109 w 162"/>
              <a:gd name="T19" fmla="*/ 95 h 134"/>
              <a:gd name="T20" fmla="*/ 153 w 162"/>
              <a:gd name="T21" fmla="*/ 81 h 134"/>
              <a:gd name="T22" fmla="*/ 147 w 162"/>
              <a:gd name="T23" fmla="*/ 75 h 134"/>
              <a:gd name="T24" fmla="*/ 161 w 162"/>
              <a:gd name="T25" fmla="*/ 34 h 134"/>
              <a:gd name="T26" fmla="*/ 150 w 162"/>
              <a:gd name="T27" fmla="*/ 17 h 134"/>
              <a:gd name="T28" fmla="*/ 125 w 162"/>
              <a:gd name="T29" fmla="*/ 5 h 134"/>
              <a:gd name="T30" fmla="*/ 118 w 162"/>
              <a:gd name="T31" fmla="*/ 0 h 134"/>
              <a:gd name="T32" fmla="*/ 93 w 162"/>
              <a:gd name="T33" fmla="*/ 12 h 134"/>
              <a:gd name="T34" fmla="*/ 90 w 162"/>
              <a:gd name="T35" fmla="*/ 48 h 134"/>
              <a:gd name="T36" fmla="*/ 106 w 162"/>
              <a:gd name="T37" fmla="*/ 55 h 134"/>
              <a:gd name="T38" fmla="*/ 106 w 162"/>
              <a:gd name="T39" fmla="*/ 69 h 134"/>
              <a:gd name="T40" fmla="*/ 28 w 162"/>
              <a:gd name="T41" fmla="*/ 37 h 134"/>
              <a:gd name="T42" fmla="*/ 31 w 162"/>
              <a:gd name="T43" fmla="*/ 65 h 134"/>
              <a:gd name="T44" fmla="*/ 0 w 162"/>
              <a:gd name="T45" fmla="*/ 65 h 134"/>
              <a:gd name="T46" fmla="*/ 0 w 162"/>
              <a:gd name="T47" fmla="*/ 65 h 1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2"/>
              <a:gd name="T73" fmla="*/ 0 h 134"/>
              <a:gd name="T74" fmla="*/ 162 w 162"/>
              <a:gd name="T75" fmla="*/ 134 h 13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2" h="134">
                <a:moveTo>
                  <a:pt x="0" y="65"/>
                </a:moveTo>
                <a:lnTo>
                  <a:pt x="0" y="65"/>
                </a:lnTo>
                <a:lnTo>
                  <a:pt x="0" y="116"/>
                </a:lnTo>
                <a:lnTo>
                  <a:pt x="17" y="129"/>
                </a:lnTo>
                <a:lnTo>
                  <a:pt x="43" y="132"/>
                </a:lnTo>
                <a:lnTo>
                  <a:pt x="67" y="133"/>
                </a:lnTo>
                <a:lnTo>
                  <a:pt x="91" y="115"/>
                </a:lnTo>
                <a:lnTo>
                  <a:pt x="92" y="107"/>
                </a:lnTo>
                <a:lnTo>
                  <a:pt x="113" y="102"/>
                </a:lnTo>
                <a:lnTo>
                  <a:pt x="109" y="95"/>
                </a:lnTo>
                <a:lnTo>
                  <a:pt x="153" y="81"/>
                </a:lnTo>
                <a:lnTo>
                  <a:pt x="147" y="75"/>
                </a:lnTo>
                <a:lnTo>
                  <a:pt x="161" y="34"/>
                </a:lnTo>
                <a:lnTo>
                  <a:pt x="150" y="17"/>
                </a:lnTo>
                <a:lnTo>
                  <a:pt x="125" y="5"/>
                </a:lnTo>
                <a:lnTo>
                  <a:pt x="118" y="0"/>
                </a:lnTo>
                <a:lnTo>
                  <a:pt x="93" y="12"/>
                </a:lnTo>
                <a:lnTo>
                  <a:pt x="90" y="48"/>
                </a:lnTo>
                <a:lnTo>
                  <a:pt x="106" y="55"/>
                </a:lnTo>
                <a:lnTo>
                  <a:pt x="106" y="69"/>
                </a:lnTo>
                <a:lnTo>
                  <a:pt x="28" y="37"/>
                </a:lnTo>
                <a:lnTo>
                  <a:pt x="31" y="65"/>
                </a:lnTo>
                <a:lnTo>
                  <a:pt x="0" y="6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0" name="Freeform 855">
            <a:extLst>
              <a:ext uri="{FF2B5EF4-FFF2-40B4-BE49-F238E27FC236}">
                <a16:creationId xmlns:a16="http://schemas.microsoft.com/office/drawing/2014/main" id="{30CB3E4B-42C8-4DF2-B739-CF227DDC8E73}"/>
              </a:ext>
            </a:extLst>
          </p:cNvPr>
          <p:cNvSpPr>
            <a:spLocks/>
          </p:cNvSpPr>
          <p:nvPr/>
        </p:nvSpPr>
        <p:spPr bwMode="auto">
          <a:xfrm>
            <a:off x="4319771" y="5707942"/>
            <a:ext cx="256314" cy="200407"/>
          </a:xfrm>
          <a:custGeom>
            <a:avLst/>
            <a:gdLst>
              <a:gd name="T0" fmla="*/ 0 w 224"/>
              <a:gd name="T1" fmla="*/ 94 h 180"/>
              <a:gd name="T2" fmla="*/ 0 w 224"/>
              <a:gd name="T3" fmla="*/ 94 h 180"/>
              <a:gd name="T4" fmla="*/ 8 w 224"/>
              <a:gd name="T5" fmla="*/ 88 h 180"/>
              <a:gd name="T6" fmla="*/ 17 w 224"/>
              <a:gd name="T7" fmla="*/ 100 h 180"/>
              <a:gd name="T8" fmla="*/ 35 w 224"/>
              <a:gd name="T9" fmla="*/ 100 h 180"/>
              <a:gd name="T10" fmla="*/ 47 w 224"/>
              <a:gd name="T11" fmla="*/ 91 h 180"/>
              <a:gd name="T12" fmla="*/ 47 w 224"/>
              <a:gd name="T13" fmla="*/ 36 h 180"/>
              <a:gd name="T14" fmla="*/ 58 w 224"/>
              <a:gd name="T15" fmla="*/ 50 h 180"/>
              <a:gd name="T16" fmla="*/ 58 w 224"/>
              <a:gd name="T17" fmla="*/ 65 h 180"/>
              <a:gd name="T18" fmla="*/ 77 w 224"/>
              <a:gd name="T19" fmla="*/ 64 h 180"/>
              <a:gd name="T20" fmla="*/ 93 w 224"/>
              <a:gd name="T21" fmla="*/ 47 h 180"/>
              <a:gd name="T22" fmla="*/ 123 w 224"/>
              <a:gd name="T23" fmla="*/ 47 h 180"/>
              <a:gd name="T24" fmla="*/ 174 w 224"/>
              <a:gd name="T25" fmla="*/ 0 h 180"/>
              <a:gd name="T26" fmla="*/ 205 w 224"/>
              <a:gd name="T27" fmla="*/ 6 h 180"/>
              <a:gd name="T28" fmla="*/ 210 w 224"/>
              <a:gd name="T29" fmla="*/ 51 h 180"/>
              <a:gd name="T30" fmla="*/ 196 w 224"/>
              <a:gd name="T31" fmla="*/ 63 h 180"/>
              <a:gd name="T32" fmla="*/ 205 w 224"/>
              <a:gd name="T33" fmla="*/ 73 h 180"/>
              <a:gd name="T34" fmla="*/ 212 w 224"/>
              <a:gd name="T35" fmla="*/ 65 h 180"/>
              <a:gd name="T36" fmla="*/ 223 w 224"/>
              <a:gd name="T37" fmla="*/ 65 h 180"/>
              <a:gd name="T38" fmla="*/ 217 w 224"/>
              <a:gd name="T39" fmla="*/ 91 h 180"/>
              <a:gd name="T40" fmla="*/ 184 w 224"/>
              <a:gd name="T41" fmla="*/ 132 h 180"/>
              <a:gd name="T42" fmla="*/ 144 w 224"/>
              <a:gd name="T43" fmla="*/ 167 h 180"/>
              <a:gd name="T44" fmla="*/ 114 w 224"/>
              <a:gd name="T45" fmla="*/ 178 h 180"/>
              <a:gd name="T46" fmla="*/ 26 w 224"/>
              <a:gd name="T47" fmla="*/ 179 h 180"/>
              <a:gd name="T48" fmla="*/ 19 w 224"/>
              <a:gd name="T49" fmla="*/ 159 h 180"/>
              <a:gd name="T50" fmla="*/ 22 w 224"/>
              <a:gd name="T51" fmla="*/ 143 h 180"/>
              <a:gd name="T52" fmla="*/ 0 w 224"/>
              <a:gd name="T53" fmla="*/ 94 h 180"/>
              <a:gd name="T54" fmla="*/ 0 w 224"/>
              <a:gd name="T55" fmla="*/ 94 h 18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4"/>
              <a:gd name="T85" fmla="*/ 0 h 180"/>
              <a:gd name="T86" fmla="*/ 224 w 224"/>
              <a:gd name="T87" fmla="*/ 180 h 18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4" h="180">
                <a:moveTo>
                  <a:pt x="0" y="94"/>
                </a:moveTo>
                <a:lnTo>
                  <a:pt x="0" y="94"/>
                </a:lnTo>
                <a:lnTo>
                  <a:pt x="8" y="88"/>
                </a:lnTo>
                <a:lnTo>
                  <a:pt x="17" y="100"/>
                </a:lnTo>
                <a:lnTo>
                  <a:pt x="35" y="100"/>
                </a:lnTo>
                <a:lnTo>
                  <a:pt x="47" y="91"/>
                </a:lnTo>
                <a:lnTo>
                  <a:pt x="47" y="36"/>
                </a:lnTo>
                <a:lnTo>
                  <a:pt x="58" y="50"/>
                </a:lnTo>
                <a:lnTo>
                  <a:pt x="58" y="65"/>
                </a:lnTo>
                <a:lnTo>
                  <a:pt x="77" y="64"/>
                </a:lnTo>
                <a:lnTo>
                  <a:pt x="93" y="47"/>
                </a:lnTo>
                <a:lnTo>
                  <a:pt x="123" y="47"/>
                </a:lnTo>
                <a:lnTo>
                  <a:pt x="174" y="0"/>
                </a:lnTo>
                <a:lnTo>
                  <a:pt x="205" y="6"/>
                </a:lnTo>
                <a:lnTo>
                  <a:pt x="210" y="51"/>
                </a:lnTo>
                <a:lnTo>
                  <a:pt x="196" y="63"/>
                </a:lnTo>
                <a:lnTo>
                  <a:pt x="205" y="73"/>
                </a:lnTo>
                <a:lnTo>
                  <a:pt x="212" y="65"/>
                </a:lnTo>
                <a:lnTo>
                  <a:pt x="223" y="65"/>
                </a:lnTo>
                <a:lnTo>
                  <a:pt x="217" y="91"/>
                </a:lnTo>
                <a:lnTo>
                  <a:pt x="184" y="132"/>
                </a:lnTo>
                <a:lnTo>
                  <a:pt x="144" y="167"/>
                </a:lnTo>
                <a:lnTo>
                  <a:pt x="114" y="178"/>
                </a:lnTo>
                <a:lnTo>
                  <a:pt x="26" y="179"/>
                </a:lnTo>
                <a:lnTo>
                  <a:pt x="19" y="159"/>
                </a:lnTo>
                <a:lnTo>
                  <a:pt x="22" y="143"/>
                </a:lnTo>
                <a:lnTo>
                  <a:pt x="0" y="9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1" name="Freeform 856">
            <a:extLst>
              <a:ext uri="{FF2B5EF4-FFF2-40B4-BE49-F238E27FC236}">
                <a16:creationId xmlns:a16="http://schemas.microsoft.com/office/drawing/2014/main" id="{3CFFF04C-0086-4A1E-9B0B-90F93BCE689C}"/>
              </a:ext>
            </a:extLst>
          </p:cNvPr>
          <p:cNvSpPr>
            <a:spLocks/>
          </p:cNvSpPr>
          <p:nvPr/>
        </p:nvSpPr>
        <p:spPr bwMode="auto">
          <a:xfrm>
            <a:off x="4484543" y="5814826"/>
            <a:ext cx="36616" cy="36741"/>
          </a:xfrm>
          <a:custGeom>
            <a:avLst/>
            <a:gdLst>
              <a:gd name="T0" fmla="*/ 0 w 32"/>
              <a:gd name="T1" fmla="*/ 16 h 33"/>
              <a:gd name="T2" fmla="*/ 0 w 32"/>
              <a:gd name="T3" fmla="*/ 16 h 33"/>
              <a:gd name="T4" fmla="*/ 11 w 32"/>
              <a:gd name="T5" fmla="*/ 32 h 33"/>
              <a:gd name="T6" fmla="*/ 31 w 32"/>
              <a:gd name="T7" fmla="*/ 16 h 33"/>
              <a:gd name="T8" fmla="*/ 22 w 32"/>
              <a:gd name="T9" fmla="*/ 0 h 33"/>
              <a:gd name="T10" fmla="*/ 0 w 32"/>
              <a:gd name="T11" fmla="*/ 16 h 33"/>
              <a:gd name="T12" fmla="*/ 0 w 32"/>
              <a:gd name="T13" fmla="*/ 16 h 33"/>
              <a:gd name="T14" fmla="*/ 0 60000 65536"/>
              <a:gd name="T15" fmla="*/ 0 60000 65536"/>
              <a:gd name="T16" fmla="*/ 0 60000 65536"/>
              <a:gd name="T17" fmla="*/ 0 60000 65536"/>
              <a:gd name="T18" fmla="*/ 0 60000 65536"/>
              <a:gd name="T19" fmla="*/ 0 60000 65536"/>
              <a:gd name="T20" fmla="*/ 0 60000 65536"/>
              <a:gd name="T21" fmla="*/ 0 w 32"/>
              <a:gd name="T22" fmla="*/ 0 h 33"/>
              <a:gd name="T23" fmla="*/ 32 w 3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33">
                <a:moveTo>
                  <a:pt x="0" y="16"/>
                </a:moveTo>
                <a:lnTo>
                  <a:pt x="0" y="16"/>
                </a:lnTo>
                <a:lnTo>
                  <a:pt x="11" y="32"/>
                </a:lnTo>
                <a:lnTo>
                  <a:pt x="31" y="16"/>
                </a:lnTo>
                <a:lnTo>
                  <a:pt x="22" y="0"/>
                </a:lnTo>
                <a:lnTo>
                  <a:pt x="0" y="1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2" name="Freeform 857">
            <a:extLst>
              <a:ext uri="{FF2B5EF4-FFF2-40B4-BE49-F238E27FC236}">
                <a16:creationId xmlns:a16="http://schemas.microsoft.com/office/drawing/2014/main" id="{796536A7-650A-470B-B60A-89CB4DCDAE12}"/>
              </a:ext>
            </a:extLst>
          </p:cNvPr>
          <p:cNvSpPr>
            <a:spLocks/>
          </p:cNvSpPr>
          <p:nvPr/>
        </p:nvSpPr>
        <p:spPr bwMode="auto">
          <a:xfrm>
            <a:off x="4200768" y="4825041"/>
            <a:ext cx="49203" cy="30061"/>
          </a:xfrm>
          <a:custGeom>
            <a:avLst/>
            <a:gdLst>
              <a:gd name="T0" fmla="*/ 2 w 43"/>
              <a:gd name="T1" fmla="*/ 25 h 27"/>
              <a:gd name="T2" fmla="*/ 11 w 43"/>
              <a:gd name="T3" fmla="*/ 26 h 27"/>
              <a:gd name="T4" fmla="*/ 15 w 43"/>
              <a:gd name="T5" fmla="*/ 25 h 27"/>
              <a:gd name="T6" fmla="*/ 20 w 43"/>
              <a:gd name="T7" fmla="*/ 22 h 27"/>
              <a:gd name="T8" fmla="*/ 29 w 43"/>
              <a:gd name="T9" fmla="*/ 20 h 27"/>
              <a:gd name="T10" fmla="*/ 37 w 43"/>
              <a:gd name="T11" fmla="*/ 18 h 27"/>
              <a:gd name="T12" fmla="*/ 40 w 43"/>
              <a:gd name="T13" fmla="*/ 11 h 27"/>
              <a:gd name="T14" fmla="*/ 42 w 43"/>
              <a:gd name="T15" fmla="*/ 7 h 27"/>
              <a:gd name="T16" fmla="*/ 33 w 43"/>
              <a:gd name="T17" fmla="*/ 0 h 27"/>
              <a:gd name="T18" fmla="*/ 0 w 43"/>
              <a:gd name="T19" fmla="*/ 7 h 27"/>
              <a:gd name="T20" fmla="*/ 0 w 43"/>
              <a:gd name="T21" fmla="*/ 25 h 27"/>
              <a:gd name="T22" fmla="*/ 2 w 43"/>
              <a:gd name="T23" fmla="*/ 25 h 27"/>
              <a:gd name="T24" fmla="*/ 2 w 43"/>
              <a:gd name="T25" fmla="*/ 25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27"/>
              <a:gd name="T41" fmla="*/ 43 w 43"/>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27">
                <a:moveTo>
                  <a:pt x="2" y="25"/>
                </a:moveTo>
                <a:lnTo>
                  <a:pt x="11" y="26"/>
                </a:lnTo>
                <a:lnTo>
                  <a:pt x="15" y="25"/>
                </a:lnTo>
                <a:lnTo>
                  <a:pt x="20" y="22"/>
                </a:lnTo>
                <a:lnTo>
                  <a:pt x="29" y="20"/>
                </a:lnTo>
                <a:lnTo>
                  <a:pt x="37" y="18"/>
                </a:lnTo>
                <a:lnTo>
                  <a:pt x="40" y="11"/>
                </a:lnTo>
                <a:lnTo>
                  <a:pt x="42" y="7"/>
                </a:lnTo>
                <a:lnTo>
                  <a:pt x="33" y="0"/>
                </a:lnTo>
                <a:lnTo>
                  <a:pt x="0" y="7"/>
                </a:lnTo>
                <a:lnTo>
                  <a:pt x="0" y="25"/>
                </a:lnTo>
                <a:lnTo>
                  <a:pt x="2"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3" name="Freeform 858">
            <a:extLst>
              <a:ext uri="{FF2B5EF4-FFF2-40B4-BE49-F238E27FC236}">
                <a16:creationId xmlns:a16="http://schemas.microsoft.com/office/drawing/2014/main" id="{28B07DF0-DD4F-4107-9049-E64C336BD23E}"/>
              </a:ext>
            </a:extLst>
          </p:cNvPr>
          <p:cNvSpPr>
            <a:spLocks/>
          </p:cNvSpPr>
          <p:nvPr/>
        </p:nvSpPr>
        <p:spPr bwMode="auto">
          <a:xfrm>
            <a:off x="4177883" y="4783846"/>
            <a:ext cx="62934" cy="114677"/>
          </a:xfrm>
          <a:custGeom>
            <a:avLst/>
            <a:gdLst>
              <a:gd name="T0" fmla="*/ 0 w 55"/>
              <a:gd name="T1" fmla="*/ 47 h 103"/>
              <a:gd name="T2" fmla="*/ 0 w 55"/>
              <a:gd name="T3" fmla="*/ 47 h 103"/>
              <a:gd name="T4" fmla="*/ 12 w 55"/>
              <a:gd name="T5" fmla="*/ 38 h 103"/>
              <a:gd name="T6" fmla="*/ 18 w 55"/>
              <a:gd name="T7" fmla="*/ 1 h 103"/>
              <a:gd name="T8" fmla="*/ 51 w 55"/>
              <a:gd name="T9" fmla="*/ 0 h 103"/>
              <a:gd name="T10" fmla="*/ 42 w 55"/>
              <a:gd name="T11" fmla="*/ 12 h 103"/>
              <a:gd name="T12" fmla="*/ 52 w 55"/>
              <a:gd name="T13" fmla="*/ 28 h 103"/>
              <a:gd name="T14" fmla="*/ 33 w 55"/>
              <a:gd name="T15" fmla="*/ 47 h 103"/>
              <a:gd name="T16" fmla="*/ 54 w 55"/>
              <a:gd name="T17" fmla="*/ 60 h 103"/>
              <a:gd name="T18" fmla="*/ 27 w 55"/>
              <a:gd name="T19" fmla="*/ 102 h 103"/>
              <a:gd name="T20" fmla="*/ 23 w 55"/>
              <a:gd name="T21" fmla="*/ 75 h 103"/>
              <a:gd name="T22" fmla="*/ 0 w 55"/>
              <a:gd name="T23" fmla="*/ 47 h 103"/>
              <a:gd name="T24" fmla="*/ 0 w 55"/>
              <a:gd name="T25" fmla="*/ 47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103"/>
              <a:gd name="T41" fmla="*/ 55 w 55"/>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103">
                <a:moveTo>
                  <a:pt x="0" y="47"/>
                </a:moveTo>
                <a:lnTo>
                  <a:pt x="0" y="47"/>
                </a:lnTo>
                <a:lnTo>
                  <a:pt x="12" y="38"/>
                </a:lnTo>
                <a:lnTo>
                  <a:pt x="18" y="1"/>
                </a:lnTo>
                <a:lnTo>
                  <a:pt x="51" y="0"/>
                </a:lnTo>
                <a:lnTo>
                  <a:pt x="42" y="12"/>
                </a:lnTo>
                <a:lnTo>
                  <a:pt x="52" y="28"/>
                </a:lnTo>
                <a:lnTo>
                  <a:pt x="33" y="47"/>
                </a:lnTo>
                <a:lnTo>
                  <a:pt x="54" y="60"/>
                </a:lnTo>
                <a:lnTo>
                  <a:pt x="27" y="102"/>
                </a:lnTo>
                <a:lnTo>
                  <a:pt x="23" y="75"/>
                </a:lnTo>
                <a:lnTo>
                  <a:pt x="0" y="4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4" name="Freeform 859">
            <a:extLst>
              <a:ext uri="{FF2B5EF4-FFF2-40B4-BE49-F238E27FC236}">
                <a16:creationId xmlns:a16="http://schemas.microsoft.com/office/drawing/2014/main" id="{6222FCC7-32FF-4D0B-84C0-6C5967B837B7}"/>
              </a:ext>
            </a:extLst>
          </p:cNvPr>
          <p:cNvSpPr>
            <a:spLocks/>
          </p:cNvSpPr>
          <p:nvPr/>
        </p:nvSpPr>
        <p:spPr bwMode="auto">
          <a:xfrm>
            <a:off x="4247281" y="4523887"/>
            <a:ext cx="105121" cy="45970"/>
          </a:xfrm>
          <a:custGeom>
            <a:avLst/>
            <a:gdLst>
              <a:gd name="T0" fmla="*/ 0 w 90"/>
              <a:gd name="T1" fmla="*/ 23633520 h 43"/>
              <a:gd name="T2" fmla="*/ 0 w 90"/>
              <a:gd name="T3" fmla="*/ 23633520 h 43"/>
              <a:gd name="T4" fmla="*/ 38709597 w 90"/>
              <a:gd name="T5" fmla="*/ 66175857 h 43"/>
              <a:gd name="T6" fmla="*/ 104838504 w 90"/>
              <a:gd name="T7" fmla="*/ 64600540 h 43"/>
              <a:gd name="T8" fmla="*/ 143548091 w 90"/>
              <a:gd name="T9" fmla="*/ 40965765 h 43"/>
              <a:gd name="T10" fmla="*/ 59677300 w 90"/>
              <a:gd name="T11" fmla="*/ 9453155 h 43"/>
              <a:gd name="T12" fmla="*/ 48387003 w 90"/>
              <a:gd name="T13" fmla="*/ 0 h 43"/>
              <a:gd name="T14" fmla="*/ 0 w 90"/>
              <a:gd name="T15" fmla="*/ 23633520 h 43"/>
              <a:gd name="T16" fmla="*/ 0 w 90"/>
              <a:gd name="T17" fmla="*/ 2363352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43"/>
              <a:gd name="T29" fmla="*/ 90 w 90"/>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43">
                <a:moveTo>
                  <a:pt x="0" y="15"/>
                </a:moveTo>
                <a:lnTo>
                  <a:pt x="0" y="15"/>
                </a:lnTo>
                <a:lnTo>
                  <a:pt x="24" y="42"/>
                </a:lnTo>
                <a:lnTo>
                  <a:pt x="65" y="41"/>
                </a:lnTo>
                <a:lnTo>
                  <a:pt x="89" y="26"/>
                </a:lnTo>
                <a:lnTo>
                  <a:pt x="37" y="6"/>
                </a:lnTo>
                <a:lnTo>
                  <a:pt x="30" y="0"/>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5" name="Freeform 860">
            <a:extLst>
              <a:ext uri="{FF2B5EF4-FFF2-40B4-BE49-F238E27FC236}">
                <a16:creationId xmlns:a16="http://schemas.microsoft.com/office/drawing/2014/main" id="{E86832F6-2D52-4754-BB9D-E56F6A7E8713}"/>
              </a:ext>
            </a:extLst>
          </p:cNvPr>
          <p:cNvSpPr>
            <a:spLocks/>
          </p:cNvSpPr>
          <p:nvPr/>
        </p:nvSpPr>
        <p:spPr bwMode="auto">
          <a:xfrm>
            <a:off x="4393287" y="4408949"/>
            <a:ext cx="89061" cy="66251"/>
          </a:xfrm>
          <a:custGeom>
            <a:avLst/>
            <a:gdLst>
              <a:gd name="T0" fmla="*/ 0 w 78"/>
              <a:gd name="T1" fmla="*/ 12590929 h 58"/>
              <a:gd name="T2" fmla="*/ 33909086 w 78"/>
              <a:gd name="T3" fmla="*/ 8993902 h 58"/>
              <a:gd name="T4" fmla="*/ 60110943 w 78"/>
              <a:gd name="T5" fmla="*/ 0 h 58"/>
              <a:gd name="T6" fmla="*/ 95561981 w 78"/>
              <a:gd name="T7" fmla="*/ 7195391 h 58"/>
              <a:gd name="T8" fmla="*/ 118682426 w 78"/>
              <a:gd name="T9" fmla="*/ 21584828 h 58"/>
              <a:gd name="T10" fmla="*/ 104809911 w 78"/>
              <a:gd name="T11" fmla="*/ 34175757 h 58"/>
              <a:gd name="T12" fmla="*/ 87854752 w 78"/>
              <a:gd name="T13" fmla="*/ 35974269 h 58"/>
              <a:gd name="T14" fmla="*/ 67818172 w 78"/>
              <a:gd name="T15" fmla="*/ 55760591 h 58"/>
              <a:gd name="T16" fmla="*/ 53946898 w 78"/>
              <a:gd name="T17" fmla="*/ 102528622 h 58"/>
              <a:gd name="T18" fmla="*/ 44697726 w 78"/>
              <a:gd name="T19" fmla="*/ 82742290 h 58"/>
              <a:gd name="T20" fmla="*/ 18495865 w 78"/>
              <a:gd name="T21" fmla="*/ 80943778 h 58"/>
              <a:gd name="T22" fmla="*/ 35449787 w 78"/>
              <a:gd name="T23" fmla="*/ 43169657 h 58"/>
              <a:gd name="T24" fmla="*/ 0 w 78"/>
              <a:gd name="T25" fmla="*/ 30578733 h 58"/>
              <a:gd name="T26" fmla="*/ 0 w 78"/>
              <a:gd name="T27" fmla="*/ 12590929 h 58"/>
              <a:gd name="T28" fmla="*/ 0 w 78"/>
              <a:gd name="T29" fmla="*/ 12590929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8"/>
              <a:gd name="T46" fmla="*/ 0 h 58"/>
              <a:gd name="T47" fmla="*/ 78 w 78"/>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8" h="58">
                <a:moveTo>
                  <a:pt x="0" y="7"/>
                </a:moveTo>
                <a:lnTo>
                  <a:pt x="22" y="5"/>
                </a:lnTo>
                <a:lnTo>
                  <a:pt x="39" y="0"/>
                </a:lnTo>
                <a:lnTo>
                  <a:pt x="62" y="4"/>
                </a:lnTo>
                <a:lnTo>
                  <a:pt x="77" y="12"/>
                </a:lnTo>
                <a:lnTo>
                  <a:pt x="68" y="19"/>
                </a:lnTo>
                <a:lnTo>
                  <a:pt x="57" y="20"/>
                </a:lnTo>
                <a:lnTo>
                  <a:pt x="44" y="31"/>
                </a:lnTo>
                <a:lnTo>
                  <a:pt x="35" y="57"/>
                </a:lnTo>
                <a:lnTo>
                  <a:pt x="29" y="46"/>
                </a:lnTo>
                <a:lnTo>
                  <a:pt x="12" y="45"/>
                </a:lnTo>
                <a:lnTo>
                  <a:pt x="23" y="24"/>
                </a:lnTo>
                <a:lnTo>
                  <a:pt x="0" y="17"/>
                </a:lnTo>
                <a:lnTo>
                  <a:pt x="0"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6" name="Freeform 861">
            <a:extLst>
              <a:ext uri="{FF2B5EF4-FFF2-40B4-BE49-F238E27FC236}">
                <a16:creationId xmlns:a16="http://schemas.microsoft.com/office/drawing/2014/main" id="{1D89F624-F74E-456A-AF09-7B4A51BE1AA0}"/>
              </a:ext>
            </a:extLst>
          </p:cNvPr>
          <p:cNvSpPr>
            <a:spLocks/>
          </p:cNvSpPr>
          <p:nvPr/>
        </p:nvSpPr>
        <p:spPr bwMode="auto">
          <a:xfrm>
            <a:off x="4368478" y="4430582"/>
            <a:ext cx="51101" cy="32449"/>
          </a:xfrm>
          <a:custGeom>
            <a:avLst/>
            <a:gdLst>
              <a:gd name="T0" fmla="*/ 67080589 w 45"/>
              <a:gd name="T1" fmla="*/ 15534291 h 29"/>
              <a:gd name="T2" fmla="*/ 51835342 w 45"/>
              <a:gd name="T3" fmla="*/ 48329201 h 29"/>
              <a:gd name="T4" fmla="*/ 0 w 45"/>
              <a:gd name="T5" fmla="*/ 39698886 h 29"/>
              <a:gd name="T6" fmla="*/ 21343603 w 45"/>
              <a:gd name="T7" fmla="*/ 18986938 h 29"/>
              <a:gd name="T8" fmla="*/ 35065190 w 45"/>
              <a:gd name="T9" fmla="*/ 0 h 29"/>
              <a:gd name="T10" fmla="*/ 67080589 w 45"/>
              <a:gd name="T11" fmla="*/ 15534291 h 29"/>
              <a:gd name="T12" fmla="*/ 67080589 w 45"/>
              <a:gd name="T13" fmla="*/ 15534291 h 29"/>
              <a:gd name="T14" fmla="*/ 0 60000 65536"/>
              <a:gd name="T15" fmla="*/ 0 60000 65536"/>
              <a:gd name="T16" fmla="*/ 0 60000 65536"/>
              <a:gd name="T17" fmla="*/ 0 60000 65536"/>
              <a:gd name="T18" fmla="*/ 0 60000 65536"/>
              <a:gd name="T19" fmla="*/ 0 60000 65536"/>
              <a:gd name="T20" fmla="*/ 0 60000 65536"/>
              <a:gd name="T21" fmla="*/ 0 w 45"/>
              <a:gd name="T22" fmla="*/ 0 h 29"/>
              <a:gd name="T23" fmla="*/ 45 w 45"/>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9">
                <a:moveTo>
                  <a:pt x="44" y="9"/>
                </a:moveTo>
                <a:lnTo>
                  <a:pt x="34" y="28"/>
                </a:lnTo>
                <a:lnTo>
                  <a:pt x="0" y="23"/>
                </a:lnTo>
                <a:lnTo>
                  <a:pt x="14" y="11"/>
                </a:lnTo>
                <a:lnTo>
                  <a:pt x="23" y="0"/>
                </a:lnTo>
                <a:lnTo>
                  <a:pt x="44"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7" name="Freeform 862">
            <a:extLst>
              <a:ext uri="{FF2B5EF4-FFF2-40B4-BE49-F238E27FC236}">
                <a16:creationId xmlns:a16="http://schemas.microsoft.com/office/drawing/2014/main" id="{4F937EC5-8BD0-4FB5-A35C-E02B89B93606}"/>
              </a:ext>
            </a:extLst>
          </p:cNvPr>
          <p:cNvSpPr/>
          <p:nvPr/>
        </p:nvSpPr>
        <p:spPr bwMode="auto">
          <a:xfrm>
            <a:off x="5352654" y="5920384"/>
            <a:ext cx="115174" cy="186522"/>
          </a:xfrm>
          <a:custGeom>
            <a:avLst/>
            <a:gdLst>
              <a:gd name="connsiteX0" fmla="*/ 91373 w 171041"/>
              <a:gd name="connsiteY0" fmla="*/ 28656 h 209754"/>
              <a:gd name="connsiteX1" fmla="*/ 156688 w 171041"/>
              <a:gd name="connsiteY1" fmla="*/ 13583 h 209754"/>
              <a:gd name="connsiteX2" fmla="*/ 156688 w 171041"/>
              <a:gd name="connsiteY2" fmla="*/ 204502 h 209754"/>
              <a:gd name="connsiteX3" fmla="*/ 938 w 171041"/>
              <a:gd name="connsiteY3" fmla="*/ 154260 h 209754"/>
              <a:gd name="connsiteX4" fmla="*/ 91373 w 171041"/>
              <a:gd name="connsiteY4" fmla="*/ 134164 h 209754"/>
              <a:gd name="connsiteX5" fmla="*/ 91373 w 171041"/>
              <a:gd name="connsiteY5" fmla="*/ 28656 h 209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041" h="209754">
                <a:moveTo>
                  <a:pt x="91373" y="28656"/>
                </a:moveTo>
                <a:cubicBezTo>
                  <a:pt x="102259" y="8559"/>
                  <a:pt x="145802" y="-15725"/>
                  <a:pt x="156688" y="13583"/>
                </a:cubicBezTo>
                <a:cubicBezTo>
                  <a:pt x="167574" y="42891"/>
                  <a:pt x="182646" y="181056"/>
                  <a:pt x="156688" y="204502"/>
                </a:cubicBezTo>
                <a:cubicBezTo>
                  <a:pt x="130730" y="227948"/>
                  <a:pt x="11824" y="165983"/>
                  <a:pt x="938" y="154260"/>
                </a:cubicBezTo>
                <a:cubicBezTo>
                  <a:pt x="-9948" y="142537"/>
                  <a:pt x="77138" y="150911"/>
                  <a:pt x="91373" y="134164"/>
                </a:cubicBezTo>
                <a:cubicBezTo>
                  <a:pt x="105608" y="117417"/>
                  <a:pt x="80487" y="48753"/>
                  <a:pt x="91373" y="28656"/>
                </a:cubicBezTo>
                <a:close/>
              </a:path>
            </a:pathLst>
          </a:custGeom>
          <a:solidFill>
            <a:srgbClr val="00B050"/>
          </a:solidFill>
          <a:ln w="12700">
            <a:solidFill>
              <a:srgbClr val="FFFFFF"/>
            </a:solidFill>
            <a:round/>
            <a:headEnd/>
            <a:tailEnd/>
          </a:ln>
        </p:spPr>
        <p:txBody>
          <a:bodyPr lIns="0" tIns="0" rIns="0" bIns="0" anchor="ctr">
            <a:spAutoFit/>
          </a:bodyPr>
          <a:lstStyle/>
          <a:p>
            <a:endParaRPr lang="en-US" kern="0" dirty="0">
              <a:solidFill>
                <a:sysClr val="windowText" lastClr="000000"/>
              </a:solidFill>
            </a:endParaRPr>
          </a:p>
        </p:txBody>
      </p:sp>
      <p:sp>
        <p:nvSpPr>
          <p:cNvPr id="317" name="Graphic 7" descr="Rating Star with solid fill">
            <a:extLst>
              <a:ext uri="{FF2B5EF4-FFF2-40B4-BE49-F238E27FC236}">
                <a16:creationId xmlns:a16="http://schemas.microsoft.com/office/drawing/2014/main" id="{57846E48-217C-4B20-8EAA-F792C5644C39}"/>
              </a:ext>
            </a:extLst>
          </p:cNvPr>
          <p:cNvSpPr/>
          <p:nvPr/>
        </p:nvSpPr>
        <p:spPr>
          <a:xfrm>
            <a:off x="8166351" y="2116831"/>
            <a:ext cx="876299" cy="295275"/>
          </a:xfrm>
          <a:custGeom>
            <a:avLst/>
            <a:gdLst>
              <a:gd name="connsiteX0" fmla="*/ 51673 w 876299"/>
              <a:gd name="connsiteY0" fmla="*/ 295275 h 295275"/>
              <a:gd name="connsiteX1" fmla="*/ 147638 w 876299"/>
              <a:gd name="connsiteY1" fmla="*/ 228838 h 295275"/>
              <a:gd name="connsiteX2" fmla="*/ 243602 w 876299"/>
              <a:gd name="connsiteY2" fmla="*/ 295275 h 295275"/>
              <a:gd name="connsiteX3" fmla="*/ 210388 w 876299"/>
              <a:gd name="connsiteY3" fmla="*/ 184556 h 295275"/>
              <a:gd name="connsiteX4" fmla="*/ 292894 w 876299"/>
              <a:gd name="connsiteY4" fmla="*/ 112814 h 295275"/>
              <a:gd name="connsiteX5" fmla="*/ 375399 w 876299"/>
              <a:gd name="connsiteY5" fmla="*/ 184556 h 295275"/>
              <a:gd name="connsiteX6" fmla="*/ 342186 w 876299"/>
              <a:gd name="connsiteY6" fmla="*/ 295275 h 295275"/>
              <a:gd name="connsiteX7" fmla="*/ 438150 w 876299"/>
              <a:gd name="connsiteY7" fmla="*/ 228838 h 295275"/>
              <a:gd name="connsiteX8" fmla="*/ 534114 w 876299"/>
              <a:gd name="connsiteY8" fmla="*/ 295275 h 295275"/>
              <a:gd name="connsiteX9" fmla="*/ 500901 w 876299"/>
              <a:gd name="connsiteY9" fmla="*/ 184556 h 295275"/>
              <a:gd name="connsiteX10" fmla="*/ 583406 w 876299"/>
              <a:gd name="connsiteY10" fmla="*/ 112814 h 295275"/>
              <a:gd name="connsiteX11" fmla="*/ 665912 w 876299"/>
              <a:gd name="connsiteY11" fmla="*/ 184556 h 295275"/>
              <a:gd name="connsiteX12" fmla="*/ 632698 w 876299"/>
              <a:gd name="connsiteY12" fmla="*/ 295275 h 295275"/>
              <a:gd name="connsiteX13" fmla="*/ 728662 w 876299"/>
              <a:gd name="connsiteY13" fmla="*/ 228838 h 295275"/>
              <a:gd name="connsiteX14" fmla="*/ 824627 w 876299"/>
              <a:gd name="connsiteY14" fmla="*/ 295275 h 295275"/>
              <a:gd name="connsiteX15" fmla="*/ 791404 w 876299"/>
              <a:gd name="connsiteY15" fmla="*/ 184556 h 295275"/>
              <a:gd name="connsiteX16" fmla="*/ 876300 w 876299"/>
              <a:gd name="connsiteY16" fmla="*/ 110738 h 295275"/>
              <a:gd name="connsiteX17" fmla="*/ 765572 w 876299"/>
              <a:gd name="connsiteY17" fmla="*/ 110738 h 295275"/>
              <a:gd name="connsiteX18" fmla="*/ 728662 w 876299"/>
              <a:gd name="connsiteY18" fmla="*/ 0 h 295275"/>
              <a:gd name="connsiteX19" fmla="*/ 691753 w 876299"/>
              <a:gd name="connsiteY19" fmla="*/ 110738 h 295275"/>
              <a:gd name="connsiteX20" fmla="*/ 475059 w 876299"/>
              <a:gd name="connsiteY20" fmla="*/ 110738 h 295275"/>
              <a:gd name="connsiteX21" fmla="*/ 438150 w 876299"/>
              <a:gd name="connsiteY21" fmla="*/ 0 h 295275"/>
              <a:gd name="connsiteX22" fmla="*/ 401241 w 876299"/>
              <a:gd name="connsiteY22" fmla="*/ 110738 h 295275"/>
              <a:gd name="connsiteX23" fmla="*/ 184547 w 876299"/>
              <a:gd name="connsiteY23" fmla="*/ 110738 h 295275"/>
              <a:gd name="connsiteX24" fmla="*/ 147638 w 876299"/>
              <a:gd name="connsiteY24" fmla="*/ 0 h 295275"/>
              <a:gd name="connsiteX25" fmla="*/ 110728 w 876299"/>
              <a:gd name="connsiteY25" fmla="*/ 110738 h 295275"/>
              <a:gd name="connsiteX26" fmla="*/ 0 w 876299"/>
              <a:gd name="connsiteY26" fmla="*/ 110738 h 295275"/>
              <a:gd name="connsiteX27" fmla="*/ 84887 w 876299"/>
              <a:gd name="connsiteY27" fmla="*/ 184556 h 295275"/>
              <a:gd name="connsiteX28" fmla="*/ 691753 w 876299"/>
              <a:gd name="connsiteY28" fmla="*/ 129778 h 295275"/>
              <a:gd name="connsiteX29" fmla="*/ 705479 w 876299"/>
              <a:gd name="connsiteY29" fmla="*/ 129778 h 295275"/>
              <a:gd name="connsiteX30" fmla="*/ 709822 w 876299"/>
              <a:gd name="connsiteY30" fmla="*/ 116757 h 295275"/>
              <a:gd name="connsiteX31" fmla="*/ 728662 w 876299"/>
              <a:gd name="connsiteY31" fmla="*/ 60246 h 295275"/>
              <a:gd name="connsiteX32" fmla="*/ 747503 w 876299"/>
              <a:gd name="connsiteY32" fmla="*/ 116757 h 295275"/>
              <a:gd name="connsiteX33" fmla="*/ 751837 w 876299"/>
              <a:gd name="connsiteY33" fmla="*/ 129778 h 295275"/>
              <a:gd name="connsiteX34" fmla="*/ 825360 w 876299"/>
              <a:gd name="connsiteY34" fmla="*/ 129778 h 295275"/>
              <a:gd name="connsiteX35" fmla="*/ 778907 w 876299"/>
              <a:gd name="connsiteY35" fmla="*/ 170174 h 295275"/>
              <a:gd name="connsiteX36" fmla="*/ 769630 w 876299"/>
              <a:gd name="connsiteY36" fmla="*/ 178241 h 295275"/>
              <a:gd name="connsiteX37" fmla="*/ 773163 w 876299"/>
              <a:gd name="connsiteY37" fmla="*/ 190024 h 295275"/>
              <a:gd name="connsiteX38" fmla="*/ 790747 w 876299"/>
              <a:gd name="connsiteY38" fmla="*/ 248650 h 295275"/>
              <a:gd name="connsiteX39" fmla="*/ 739502 w 876299"/>
              <a:gd name="connsiteY39" fmla="*/ 213179 h 295275"/>
              <a:gd name="connsiteX40" fmla="*/ 728662 w 876299"/>
              <a:gd name="connsiteY40" fmla="*/ 205673 h 295275"/>
              <a:gd name="connsiteX41" fmla="*/ 717814 w 876299"/>
              <a:gd name="connsiteY41" fmla="*/ 213179 h 295275"/>
              <a:gd name="connsiteX42" fmla="*/ 666569 w 876299"/>
              <a:gd name="connsiteY42" fmla="*/ 248650 h 295275"/>
              <a:gd name="connsiteX43" fmla="*/ 684162 w 876299"/>
              <a:gd name="connsiteY43" fmla="*/ 190024 h 295275"/>
              <a:gd name="connsiteX44" fmla="*/ 687696 w 876299"/>
              <a:gd name="connsiteY44" fmla="*/ 178241 h 295275"/>
              <a:gd name="connsiteX45" fmla="*/ 678418 w 876299"/>
              <a:gd name="connsiteY45" fmla="*/ 170174 h 295275"/>
              <a:gd name="connsiteX46" fmla="*/ 631965 w 876299"/>
              <a:gd name="connsiteY46" fmla="*/ 12977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76299" h="295275">
                <a:moveTo>
                  <a:pt x="51673" y="295275"/>
                </a:moveTo>
                <a:lnTo>
                  <a:pt x="147638" y="228838"/>
                </a:lnTo>
                <a:lnTo>
                  <a:pt x="243602" y="295275"/>
                </a:lnTo>
                <a:lnTo>
                  <a:pt x="210388" y="184556"/>
                </a:lnTo>
                <a:lnTo>
                  <a:pt x="292894" y="112814"/>
                </a:lnTo>
                <a:lnTo>
                  <a:pt x="375399" y="184556"/>
                </a:lnTo>
                <a:lnTo>
                  <a:pt x="342186" y="295275"/>
                </a:lnTo>
                <a:lnTo>
                  <a:pt x="438150" y="228838"/>
                </a:lnTo>
                <a:lnTo>
                  <a:pt x="534114" y="295275"/>
                </a:lnTo>
                <a:lnTo>
                  <a:pt x="500901" y="184556"/>
                </a:lnTo>
                <a:lnTo>
                  <a:pt x="583406" y="112814"/>
                </a:lnTo>
                <a:lnTo>
                  <a:pt x="665912" y="184556"/>
                </a:lnTo>
                <a:lnTo>
                  <a:pt x="632698" y="295275"/>
                </a:lnTo>
                <a:lnTo>
                  <a:pt x="728662" y="228838"/>
                </a:lnTo>
                <a:lnTo>
                  <a:pt x="824627" y="295275"/>
                </a:lnTo>
                <a:lnTo>
                  <a:pt x="791404" y="184556"/>
                </a:lnTo>
                <a:lnTo>
                  <a:pt x="876300" y="110738"/>
                </a:lnTo>
                <a:lnTo>
                  <a:pt x="765572" y="110738"/>
                </a:lnTo>
                <a:lnTo>
                  <a:pt x="728662" y="0"/>
                </a:lnTo>
                <a:lnTo>
                  <a:pt x="691753" y="110738"/>
                </a:lnTo>
                <a:lnTo>
                  <a:pt x="475059" y="110738"/>
                </a:lnTo>
                <a:lnTo>
                  <a:pt x="438150" y="0"/>
                </a:lnTo>
                <a:lnTo>
                  <a:pt x="401241" y="110738"/>
                </a:lnTo>
                <a:lnTo>
                  <a:pt x="184547" y="110738"/>
                </a:lnTo>
                <a:lnTo>
                  <a:pt x="147638" y="0"/>
                </a:lnTo>
                <a:lnTo>
                  <a:pt x="110728" y="110738"/>
                </a:lnTo>
                <a:lnTo>
                  <a:pt x="0" y="110738"/>
                </a:lnTo>
                <a:lnTo>
                  <a:pt x="84887" y="184556"/>
                </a:lnTo>
                <a:close/>
                <a:moveTo>
                  <a:pt x="691753" y="129778"/>
                </a:moveTo>
                <a:lnTo>
                  <a:pt x="705479" y="129778"/>
                </a:lnTo>
                <a:lnTo>
                  <a:pt x="709822" y="116757"/>
                </a:lnTo>
                <a:lnTo>
                  <a:pt x="728662" y="60246"/>
                </a:lnTo>
                <a:lnTo>
                  <a:pt x="747503" y="116757"/>
                </a:lnTo>
                <a:lnTo>
                  <a:pt x="751837" y="129778"/>
                </a:lnTo>
                <a:lnTo>
                  <a:pt x="825360" y="129778"/>
                </a:lnTo>
                <a:lnTo>
                  <a:pt x="778907" y="170174"/>
                </a:lnTo>
                <a:lnTo>
                  <a:pt x="769630" y="178241"/>
                </a:lnTo>
                <a:lnTo>
                  <a:pt x="773163" y="190024"/>
                </a:lnTo>
                <a:lnTo>
                  <a:pt x="790747" y="248650"/>
                </a:lnTo>
                <a:lnTo>
                  <a:pt x="739502" y="213179"/>
                </a:lnTo>
                <a:lnTo>
                  <a:pt x="728662" y="205673"/>
                </a:lnTo>
                <a:lnTo>
                  <a:pt x="717814" y="213179"/>
                </a:lnTo>
                <a:lnTo>
                  <a:pt x="666569" y="248650"/>
                </a:lnTo>
                <a:lnTo>
                  <a:pt x="684162" y="190024"/>
                </a:lnTo>
                <a:lnTo>
                  <a:pt x="687696" y="178241"/>
                </a:lnTo>
                <a:lnTo>
                  <a:pt x="678418" y="170174"/>
                </a:lnTo>
                <a:lnTo>
                  <a:pt x="631965" y="129778"/>
                </a:lnTo>
                <a:close/>
              </a:path>
            </a:pathLst>
          </a:custGeom>
          <a:solidFill>
            <a:srgbClr val="F3D26A"/>
          </a:solidFill>
          <a:ln w="9525" cap="flat">
            <a:noFill/>
            <a:prstDash val="solid"/>
            <a:miter/>
          </a:ln>
        </p:spPr>
        <p:txBody>
          <a:bodyPr rtlCol="0" anchor="ctr"/>
          <a:lstStyle/>
          <a:p>
            <a:endParaRPr lang="en-US" dirty="0"/>
          </a:p>
        </p:txBody>
      </p:sp>
      <p:sp>
        <p:nvSpPr>
          <p:cNvPr id="318" name="Graphic 7" descr="Rating Star with solid fill">
            <a:extLst>
              <a:ext uri="{FF2B5EF4-FFF2-40B4-BE49-F238E27FC236}">
                <a16:creationId xmlns:a16="http://schemas.microsoft.com/office/drawing/2014/main" id="{7DCF6023-52B1-4514-840B-3C2A31F07EAD}"/>
              </a:ext>
            </a:extLst>
          </p:cNvPr>
          <p:cNvSpPr/>
          <p:nvPr/>
        </p:nvSpPr>
        <p:spPr>
          <a:xfrm>
            <a:off x="8757478" y="2116831"/>
            <a:ext cx="876299" cy="295275"/>
          </a:xfrm>
          <a:custGeom>
            <a:avLst/>
            <a:gdLst>
              <a:gd name="connsiteX0" fmla="*/ 51673 w 876299"/>
              <a:gd name="connsiteY0" fmla="*/ 295275 h 295275"/>
              <a:gd name="connsiteX1" fmla="*/ 147638 w 876299"/>
              <a:gd name="connsiteY1" fmla="*/ 228838 h 295275"/>
              <a:gd name="connsiteX2" fmla="*/ 243602 w 876299"/>
              <a:gd name="connsiteY2" fmla="*/ 295275 h 295275"/>
              <a:gd name="connsiteX3" fmla="*/ 210388 w 876299"/>
              <a:gd name="connsiteY3" fmla="*/ 184556 h 295275"/>
              <a:gd name="connsiteX4" fmla="*/ 292894 w 876299"/>
              <a:gd name="connsiteY4" fmla="*/ 112814 h 295275"/>
              <a:gd name="connsiteX5" fmla="*/ 375399 w 876299"/>
              <a:gd name="connsiteY5" fmla="*/ 184556 h 295275"/>
              <a:gd name="connsiteX6" fmla="*/ 342186 w 876299"/>
              <a:gd name="connsiteY6" fmla="*/ 295275 h 295275"/>
              <a:gd name="connsiteX7" fmla="*/ 438150 w 876299"/>
              <a:gd name="connsiteY7" fmla="*/ 228838 h 295275"/>
              <a:gd name="connsiteX8" fmla="*/ 534114 w 876299"/>
              <a:gd name="connsiteY8" fmla="*/ 295275 h 295275"/>
              <a:gd name="connsiteX9" fmla="*/ 500901 w 876299"/>
              <a:gd name="connsiteY9" fmla="*/ 184556 h 295275"/>
              <a:gd name="connsiteX10" fmla="*/ 583406 w 876299"/>
              <a:gd name="connsiteY10" fmla="*/ 112814 h 295275"/>
              <a:gd name="connsiteX11" fmla="*/ 665912 w 876299"/>
              <a:gd name="connsiteY11" fmla="*/ 184556 h 295275"/>
              <a:gd name="connsiteX12" fmla="*/ 632698 w 876299"/>
              <a:gd name="connsiteY12" fmla="*/ 295275 h 295275"/>
              <a:gd name="connsiteX13" fmla="*/ 728662 w 876299"/>
              <a:gd name="connsiteY13" fmla="*/ 228838 h 295275"/>
              <a:gd name="connsiteX14" fmla="*/ 824627 w 876299"/>
              <a:gd name="connsiteY14" fmla="*/ 295275 h 295275"/>
              <a:gd name="connsiteX15" fmla="*/ 791404 w 876299"/>
              <a:gd name="connsiteY15" fmla="*/ 184556 h 295275"/>
              <a:gd name="connsiteX16" fmla="*/ 876300 w 876299"/>
              <a:gd name="connsiteY16" fmla="*/ 110738 h 295275"/>
              <a:gd name="connsiteX17" fmla="*/ 765572 w 876299"/>
              <a:gd name="connsiteY17" fmla="*/ 110738 h 295275"/>
              <a:gd name="connsiteX18" fmla="*/ 728662 w 876299"/>
              <a:gd name="connsiteY18" fmla="*/ 0 h 295275"/>
              <a:gd name="connsiteX19" fmla="*/ 691753 w 876299"/>
              <a:gd name="connsiteY19" fmla="*/ 110738 h 295275"/>
              <a:gd name="connsiteX20" fmla="*/ 475059 w 876299"/>
              <a:gd name="connsiteY20" fmla="*/ 110738 h 295275"/>
              <a:gd name="connsiteX21" fmla="*/ 438150 w 876299"/>
              <a:gd name="connsiteY21" fmla="*/ 0 h 295275"/>
              <a:gd name="connsiteX22" fmla="*/ 401241 w 876299"/>
              <a:gd name="connsiteY22" fmla="*/ 110738 h 295275"/>
              <a:gd name="connsiteX23" fmla="*/ 184547 w 876299"/>
              <a:gd name="connsiteY23" fmla="*/ 110738 h 295275"/>
              <a:gd name="connsiteX24" fmla="*/ 147638 w 876299"/>
              <a:gd name="connsiteY24" fmla="*/ 0 h 295275"/>
              <a:gd name="connsiteX25" fmla="*/ 110728 w 876299"/>
              <a:gd name="connsiteY25" fmla="*/ 110738 h 295275"/>
              <a:gd name="connsiteX26" fmla="*/ 0 w 876299"/>
              <a:gd name="connsiteY26" fmla="*/ 110738 h 295275"/>
              <a:gd name="connsiteX27" fmla="*/ 84887 w 876299"/>
              <a:gd name="connsiteY27" fmla="*/ 184556 h 295275"/>
              <a:gd name="connsiteX28" fmla="*/ 691753 w 876299"/>
              <a:gd name="connsiteY28" fmla="*/ 129778 h 295275"/>
              <a:gd name="connsiteX29" fmla="*/ 705479 w 876299"/>
              <a:gd name="connsiteY29" fmla="*/ 129778 h 295275"/>
              <a:gd name="connsiteX30" fmla="*/ 709822 w 876299"/>
              <a:gd name="connsiteY30" fmla="*/ 116757 h 295275"/>
              <a:gd name="connsiteX31" fmla="*/ 728662 w 876299"/>
              <a:gd name="connsiteY31" fmla="*/ 60246 h 295275"/>
              <a:gd name="connsiteX32" fmla="*/ 747503 w 876299"/>
              <a:gd name="connsiteY32" fmla="*/ 116757 h 295275"/>
              <a:gd name="connsiteX33" fmla="*/ 751837 w 876299"/>
              <a:gd name="connsiteY33" fmla="*/ 129778 h 295275"/>
              <a:gd name="connsiteX34" fmla="*/ 825360 w 876299"/>
              <a:gd name="connsiteY34" fmla="*/ 129778 h 295275"/>
              <a:gd name="connsiteX35" fmla="*/ 778907 w 876299"/>
              <a:gd name="connsiteY35" fmla="*/ 170174 h 295275"/>
              <a:gd name="connsiteX36" fmla="*/ 769630 w 876299"/>
              <a:gd name="connsiteY36" fmla="*/ 178241 h 295275"/>
              <a:gd name="connsiteX37" fmla="*/ 773163 w 876299"/>
              <a:gd name="connsiteY37" fmla="*/ 190024 h 295275"/>
              <a:gd name="connsiteX38" fmla="*/ 790747 w 876299"/>
              <a:gd name="connsiteY38" fmla="*/ 248650 h 295275"/>
              <a:gd name="connsiteX39" fmla="*/ 739502 w 876299"/>
              <a:gd name="connsiteY39" fmla="*/ 213179 h 295275"/>
              <a:gd name="connsiteX40" fmla="*/ 728662 w 876299"/>
              <a:gd name="connsiteY40" fmla="*/ 205673 h 295275"/>
              <a:gd name="connsiteX41" fmla="*/ 717814 w 876299"/>
              <a:gd name="connsiteY41" fmla="*/ 213179 h 295275"/>
              <a:gd name="connsiteX42" fmla="*/ 666569 w 876299"/>
              <a:gd name="connsiteY42" fmla="*/ 248650 h 295275"/>
              <a:gd name="connsiteX43" fmla="*/ 684162 w 876299"/>
              <a:gd name="connsiteY43" fmla="*/ 190024 h 295275"/>
              <a:gd name="connsiteX44" fmla="*/ 687696 w 876299"/>
              <a:gd name="connsiteY44" fmla="*/ 178241 h 295275"/>
              <a:gd name="connsiteX45" fmla="*/ 678418 w 876299"/>
              <a:gd name="connsiteY45" fmla="*/ 170174 h 295275"/>
              <a:gd name="connsiteX46" fmla="*/ 631965 w 876299"/>
              <a:gd name="connsiteY46" fmla="*/ 12977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76299" h="295275">
                <a:moveTo>
                  <a:pt x="51673" y="295275"/>
                </a:moveTo>
                <a:lnTo>
                  <a:pt x="147638" y="228838"/>
                </a:lnTo>
                <a:lnTo>
                  <a:pt x="243602" y="295275"/>
                </a:lnTo>
                <a:lnTo>
                  <a:pt x="210388" y="184556"/>
                </a:lnTo>
                <a:lnTo>
                  <a:pt x="292894" y="112814"/>
                </a:lnTo>
                <a:lnTo>
                  <a:pt x="375399" y="184556"/>
                </a:lnTo>
                <a:lnTo>
                  <a:pt x="342186" y="295275"/>
                </a:lnTo>
                <a:lnTo>
                  <a:pt x="438150" y="228838"/>
                </a:lnTo>
                <a:lnTo>
                  <a:pt x="534114" y="295275"/>
                </a:lnTo>
                <a:lnTo>
                  <a:pt x="500901" y="184556"/>
                </a:lnTo>
                <a:lnTo>
                  <a:pt x="583406" y="112814"/>
                </a:lnTo>
                <a:lnTo>
                  <a:pt x="665912" y="184556"/>
                </a:lnTo>
                <a:lnTo>
                  <a:pt x="632698" y="295275"/>
                </a:lnTo>
                <a:lnTo>
                  <a:pt x="728662" y="228838"/>
                </a:lnTo>
                <a:lnTo>
                  <a:pt x="824627" y="295275"/>
                </a:lnTo>
                <a:lnTo>
                  <a:pt x="791404" y="184556"/>
                </a:lnTo>
                <a:lnTo>
                  <a:pt x="876300" y="110738"/>
                </a:lnTo>
                <a:lnTo>
                  <a:pt x="765572" y="110738"/>
                </a:lnTo>
                <a:lnTo>
                  <a:pt x="728662" y="0"/>
                </a:lnTo>
                <a:lnTo>
                  <a:pt x="691753" y="110738"/>
                </a:lnTo>
                <a:lnTo>
                  <a:pt x="475059" y="110738"/>
                </a:lnTo>
                <a:lnTo>
                  <a:pt x="438150" y="0"/>
                </a:lnTo>
                <a:lnTo>
                  <a:pt x="401241" y="110738"/>
                </a:lnTo>
                <a:lnTo>
                  <a:pt x="184547" y="110738"/>
                </a:lnTo>
                <a:lnTo>
                  <a:pt x="147638" y="0"/>
                </a:lnTo>
                <a:lnTo>
                  <a:pt x="110728" y="110738"/>
                </a:lnTo>
                <a:lnTo>
                  <a:pt x="0" y="110738"/>
                </a:lnTo>
                <a:lnTo>
                  <a:pt x="84887" y="184556"/>
                </a:lnTo>
                <a:close/>
                <a:moveTo>
                  <a:pt x="691753" y="129778"/>
                </a:moveTo>
                <a:lnTo>
                  <a:pt x="705479" y="129778"/>
                </a:lnTo>
                <a:lnTo>
                  <a:pt x="709822" y="116757"/>
                </a:lnTo>
                <a:lnTo>
                  <a:pt x="728662" y="60246"/>
                </a:lnTo>
                <a:lnTo>
                  <a:pt x="747503" y="116757"/>
                </a:lnTo>
                <a:lnTo>
                  <a:pt x="751837" y="129778"/>
                </a:lnTo>
                <a:lnTo>
                  <a:pt x="825360" y="129778"/>
                </a:lnTo>
                <a:lnTo>
                  <a:pt x="778907" y="170174"/>
                </a:lnTo>
                <a:lnTo>
                  <a:pt x="769630" y="178241"/>
                </a:lnTo>
                <a:lnTo>
                  <a:pt x="773163" y="190024"/>
                </a:lnTo>
                <a:lnTo>
                  <a:pt x="790747" y="248650"/>
                </a:lnTo>
                <a:lnTo>
                  <a:pt x="739502" y="213179"/>
                </a:lnTo>
                <a:lnTo>
                  <a:pt x="728662" y="205673"/>
                </a:lnTo>
                <a:lnTo>
                  <a:pt x="717814" y="213179"/>
                </a:lnTo>
                <a:lnTo>
                  <a:pt x="666569" y="248650"/>
                </a:lnTo>
                <a:lnTo>
                  <a:pt x="684162" y="190024"/>
                </a:lnTo>
                <a:lnTo>
                  <a:pt x="687696" y="178241"/>
                </a:lnTo>
                <a:lnTo>
                  <a:pt x="678418" y="170174"/>
                </a:lnTo>
                <a:lnTo>
                  <a:pt x="631965" y="129778"/>
                </a:lnTo>
                <a:close/>
              </a:path>
            </a:pathLst>
          </a:custGeom>
          <a:solidFill>
            <a:srgbClr val="F3D26A"/>
          </a:solidFill>
          <a:ln w="9525" cap="flat">
            <a:noFill/>
            <a:prstDash val="solid"/>
            <a:miter/>
          </a:ln>
        </p:spPr>
        <p:txBody>
          <a:bodyPr rtlCol="0" anchor="ctr"/>
          <a:lstStyle/>
          <a:p>
            <a:endParaRPr lang="en-US" dirty="0"/>
          </a:p>
        </p:txBody>
      </p:sp>
      <p:pic>
        <p:nvPicPr>
          <p:cNvPr id="10" name="Picture 9">
            <a:extLst>
              <a:ext uri="{FF2B5EF4-FFF2-40B4-BE49-F238E27FC236}">
                <a16:creationId xmlns:a16="http://schemas.microsoft.com/office/drawing/2014/main" id="{A0DB830C-4F68-4EF8-8A4E-2C8D67FD264F}"/>
              </a:ext>
            </a:extLst>
          </p:cNvPr>
          <p:cNvPicPr>
            <a:picLocks noChangeAspect="1"/>
          </p:cNvPicPr>
          <p:nvPr/>
        </p:nvPicPr>
        <p:blipFill rotWithShape="1">
          <a:blip r:embed="rId6"/>
          <a:srcRect t="1" r="49909" b="-904"/>
          <a:stretch/>
        </p:blipFill>
        <p:spPr>
          <a:xfrm>
            <a:off x="9042650" y="2116831"/>
            <a:ext cx="439751" cy="295275"/>
          </a:xfrm>
          <a:prstGeom prst="rect">
            <a:avLst/>
          </a:prstGeom>
        </p:spPr>
      </p:pic>
      <p:sp>
        <p:nvSpPr>
          <p:cNvPr id="11" name="TextBox 10">
            <a:extLst>
              <a:ext uri="{FF2B5EF4-FFF2-40B4-BE49-F238E27FC236}">
                <a16:creationId xmlns:a16="http://schemas.microsoft.com/office/drawing/2014/main" id="{1C1B8EC1-2923-4978-A61D-27E28146FFD1}"/>
              </a:ext>
            </a:extLst>
          </p:cNvPr>
          <p:cNvSpPr txBox="1"/>
          <p:nvPr/>
        </p:nvSpPr>
        <p:spPr>
          <a:xfrm>
            <a:off x="9647425" y="2026005"/>
            <a:ext cx="932873" cy="523220"/>
          </a:xfrm>
          <a:prstGeom prst="rect">
            <a:avLst/>
          </a:prstGeom>
          <a:noFill/>
        </p:spPr>
        <p:txBody>
          <a:bodyPr wrap="square" rtlCol="0">
            <a:spAutoFit/>
          </a:bodyPr>
          <a:lstStyle/>
          <a:p>
            <a:r>
              <a:rPr lang="en-US" sz="2800" dirty="0">
                <a:solidFill>
                  <a:srgbClr val="00B050"/>
                </a:solidFill>
              </a:rPr>
              <a:t>4.8</a:t>
            </a:r>
          </a:p>
        </p:txBody>
      </p:sp>
      <p:pic>
        <p:nvPicPr>
          <p:cNvPr id="320" name="Picture 319">
            <a:extLst>
              <a:ext uri="{FF2B5EF4-FFF2-40B4-BE49-F238E27FC236}">
                <a16:creationId xmlns:a16="http://schemas.microsoft.com/office/drawing/2014/main" id="{CA5C0783-F7AB-4755-937B-E03E5BC4DC33}"/>
              </a:ext>
            </a:extLst>
          </p:cNvPr>
          <p:cNvPicPr>
            <a:picLocks noChangeAspect="1"/>
          </p:cNvPicPr>
          <p:nvPr/>
        </p:nvPicPr>
        <p:blipFill rotWithShape="1">
          <a:blip r:embed="rId7"/>
          <a:srcRect b="9558"/>
          <a:stretch/>
        </p:blipFill>
        <p:spPr>
          <a:xfrm>
            <a:off x="799165" y="2041433"/>
            <a:ext cx="6948204" cy="544747"/>
          </a:xfrm>
          <a:prstGeom prst="rect">
            <a:avLst/>
          </a:prstGeom>
        </p:spPr>
      </p:pic>
      <p:sp>
        <p:nvSpPr>
          <p:cNvPr id="321" name="Rectangle 320">
            <a:extLst>
              <a:ext uri="{FF2B5EF4-FFF2-40B4-BE49-F238E27FC236}">
                <a16:creationId xmlns:a16="http://schemas.microsoft.com/office/drawing/2014/main" id="{D18F414A-28FD-4A65-AF72-CEB65BAF1E6A}"/>
              </a:ext>
            </a:extLst>
          </p:cNvPr>
          <p:cNvSpPr/>
          <p:nvPr/>
        </p:nvSpPr>
        <p:spPr>
          <a:xfrm>
            <a:off x="8087873" y="4321473"/>
            <a:ext cx="3508381" cy="2086865"/>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2" name="TextBox 321">
            <a:extLst>
              <a:ext uri="{FF2B5EF4-FFF2-40B4-BE49-F238E27FC236}">
                <a16:creationId xmlns:a16="http://schemas.microsoft.com/office/drawing/2014/main" id="{5CDF6503-1C7D-45A1-A8DF-D8E13276A75E}"/>
              </a:ext>
            </a:extLst>
          </p:cNvPr>
          <p:cNvSpPr txBox="1"/>
          <p:nvPr/>
        </p:nvSpPr>
        <p:spPr>
          <a:xfrm>
            <a:off x="8064688" y="4347830"/>
            <a:ext cx="3602468" cy="1354217"/>
          </a:xfrm>
          <a:prstGeom prst="rect">
            <a:avLst/>
          </a:prstGeom>
          <a:noFill/>
        </p:spPr>
        <p:txBody>
          <a:bodyPr wrap="square" rtlCol="0">
            <a:spAutoFit/>
          </a:bodyPr>
          <a:lstStyle/>
          <a:p>
            <a:r>
              <a:rPr lang="en-US" dirty="0"/>
              <a:t>Daily rate of our ex-McKinsey, Deloitte and BCG Management Consultants</a:t>
            </a:r>
          </a:p>
          <a:p>
            <a:r>
              <a:rPr lang="en-US" sz="2800" dirty="0">
                <a:solidFill>
                  <a:srgbClr val="00B050"/>
                </a:solidFill>
              </a:rPr>
              <a:t>$3k - $4k</a:t>
            </a:r>
          </a:p>
        </p:txBody>
      </p:sp>
      <p:sp>
        <p:nvSpPr>
          <p:cNvPr id="316" name="Title 1">
            <a:extLst>
              <a:ext uri="{FF2B5EF4-FFF2-40B4-BE49-F238E27FC236}">
                <a16:creationId xmlns:a16="http://schemas.microsoft.com/office/drawing/2014/main" id="{E1807DFC-6E0A-41E9-BAC7-1EE85BC2BECF}"/>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dirty="0"/>
              <a:t>Join the 200,000+ Executives, Consultants &amp; Entrepreneurs leveraging our Business &amp; Consulting Toolkits to improve the performance of their organization and boost their own career</a:t>
            </a:r>
            <a:r>
              <a:rPr lang="en-US" dirty="0"/>
              <a:t>. </a:t>
            </a:r>
            <a:endParaRPr lang="en-US" b="0" kern="0" dirty="0"/>
          </a:p>
        </p:txBody>
      </p:sp>
    </p:spTree>
    <p:extLst>
      <p:ext uri="{BB962C8B-B14F-4D97-AF65-F5344CB8AC3E}">
        <p14:creationId xmlns:p14="http://schemas.microsoft.com/office/powerpoint/2010/main" val="12528262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Context</a:t>
            </a:r>
            <a:br>
              <a:rPr lang="en-US" sz="2400" dirty="0"/>
            </a:br>
            <a:r>
              <a:rPr lang="en-GB" b="0" dirty="0"/>
              <a:t>The advantages &amp; disadvantages of a Mergers and Acquisitions (M&amp;A) Strategy.</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12" name="Rectangle 11">
            <a:extLst>
              <a:ext uri="{FF2B5EF4-FFF2-40B4-BE49-F238E27FC236}">
                <a16:creationId xmlns:a16="http://schemas.microsoft.com/office/drawing/2014/main" id="{8499D2B2-3130-4460-9993-EE970FF78F18}"/>
              </a:ext>
            </a:extLst>
          </p:cNvPr>
          <p:cNvSpPr/>
          <p:nvPr/>
        </p:nvSpPr>
        <p:spPr>
          <a:xfrm>
            <a:off x="1660071" y="2325090"/>
            <a:ext cx="1805948" cy="37654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Mergers and acquisitions Strategy</a:t>
            </a:r>
          </a:p>
        </p:txBody>
      </p:sp>
      <p:sp>
        <p:nvSpPr>
          <p:cNvPr id="14" name="Rectangle 13">
            <a:extLst>
              <a:ext uri="{FF2B5EF4-FFF2-40B4-BE49-F238E27FC236}">
                <a16:creationId xmlns:a16="http://schemas.microsoft.com/office/drawing/2014/main" id="{CE9D3B02-2083-4C33-9BCD-CBAA65735783}"/>
              </a:ext>
            </a:extLst>
          </p:cNvPr>
          <p:cNvSpPr/>
          <p:nvPr/>
        </p:nvSpPr>
        <p:spPr>
          <a:xfrm>
            <a:off x="3565071" y="1983408"/>
            <a:ext cx="2133600" cy="3060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Description</a:t>
            </a:r>
          </a:p>
        </p:txBody>
      </p:sp>
      <p:sp>
        <p:nvSpPr>
          <p:cNvPr id="15" name="Rectangle 14">
            <a:extLst>
              <a:ext uri="{FF2B5EF4-FFF2-40B4-BE49-F238E27FC236}">
                <a16:creationId xmlns:a16="http://schemas.microsoft.com/office/drawing/2014/main" id="{00691945-F80C-4B30-BE19-966CABC57B1A}"/>
              </a:ext>
            </a:extLst>
          </p:cNvPr>
          <p:cNvSpPr/>
          <p:nvPr/>
        </p:nvSpPr>
        <p:spPr>
          <a:xfrm>
            <a:off x="5774871" y="1983408"/>
            <a:ext cx="2133600" cy="3060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Advantages</a:t>
            </a:r>
          </a:p>
        </p:txBody>
      </p:sp>
      <p:sp>
        <p:nvSpPr>
          <p:cNvPr id="17" name="Rectangle 16">
            <a:extLst>
              <a:ext uri="{FF2B5EF4-FFF2-40B4-BE49-F238E27FC236}">
                <a16:creationId xmlns:a16="http://schemas.microsoft.com/office/drawing/2014/main" id="{A80B1594-AD60-4F9B-93D9-03676C3D4B6D}"/>
              </a:ext>
            </a:extLst>
          </p:cNvPr>
          <p:cNvSpPr/>
          <p:nvPr/>
        </p:nvSpPr>
        <p:spPr>
          <a:xfrm>
            <a:off x="7984671" y="1983408"/>
            <a:ext cx="2133600" cy="3060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Disadvantages</a:t>
            </a:r>
          </a:p>
        </p:txBody>
      </p:sp>
      <p:sp>
        <p:nvSpPr>
          <p:cNvPr id="18" name="Rectangle 17">
            <a:extLst>
              <a:ext uri="{FF2B5EF4-FFF2-40B4-BE49-F238E27FC236}">
                <a16:creationId xmlns:a16="http://schemas.microsoft.com/office/drawing/2014/main" id="{D85C8BB8-1472-4AF3-87D2-366173DB4648}"/>
              </a:ext>
            </a:extLst>
          </p:cNvPr>
          <p:cNvSpPr/>
          <p:nvPr/>
        </p:nvSpPr>
        <p:spPr>
          <a:xfrm>
            <a:off x="3565071" y="2325090"/>
            <a:ext cx="2133600" cy="3765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dirty="0">
                <a:solidFill>
                  <a:schemeClr val="tx2"/>
                </a:solidFill>
              </a:rPr>
              <a:t>Mergers and acquisitions (M&amp;A) bring together companies through complete changes in ownership. It has been used by companies for centuries and remains a major way for companies to expand rapidly</a:t>
            </a:r>
          </a:p>
        </p:txBody>
      </p:sp>
      <p:sp>
        <p:nvSpPr>
          <p:cNvPr id="19" name="Rectangle 18">
            <a:extLst>
              <a:ext uri="{FF2B5EF4-FFF2-40B4-BE49-F238E27FC236}">
                <a16:creationId xmlns:a16="http://schemas.microsoft.com/office/drawing/2014/main" id="{880C8DF6-1C76-423F-8457-D972FA32A8F0}"/>
              </a:ext>
            </a:extLst>
          </p:cNvPr>
          <p:cNvSpPr/>
          <p:nvPr/>
        </p:nvSpPr>
        <p:spPr>
          <a:xfrm>
            <a:off x="5774871" y="2325090"/>
            <a:ext cx="2133600" cy="3765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5725" indent="-85725">
              <a:spcBef>
                <a:spcPts val="200"/>
              </a:spcBef>
              <a:spcAft>
                <a:spcPts val="200"/>
              </a:spcAft>
              <a:buFont typeface="Arial" pitchFamily="34" charset="0"/>
              <a:buChar char="•"/>
            </a:pPr>
            <a:r>
              <a:rPr lang="en-US" sz="1050" b="1" dirty="0">
                <a:solidFill>
                  <a:schemeClr val="tx2"/>
                </a:solidFill>
              </a:rPr>
              <a:t>Business extension: </a:t>
            </a:r>
            <a:r>
              <a:rPr lang="en-US" sz="1050" dirty="0">
                <a:solidFill>
                  <a:schemeClr val="tx2"/>
                </a:solidFill>
              </a:rPr>
              <a:t>M&amp;A can be used to extend the reach of a firm in terms of geography, products, or markets</a:t>
            </a:r>
          </a:p>
          <a:p>
            <a:pPr marL="85725" indent="-85725">
              <a:spcBef>
                <a:spcPts val="200"/>
              </a:spcBef>
              <a:spcAft>
                <a:spcPts val="200"/>
              </a:spcAft>
              <a:buFont typeface="Arial" pitchFamily="34" charset="0"/>
              <a:buChar char="•"/>
            </a:pPr>
            <a:r>
              <a:rPr lang="en-US" sz="1050" b="1" dirty="0">
                <a:solidFill>
                  <a:schemeClr val="tx2"/>
                </a:solidFill>
              </a:rPr>
              <a:t>Building capabilities: </a:t>
            </a:r>
            <a:r>
              <a:rPr lang="en-US" sz="1050" dirty="0">
                <a:solidFill>
                  <a:schemeClr val="tx2"/>
                </a:solidFill>
              </a:rPr>
              <a:t>M&amp;A may increase a company’s capabilities</a:t>
            </a:r>
          </a:p>
          <a:p>
            <a:pPr marL="85725" indent="-85725">
              <a:spcBef>
                <a:spcPts val="200"/>
              </a:spcBef>
              <a:spcAft>
                <a:spcPts val="200"/>
              </a:spcAft>
              <a:buFont typeface="Arial" pitchFamily="34" charset="0"/>
              <a:buChar char="•"/>
            </a:pPr>
            <a:r>
              <a:rPr lang="en-US" sz="1050" b="1" dirty="0">
                <a:solidFill>
                  <a:schemeClr val="tx2"/>
                </a:solidFill>
              </a:rPr>
              <a:t>Increase market power </a:t>
            </a:r>
            <a:r>
              <a:rPr lang="en-US" sz="1050" dirty="0">
                <a:solidFill>
                  <a:schemeClr val="tx2"/>
                </a:solidFill>
              </a:rPr>
              <a:t>by reducing competition and increasing bargaining power with suppliers</a:t>
            </a:r>
          </a:p>
          <a:p>
            <a:pPr marL="85725" indent="-85725">
              <a:spcBef>
                <a:spcPts val="200"/>
              </a:spcBef>
              <a:spcAft>
                <a:spcPts val="200"/>
              </a:spcAft>
              <a:buFont typeface="Arial" pitchFamily="34" charset="0"/>
              <a:buChar char="•"/>
            </a:pPr>
            <a:r>
              <a:rPr lang="en-US" sz="1050" b="1" dirty="0">
                <a:solidFill>
                  <a:schemeClr val="tx2"/>
                </a:solidFill>
              </a:rPr>
              <a:t>Increase efficiency: </a:t>
            </a:r>
            <a:r>
              <a:rPr lang="en-US" sz="1050" dirty="0">
                <a:solidFill>
                  <a:schemeClr val="tx2"/>
                </a:solidFill>
              </a:rPr>
              <a:t>by sharing resources and capabilities</a:t>
            </a:r>
          </a:p>
          <a:p>
            <a:pPr marL="85725" indent="-85725">
              <a:spcBef>
                <a:spcPts val="200"/>
              </a:spcBef>
              <a:spcAft>
                <a:spcPts val="200"/>
              </a:spcAft>
              <a:buFont typeface="Arial" pitchFamily="34" charset="0"/>
              <a:buChar char="•"/>
            </a:pPr>
            <a:r>
              <a:rPr lang="en-US" sz="1050" b="1" dirty="0">
                <a:solidFill>
                  <a:schemeClr val="tx2"/>
                </a:solidFill>
              </a:rPr>
              <a:t>Speed: </a:t>
            </a:r>
            <a:r>
              <a:rPr lang="en-US" sz="1050" dirty="0">
                <a:solidFill>
                  <a:schemeClr val="tx2"/>
                </a:solidFill>
              </a:rPr>
              <a:t>M&amp;A allows acquirers to act fast</a:t>
            </a:r>
          </a:p>
          <a:p>
            <a:pPr marL="85725" indent="-85725">
              <a:spcBef>
                <a:spcPts val="200"/>
              </a:spcBef>
              <a:spcAft>
                <a:spcPts val="200"/>
              </a:spcAft>
              <a:buFont typeface="Arial" pitchFamily="34" charset="0"/>
              <a:buChar char="•"/>
            </a:pPr>
            <a:r>
              <a:rPr lang="en-US" sz="1050" b="1" dirty="0">
                <a:solidFill>
                  <a:schemeClr val="tx2"/>
                </a:solidFill>
              </a:rPr>
              <a:t>Financial efficiency: </a:t>
            </a:r>
            <a:r>
              <a:rPr lang="en-US" sz="1050" dirty="0">
                <a:solidFill>
                  <a:schemeClr val="tx2"/>
                </a:solidFill>
              </a:rPr>
              <a:t>by combining the 2 balance sheets</a:t>
            </a:r>
          </a:p>
          <a:p>
            <a:pPr marL="85725" indent="-85725">
              <a:spcBef>
                <a:spcPts val="200"/>
              </a:spcBef>
              <a:spcAft>
                <a:spcPts val="200"/>
              </a:spcAft>
              <a:buFont typeface="Arial" pitchFamily="34" charset="0"/>
              <a:buChar char="•"/>
            </a:pPr>
            <a:r>
              <a:rPr lang="en-US" sz="1050" b="1" dirty="0">
                <a:solidFill>
                  <a:schemeClr val="tx2"/>
                </a:solidFill>
              </a:rPr>
              <a:t>Tax efficiency</a:t>
            </a:r>
            <a:endParaRPr lang="en-AU" sz="1050" b="1" dirty="0">
              <a:solidFill>
                <a:schemeClr val="tx2"/>
              </a:solidFill>
            </a:endParaRPr>
          </a:p>
        </p:txBody>
      </p:sp>
      <p:sp>
        <p:nvSpPr>
          <p:cNvPr id="20" name="Rectangle 19">
            <a:extLst>
              <a:ext uri="{FF2B5EF4-FFF2-40B4-BE49-F238E27FC236}">
                <a16:creationId xmlns:a16="http://schemas.microsoft.com/office/drawing/2014/main" id="{8ED978DC-2183-41F7-82BE-8132916BF843}"/>
              </a:ext>
            </a:extLst>
          </p:cNvPr>
          <p:cNvSpPr/>
          <p:nvPr/>
        </p:nvSpPr>
        <p:spPr>
          <a:xfrm>
            <a:off x="7984671" y="2325090"/>
            <a:ext cx="2133600" cy="3765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5725" indent="-85725">
              <a:spcBef>
                <a:spcPts val="300"/>
              </a:spcBef>
              <a:spcAft>
                <a:spcPts val="300"/>
              </a:spcAft>
              <a:buFont typeface="Arial" pitchFamily="34" charset="0"/>
              <a:buChar char="•"/>
            </a:pPr>
            <a:r>
              <a:rPr lang="en-US" sz="1200" dirty="0">
                <a:solidFill>
                  <a:schemeClr val="tx2"/>
                </a:solidFill>
              </a:rPr>
              <a:t>Important investment upfront</a:t>
            </a:r>
          </a:p>
          <a:p>
            <a:pPr marL="85725" indent="-85725">
              <a:spcBef>
                <a:spcPts val="300"/>
              </a:spcBef>
              <a:spcAft>
                <a:spcPts val="300"/>
              </a:spcAft>
              <a:buFont typeface="Arial" pitchFamily="34" charset="0"/>
              <a:buChar char="•"/>
            </a:pPr>
            <a:r>
              <a:rPr lang="en-US" sz="1200" dirty="0">
                <a:solidFill>
                  <a:schemeClr val="tx2"/>
                </a:solidFill>
              </a:rPr>
              <a:t>Potential culture clash between the 2 companies</a:t>
            </a:r>
          </a:p>
          <a:p>
            <a:pPr marL="85725" indent="-85725">
              <a:spcBef>
                <a:spcPts val="300"/>
              </a:spcBef>
              <a:spcAft>
                <a:spcPts val="300"/>
              </a:spcAft>
              <a:buFont typeface="Arial" pitchFamily="34" charset="0"/>
              <a:buChar char="•"/>
            </a:pPr>
            <a:r>
              <a:rPr lang="en-US" sz="1200" dirty="0">
                <a:solidFill>
                  <a:schemeClr val="tx2"/>
                </a:solidFill>
              </a:rPr>
              <a:t>High failure rate</a:t>
            </a:r>
          </a:p>
          <a:p>
            <a:pPr marL="85725" indent="-85725">
              <a:spcBef>
                <a:spcPts val="300"/>
              </a:spcBef>
              <a:spcAft>
                <a:spcPts val="300"/>
              </a:spcAft>
              <a:buFont typeface="Arial" pitchFamily="34" charset="0"/>
              <a:buChar char="•"/>
            </a:pPr>
            <a:r>
              <a:rPr lang="en-US" sz="1200" dirty="0">
                <a:solidFill>
                  <a:schemeClr val="tx2"/>
                </a:solidFill>
              </a:rPr>
              <a:t>Sometimes excessive initial valuations, exaggerated expectations of strategic fit, and underestimated problems of organizational fit</a:t>
            </a:r>
            <a:endParaRPr lang="en-AU" sz="1200" dirty="0">
              <a:solidFill>
                <a:schemeClr val="tx2"/>
              </a:solidFill>
            </a:endParaRPr>
          </a:p>
        </p:txBody>
      </p:sp>
    </p:spTree>
    <p:extLst>
      <p:ext uri="{BB962C8B-B14F-4D97-AF65-F5344CB8AC3E}">
        <p14:creationId xmlns:p14="http://schemas.microsoft.com/office/powerpoint/2010/main" val="22956648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GB" sz="3600" dirty="0">
                <a:latin typeface="+mn-lt"/>
              </a:rPr>
              <a:t>This was only a small preview.</a:t>
            </a:r>
            <a:endParaRPr lang="en-US" sz="3600" dirty="0">
              <a:latin typeface="+mn-lt"/>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hlinkClick r:id="rId7"/>
            <a:extLst>
              <a:ext uri="{FF2B5EF4-FFF2-40B4-BE49-F238E27FC236}">
                <a16:creationId xmlns:a16="http://schemas.microsoft.com/office/drawing/2014/main" id="{9C5DE39E-F383-449D-AC9E-CE43548C424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53870" y="2473570"/>
            <a:ext cx="5571924" cy="1636509"/>
          </a:xfrm>
          <a:prstGeom prst="rect">
            <a:avLst/>
          </a:prstGeom>
        </p:spPr>
      </p:pic>
      <p:sp>
        <p:nvSpPr>
          <p:cNvPr id="5" name="Rectangle: Rounded Corners 4">
            <a:hlinkClick r:id="rId7"/>
            <a:extLst>
              <a:ext uri="{FF2B5EF4-FFF2-40B4-BE49-F238E27FC236}">
                <a16:creationId xmlns:a16="http://schemas.microsoft.com/office/drawing/2014/main" id="{FF157264-E35D-4C02-921F-0940E6F2CA43}"/>
              </a:ext>
            </a:extLst>
          </p:cNvPr>
          <p:cNvSpPr/>
          <p:nvPr/>
        </p:nvSpPr>
        <p:spPr bwMode="auto">
          <a:xfrm>
            <a:off x="4448318" y="4454770"/>
            <a:ext cx="2948940" cy="362068"/>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228600" rIns="91428" bIns="91440" rtlCol="0" anchor="ctr">
            <a:noAutofit/>
          </a:bodyPr>
          <a:lstStyle/>
          <a:p>
            <a:pPr algn="ctr" defTabSz="623853" rtl="0" fontAlgn="base">
              <a:lnSpc>
                <a:spcPts val="1100"/>
              </a:lnSpc>
              <a:spcBef>
                <a:spcPct val="0"/>
              </a:spcBef>
              <a:spcAft>
                <a:spcPct val="0"/>
              </a:spcAft>
              <a:buClr>
                <a:srgbClr val="000000"/>
              </a:buClr>
            </a:pPr>
            <a:r>
              <a:rPr lang="en-US" sz="2000" b="1" kern="1200" dirty="0">
                <a:solidFill>
                  <a:schemeClr val="bg1"/>
                </a:solidFill>
                <a:latin typeface="Arial" charset="0"/>
                <a:ea typeface="+mn-ea"/>
                <a:cs typeface="Times New Roman" pitchFamily="18" charset="0"/>
              </a:rPr>
              <a:t>www.slidebooks.com</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1000" smtClean="0">
                <a:solidFill>
                  <a:srgbClr val="ADAFBB"/>
                </a:solidFill>
              </a:rPr>
              <a:pPr/>
              <a:t>30</a:t>
            </a:fld>
            <a:endParaRPr lang="en-US" sz="1000" dirty="0">
              <a:solidFill>
                <a:srgbClr val="ADAFBB"/>
              </a:solidFill>
            </a:endParaRPr>
          </a:p>
        </p:txBody>
      </p:sp>
    </p:spTree>
    <p:extLst>
      <p:ext uri="{BB962C8B-B14F-4D97-AF65-F5344CB8AC3E}">
        <p14:creationId xmlns:p14="http://schemas.microsoft.com/office/powerpoint/2010/main" val="22720977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sz="2400" kern="0" dirty="0"/>
              <a:t>The Mergers &amp; Acquisitions (M&amp;A) Life Cycle includes 6 phases:</a:t>
            </a:r>
            <a:endParaRPr lang="en-GB"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31" name="Chevron 10">
            <a:extLst>
              <a:ext uri="{FF2B5EF4-FFF2-40B4-BE49-F238E27FC236}">
                <a16:creationId xmlns:a16="http://schemas.microsoft.com/office/drawing/2014/main" id="{11D63C91-FC4F-4D26-9361-CF9F1E6F7B30}"/>
              </a:ext>
            </a:extLst>
          </p:cNvPr>
          <p:cNvSpPr/>
          <p:nvPr/>
        </p:nvSpPr>
        <p:spPr bwMode="auto">
          <a:xfrm>
            <a:off x="2363718" y="3429000"/>
            <a:ext cx="2005499" cy="95583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600" b="1" kern="1200" dirty="0">
                <a:solidFill>
                  <a:schemeClr val="bg1"/>
                </a:solidFill>
                <a:ea typeface="+mn-ea"/>
                <a:cs typeface="Times New Roman" pitchFamily="18" charset="0"/>
              </a:rPr>
              <a:t>Target Screening</a:t>
            </a:r>
            <a:endParaRPr lang="en-US" sz="1200" b="1" kern="1200" dirty="0">
              <a:solidFill>
                <a:schemeClr val="bg1"/>
              </a:solidFill>
              <a:ea typeface="+mn-ea"/>
              <a:cs typeface="Times New Roman" pitchFamily="18" charset="0"/>
            </a:endParaRPr>
          </a:p>
        </p:txBody>
      </p:sp>
      <p:sp>
        <p:nvSpPr>
          <p:cNvPr id="36" name="Chevron 12">
            <a:extLst>
              <a:ext uri="{FF2B5EF4-FFF2-40B4-BE49-F238E27FC236}">
                <a16:creationId xmlns:a16="http://schemas.microsoft.com/office/drawing/2014/main" id="{F3C92E62-0077-460E-AE7A-11EF341D1350}"/>
              </a:ext>
            </a:extLst>
          </p:cNvPr>
          <p:cNvSpPr/>
          <p:nvPr/>
        </p:nvSpPr>
        <p:spPr bwMode="auto">
          <a:xfrm>
            <a:off x="4183407" y="3429000"/>
            <a:ext cx="2005499" cy="95583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Due Diligence</a:t>
            </a:r>
            <a:endParaRPr lang="en-US" sz="1200" b="1" dirty="0">
              <a:solidFill>
                <a:schemeClr val="bg1"/>
              </a:solidFill>
              <a:cs typeface="Times New Roman" pitchFamily="18" charset="0"/>
            </a:endParaRPr>
          </a:p>
        </p:txBody>
      </p:sp>
      <p:sp>
        <p:nvSpPr>
          <p:cNvPr id="37" name="Chevron 14">
            <a:extLst>
              <a:ext uri="{FF2B5EF4-FFF2-40B4-BE49-F238E27FC236}">
                <a16:creationId xmlns:a16="http://schemas.microsoft.com/office/drawing/2014/main" id="{CC93980A-11AF-4D5E-8869-89CC032385DC}"/>
              </a:ext>
            </a:extLst>
          </p:cNvPr>
          <p:cNvSpPr/>
          <p:nvPr/>
        </p:nvSpPr>
        <p:spPr bwMode="auto">
          <a:xfrm>
            <a:off x="6003095" y="3429000"/>
            <a:ext cx="2005499" cy="95583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Transaction Execution</a:t>
            </a:r>
          </a:p>
        </p:txBody>
      </p:sp>
      <p:sp>
        <p:nvSpPr>
          <p:cNvPr id="38" name="Chevron 17">
            <a:extLst>
              <a:ext uri="{FF2B5EF4-FFF2-40B4-BE49-F238E27FC236}">
                <a16:creationId xmlns:a16="http://schemas.microsoft.com/office/drawing/2014/main" id="{344E7CCF-C625-4735-99A8-21C7EB357EA4}"/>
              </a:ext>
            </a:extLst>
          </p:cNvPr>
          <p:cNvSpPr/>
          <p:nvPr/>
        </p:nvSpPr>
        <p:spPr bwMode="auto">
          <a:xfrm>
            <a:off x="7822784" y="3429000"/>
            <a:ext cx="2005499" cy="95583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Post Merger Integration</a:t>
            </a:r>
          </a:p>
        </p:txBody>
      </p:sp>
      <p:sp>
        <p:nvSpPr>
          <p:cNvPr id="39" name="Chevron 103">
            <a:extLst>
              <a:ext uri="{FF2B5EF4-FFF2-40B4-BE49-F238E27FC236}">
                <a16:creationId xmlns:a16="http://schemas.microsoft.com/office/drawing/2014/main" id="{786BB75D-D898-45F9-8B88-DA52FC38FC1B}"/>
              </a:ext>
            </a:extLst>
          </p:cNvPr>
          <p:cNvSpPr/>
          <p:nvPr/>
        </p:nvSpPr>
        <p:spPr bwMode="auto">
          <a:xfrm>
            <a:off x="9642473" y="3429000"/>
            <a:ext cx="2005499" cy="955832"/>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Divestiture</a:t>
            </a:r>
            <a:endParaRPr lang="en-US" sz="1200" b="1" kern="1200" dirty="0">
              <a:solidFill>
                <a:schemeClr val="bg1"/>
              </a:solidFill>
              <a:cs typeface="Times New Roman" pitchFamily="18" charset="0"/>
            </a:endParaRPr>
          </a:p>
        </p:txBody>
      </p:sp>
      <p:sp>
        <p:nvSpPr>
          <p:cNvPr id="40" name="Chevron 167">
            <a:extLst>
              <a:ext uri="{FF2B5EF4-FFF2-40B4-BE49-F238E27FC236}">
                <a16:creationId xmlns:a16="http://schemas.microsoft.com/office/drawing/2014/main" id="{0BFC4EC5-C976-4614-AA28-923F04F6FB7D}"/>
              </a:ext>
            </a:extLst>
          </p:cNvPr>
          <p:cNvSpPr/>
          <p:nvPr/>
        </p:nvSpPr>
        <p:spPr bwMode="auto">
          <a:xfrm>
            <a:off x="544029" y="3429000"/>
            <a:ext cx="2005499" cy="95583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M&amp;A Strategy</a:t>
            </a:r>
          </a:p>
        </p:txBody>
      </p:sp>
      <p:pic>
        <p:nvPicPr>
          <p:cNvPr id="41" name="Graphic 40" descr="Checklist">
            <a:extLst>
              <a:ext uri="{FF2B5EF4-FFF2-40B4-BE49-F238E27FC236}">
                <a16:creationId xmlns:a16="http://schemas.microsoft.com/office/drawing/2014/main" id="{7ADB931C-526E-4085-9D51-29CF1BD7D59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884500" y="2719636"/>
            <a:ext cx="603312" cy="603312"/>
          </a:xfrm>
          <a:prstGeom prst="rect">
            <a:avLst/>
          </a:prstGeom>
        </p:spPr>
      </p:pic>
      <p:pic>
        <p:nvPicPr>
          <p:cNvPr id="42" name="Graphic 41" descr="Handshake">
            <a:extLst>
              <a:ext uri="{FF2B5EF4-FFF2-40B4-BE49-F238E27FC236}">
                <a16:creationId xmlns:a16="http://schemas.microsoft.com/office/drawing/2014/main" id="{39CA55D1-0DB4-494D-BF6C-BAB3C4250EA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33063" y="2648511"/>
            <a:ext cx="745562" cy="745562"/>
          </a:xfrm>
          <a:prstGeom prst="rect">
            <a:avLst/>
          </a:prstGeom>
        </p:spPr>
      </p:pic>
      <p:pic>
        <p:nvPicPr>
          <p:cNvPr id="43" name="Graphic 42" descr="Magnifying glass">
            <a:extLst>
              <a:ext uri="{FF2B5EF4-FFF2-40B4-BE49-F238E27FC236}">
                <a16:creationId xmlns:a16="http://schemas.microsoft.com/office/drawing/2014/main" id="{3CD8629E-4A4B-4750-AF50-625AB27D216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64811" y="2719636"/>
            <a:ext cx="603312" cy="603312"/>
          </a:xfrm>
          <a:prstGeom prst="rect">
            <a:avLst/>
          </a:prstGeom>
        </p:spPr>
      </p:pic>
      <p:pic>
        <p:nvPicPr>
          <p:cNvPr id="44" name="Graphic 43" descr="Map compass">
            <a:extLst>
              <a:ext uri="{FF2B5EF4-FFF2-40B4-BE49-F238E27FC236}">
                <a16:creationId xmlns:a16="http://schemas.microsoft.com/office/drawing/2014/main" id="{F9D04913-3F46-47E6-A174-861A254AE19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91800" y="2666314"/>
            <a:ext cx="709956" cy="709956"/>
          </a:xfrm>
          <a:prstGeom prst="rect">
            <a:avLst/>
          </a:prstGeom>
        </p:spPr>
      </p:pic>
      <p:pic>
        <p:nvPicPr>
          <p:cNvPr id="45" name="Graphic 44" descr="Gears">
            <a:extLst>
              <a:ext uri="{FF2B5EF4-FFF2-40B4-BE49-F238E27FC236}">
                <a16:creationId xmlns:a16="http://schemas.microsoft.com/office/drawing/2014/main" id="{A82BF645-5CC0-4BB6-A06A-0AF1101AA42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470555" y="2666314"/>
            <a:ext cx="709956" cy="709956"/>
          </a:xfrm>
          <a:prstGeom prst="rect">
            <a:avLst/>
          </a:prstGeom>
        </p:spPr>
      </p:pic>
      <p:pic>
        <p:nvPicPr>
          <p:cNvPr id="46" name="Graphic 45" descr="Share">
            <a:extLst>
              <a:ext uri="{FF2B5EF4-FFF2-40B4-BE49-F238E27FC236}">
                <a16:creationId xmlns:a16="http://schemas.microsoft.com/office/drawing/2014/main" id="{8D6C3273-34EC-4016-BF72-34A32DBEFD5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343566" y="2719636"/>
            <a:ext cx="603312" cy="603312"/>
          </a:xfrm>
          <a:prstGeom prst="rect">
            <a:avLst/>
          </a:prstGeom>
        </p:spPr>
      </p:pic>
    </p:spTree>
    <p:extLst>
      <p:ext uri="{BB962C8B-B14F-4D97-AF65-F5344CB8AC3E}">
        <p14:creationId xmlns:p14="http://schemas.microsoft.com/office/powerpoint/2010/main" val="30221881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Main problem of the M&amp;A Strategy</a:t>
            </a:r>
            <a:br>
              <a:rPr lang="en-US" sz="2400" dirty="0"/>
            </a:br>
            <a:r>
              <a:rPr lang="en-GB" b="0" dirty="0"/>
              <a:t>More than half of Mergers &amp; Acquisitions fail to reach their value creation objectives.</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graphicFrame>
        <p:nvGraphicFramePr>
          <p:cNvPr id="21" name="Chart 20">
            <a:extLst>
              <a:ext uri="{FF2B5EF4-FFF2-40B4-BE49-F238E27FC236}">
                <a16:creationId xmlns:a16="http://schemas.microsoft.com/office/drawing/2014/main" id="{2BF59061-6183-4369-B638-33688F9CF05D}"/>
              </a:ext>
            </a:extLst>
          </p:cNvPr>
          <p:cNvGraphicFramePr/>
          <p:nvPr>
            <p:extLst>
              <p:ext uri="{D42A27DB-BD31-4B8C-83A1-F6EECF244321}">
                <p14:modId xmlns:p14="http://schemas.microsoft.com/office/powerpoint/2010/main" val="4244067600"/>
              </p:ext>
            </p:extLst>
          </p:nvPr>
        </p:nvGraphicFramePr>
        <p:xfrm>
          <a:off x="2514600" y="1447800"/>
          <a:ext cx="7162800" cy="4775200"/>
        </p:xfrm>
        <a:graphic>
          <a:graphicData uri="http://schemas.openxmlformats.org/drawingml/2006/chart">
            <c:chart xmlns:c="http://schemas.openxmlformats.org/drawingml/2006/chart" xmlns:r="http://schemas.openxmlformats.org/officeDocument/2006/relationships" r:id="rId6"/>
          </a:graphicData>
        </a:graphic>
      </p:graphicFrame>
      <p:sp>
        <p:nvSpPr>
          <p:cNvPr id="22" name="TextBox 21">
            <a:extLst>
              <a:ext uri="{FF2B5EF4-FFF2-40B4-BE49-F238E27FC236}">
                <a16:creationId xmlns:a16="http://schemas.microsoft.com/office/drawing/2014/main" id="{4539A6B0-D837-467A-AF7C-63F2CB65F06B}"/>
              </a:ext>
            </a:extLst>
          </p:cNvPr>
          <p:cNvSpPr txBox="1"/>
          <p:nvPr/>
        </p:nvSpPr>
        <p:spPr>
          <a:xfrm>
            <a:off x="514350" y="6293427"/>
            <a:ext cx="8001000" cy="276999"/>
          </a:xfrm>
          <a:prstGeom prst="rect">
            <a:avLst/>
          </a:prstGeom>
          <a:noFill/>
        </p:spPr>
        <p:txBody>
          <a:bodyPr wrap="square" rtlCol="0">
            <a:spAutoFit/>
          </a:bodyPr>
          <a:lstStyle/>
          <a:p>
            <a:r>
              <a:rPr lang="en-US" sz="1200" dirty="0">
                <a:solidFill>
                  <a:schemeClr val="tx2"/>
                </a:solidFill>
              </a:rPr>
              <a:t>*Consolidation of multiple surveys from New York Times, Harvard Business Review and Australia Financial Review</a:t>
            </a:r>
          </a:p>
        </p:txBody>
      </p:sp>
    </p:spTree>
    <p:extLst>
      <p:ext uri="{BB962C8B-B14F-4D97-AF65-F5344CB8AC3E}">
        <p14:creationId xmlns:p14="http://schemas.microsoft.com/office/powerpoint/2010/main" val="30154623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Root cause of the problem</a:t>
            </a:r>
            <a:br>
              <a:rPr lang="en-US" sz="2400" dirty="0"/>
            </a:br>
            <a:r>
              <a:rPr lang="en-GB" b="0" dirty="0"/>
              <a:t>A poorly managed post merger integration phase is responsible for more than half of Mergers &amp; Acquisitions (M&amp;A) failures.</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7" name="TextBox 6">
            <a:extLst>
              <a:ext uri="{FF2B5EF4-FFF2-40B4-BE49-F238E27FC236}">
                <a16:creationId xmlns:a16="http://schemas.microsoft.com/office/drawing/2014/main" id="{1E38B12A-61A6-478A-A059-AE822F5D4773}"/>
              </a:ext>
            </a:extLst>
          </p:cNvPr>
          <p:cNvSpPr txBox="1"/>
          <p:nvPr/>
        </p:nvSpPr>
        <p:spPr>
          <a:xfrm>
            <a:off x="514350" y="6293427"/>
            <a:ext cx="8001000" cy="276999"/>
          </a:xfrm>
          <a:prstGeom prst="rect">
            <a:avLst/>
          </a:prstGeom>
          <a:noFill/>
        </p:spPr>
        <p:txBody>
          <a:bodyPr wrap="square" rtlCol="0">
            <a:spAutoFit/>
          </a:bodyPr>
          <a:lstStyle/>
          <a:p>
            <a:r>
              <a:rPr lang="en-US" sz="1200" dirty="0">
                <a:solidFill>
                  <a:schemeClr val="tx2"/>
                </a:solidFill>
              </a:rPr>
              <a:t>*Consolidation of multiple surveys from New York Times, Harvard Business Review and Australian Financial Review</a:t>
            </a:r>
          </a:p>
        </p:txBody>
      </p:sp>
      <p:graphicFrame>
        <p:nvGraphicFramePr>
          <p:cNvPr id="8" name="Chart 7">
            <a:extLst>
              <a:ext uri="{FF2B5EF4-FFF2-40B4-BE49-F238E27FC236}">
                <a16:creationId xmlns:a16="http://schemas.microsoft.com/office/drawing/2014/main" id="{D0E37087-7389-49E9-AC77-1C709EEEAA6D}"/>
              </a:ext>
            </a:extLst>
          </p:cNvPr>
          <p:cNvGraphicFramePr/>
          <p:nvPr>
            <p:extLst>
              <p:ext uri="{D42A27DB-BD31-4B8C-83A1-F6EECF244321}">
                <p14:modId xmlns:p14="http://schemas.microsoft.com/office/powerpoint/2010/main" val="3723352665"/>
              </p:ext>
            </p:extLst>
          </p:nvPr>
        </p:nvGraphicFramePr>
        <p:xfrm>
          <a:off x="1674668" y="1842582"/>
          <a:ext cx="8842664" cy="4064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972731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raditional Solution</a:t>
            </a:r>
            <a:br>
              <a:rPr lang="en-US" sz="2400" dirty="0"/>
            </a:br>
            <a:r>
              <a:rPr lang="en-GB" sz="1800" b="0" dirty="0"/>
              <a:t>To solve this problem, companies usually hire management consultants from tier-one management consulting firms. Whereas this solution works well, not everyone can afford it.</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31" name="TextBox 30">
            <a:extLst>
              <a:ext uri="{FF2B5EF4-FFF2-40B4-BE49-F238E27FC236}">
                <a16:creationId xmlns:a16="http://schemas.microsoft.com/office/drawing/2014/main" id="{80DB5C2A-CB4E-438A-8801-EB0869040D7B}"/>
              </a:ext>
            </a:extLst>
          </p:cNvPr>
          <p:cNvSpPr txBox="1"/>
          <p:nvPr/>
        </p:nvSpPr>
        <p:spPr>
          <a:xfrm>
            <a:off x="514350" y="1621293"/>
            <a:ext cx="11072813" cy="523220"/>
          </a:xfrm>
          <a:prstGeom prst="rect">
            <a:avLst/>
          </a:prstGeom>
          <a:noFill/>
        </p:spPr>
        <p:txBody>
          <a:bodyPr wrap="square" rtlCol="0">
            <a:spAutoFit/>
          </a:bodyPr>
          <a:lstStyle/>
          <a:p>
            <a:pPr>
              <a:spcBef>
                <a:spcPts val="400"/>
              </a:spcBef>
              <a:spcAft>
                <a:spcPts val="400"/>
              </a:spcAft>
            </a:pPr>
            <a:r>
              <a:rPr lang="en-GB" sz="1400" dirty="0"/>
              <a:t>To help them increase the value creation of their mergers &amp; acquisitions, most tier-one companies (e.g. Apple, Procter &amp; Gamble, Google, Amazon, etc.) are hiring management consultants from the following management consulting firms:</a:t>
            </a:r>
          </a:p>
        </p:txBody>
      </p:sp>
      <p:sp>
        <p:nvSpPr>
          <p:cNvPr id="33" name="Rectangle 32">
            <a:extLst>
              <a:ext uri="{FF2B5EF4-FFF2-40B4-BE49-F238E27FC236}">
                <a16:creationId xmlns:a16="http://schemas.microsoft.com/office/drawing/2014/main" id="{136CAC62-BD7A-4F23-AD5D-25BC893F5D06}"/>
              </a:ext>
            </a:extLst>
          </p:cNvPr>
          <p:cNvSpPr/>
          <p:nvPr/>
        </p:nvSpPr>
        <p:spPr>
          <a:xfrm>
            <a:off x="2117039" y="2368083"/>
            <a:ext cx="2414431" cy="1019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Rectangle 33">
            <a:extLst>
              <a:ext uri="{FF2B5EF4-FFF2-40B4-BE49-F238E27FC236}">
                <a16:creationId xmlns:a16="http://schemas.microsoft.com/office/drawing/2014/main" id="{914710CC-43D0-40E4-BE38-8260007B17B9}"/>
              </a:ext>
            </a:extLst>
          </p:cNvPr>
          <p:cNvSpPr/>
          <p:nvPr/>
        </p:nvSpPr>
        <p:spPr>
          <a:xfrm>
            <a:off x="4743976" y="2368083"/>
            <a:ext cx="2414431" cy="1019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Rectangle 34">
            <a:extLst>
              <a:ext uri="{FF2B5EF4-FFF2-40B4-BE49-F238E27FC236}">
                <a16:creationId xmlns:a16="http://schemas.microsoft.com/office/drawing/2014/main" id="{5DB60DCA-E97E-4CE1-BDE2-3F58612B673D}"/>
              </a:ext>
            </a:extLst>
          </p:cNvPr>
          <p:cNvSpPr/>
          <p:nvPr/>
        </p:nvSpPr>
        <p:spPr>
          <a:xfrm>
            <a:off x="7370913" y="2368083"/>
            <a:ext cx="2414431" cy="1019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Rectangle 35">
            <a:extLst>
              <a:ext uri="{FF2B5EF4-FFF2-40B4-BE49-F238E27FC236}">
                <a16:creationId xmlns:a16="http://schemas.microsoft.com/office/drawing/2014/main" id="{F7C36D7A-1302-495A-B774-24A5AA9E12E9}"/>
              </a:ext>
            </a:extLst>
          </p:cNvPr>
          <p:cNvSpPr/>
          <p:nvPr/>
        </p:nvSpPr>
        <p:spPr>
          <a:xfrm>
            <a:off x="2117039" y="3509925"/>
            <a:ext cx="2414431" cy="1019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 name="Rectangle 36">
            <a:extLst>
              <a:ext uri="{FF2B5EF4-FFF2-40B4-BE49-F238E27FC236}">
                <a16:creationId xmlns:a16="http://schemas.microsoft.com/office/drawing/2014/main" id="{CD63437F-F6CC-47EB-B465-CD7C2718450E}"/>
              </a:ext>
            </a:extLst>
          </p:cNvPr>
          <p:cNvSpPr/>
          <p:nvPr/>
        </p:nvSpPr>
        <p:spPr>
          <a:xfrm>
            <a:off x="4743976" y="3509925"/>
            <a:ext cx="2414431" cy="1019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Rectangle 37">
            <a:extLst>
              <a:ext uri="{FF2B5EF4-FFF2-40B4-BE49-F238E27FC236}">
                <a16:creationId xmlns:a16="http://schemas.microsoft.com/office/drawing/2014/main" id="{4C11F337-8F23-4C82-A3AC-E4155E5FF1FE}"/>
              </a:ext>
            </a:extLst>
          </p:cNvPr>
          <p:cNvSpPr/>
          <p:nvPr/>
        </p:nvSpPr>
        <p:spPr>
          <a:xfrm>
            <a:off x="7370913" y="3509925"/>
            <a:ext cx="2414431" cy="1019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Rectangle 38">
            <a:extLst>
              <a:ext uri="{FF2B5EF4-FFF2-40B4-BE49-F238E27FC236}">
                <a16:creationId xmlns:a16="http://schemas.microsoft.com/office/drawing/2014/main" id="{7EFA4796-2F23-4499-ACA5-9E1468336A1C}"/>
              </a:ext>
            </a:extLst>
          </p:cNvPr>
          <p:cNvSpPr/>
          <p:nvPr/>
        </p:nvSpPr>
        <p:spPr>
          <a:xfrm>
            <a:off x="2117039" y="4651768"/>
            <a:ext cx="2414431" cy="1019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 name="Rectangle 39">
            <a:extLst>
              <a:ext uri="{FF2B5EF4-FFF2-40B4-BE49-F238E27FC236}">
                <a16:creationId xmlns:a16="http://schemas.microsoft.com/office/drawing/2014/main" id="{FB97BE99-9CA1-4E0F-8638-7537C1B51A33}"/>
              </a:ext>
            </a:extLst>
          </p:cNvPr>
          <p:cNvSpPr/>
          <p:nvPr/>
        </p:nvSpPr>
        <p:spPr>
          <a:xfrm>
            <a:off x="4743976" y="4651768"/>
            <a:ext cx="2414431" cy="1019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 name="Rectangle 40">
            <a:extLst>
              <a:ext uri="{FF2B5EF4-FFF2-40B4-BE49-F238E27FC236}">
                <a16:creationId xmlns:a16="http://schemas.microsoft.com/office/drawing/2014/main" id="{9659A567-73DB-4864-A2F9-26C32BFEA546}"/>
              </a:ext>
            </a:extLst>
          </p:cNvPr>
          <p:cNvSpPr/>
          <p:nvPr/>
        </p:nvSpPr>
        <p:spPr>
          <a:xfrm>
            <a:off x="7370913" y="4651768"/>
            <a:ext cx="2414431" cy="1019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2" name="Picture 2" descr="Logo">
            <a:extLst>
              <a:ext uri="{FF2B5EF4-FFF2-40B4-BE49-F238E27FC236}">
                <a16:creationId xmlns:a16="http://schemas.microsoft.com/office/drawing/2014/main" id="{31343271-C45F-467D-AA4A-4124839CA5E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12212" y="5089985"/>
            <a:ext cx="1600595" cy="293443"/>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 descr="Bain and Company Logo 1.svg">
            <a:extLst>
              <a:ext uri="{FF2B5EF4-FFF2-40B4-BE49-F238E27FC236}">
                <a16:creationId xmlns:a16="http://schemas.microsoft.com/office/drawing/2014/main" id="{50C1E75A-6425-4A9C-ABD3-BAFCF30AE0F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723478" y="3724496"/>
            <a:ext cx="1000372" cy="62690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The Boston Consulting Group logo.png">
            <a:extLst>
              <a:ext uri="{FF2B5EF4-FFF2-40B4-BE49-F238E27FC236}">
                <a16:creationId xmlns:a16="http://schemas.microsoft.com/office/drawing/2014/main" id="{4D510F8B-D1F6-41E2-B9FD-D038A30AFC3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845913" y="2606255"/>
            <a:ext cx="1566894" cy="480178"/>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8" descr="Logo Capgemini.png">
            <a:extLst>
              <a:ext uri="{FF2B5EF4-FFF2-40B4-BE49-F238E27FC236}">
                <a16:creationId xmlns:a16="http://schemas.microsoft.com/office/drawing/2014/main" id="{18EBC665-B8FB-4DFC-B5CA-68E5E082DD4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5238500" y="4986117"/>
            <a:ext cx="1500833" cy="350662"/>
          </a:xfrm>
          <a:prstGeom prst="rect">
            <a:avLst/>
          </a:prstGeom>
          <a:extLst>
            <a:ext uri="{909E8E84-426E-40DD-AFC4-6F175D3DCCD1}">
              <a14:hiddenFill xmlns:a14="http://schemas.microsoft.com/office/drawing/2010/main">
                <a:solidFill>
                  <a:srgbClr val="FFFFFF"/>
                </a:solidFill>
              </a14:hiddenFill>
            </a:ext>
          </a:extLst>
        </p:spPr>
      </p:pic>
      <p:pic>
        <p:nvPicPr>
          <p:cNvPr id="46" name="Picture 10" descr="EY logo13.png">
            <a:extLst>
              <a:ext uri="{FF2B5EF4-FFF2-40B4-BE49-F238E27FC236}">
                <a16:creationId xmlns:a16="http://schemas.microsoft.com/office/drawing/2014/main" id="{DDD7D522-A1EE-4899-BEA4-A073505F8E8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298880" y="3602397"/>
            <a:ext cx="660960" cy="740275"/>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2" descr="McKinsey and Company Logo 1.svg">
            <a:extLst>
              <a:ext uri="{FF2B5EF4-FFF2-40B4-BE49-F238E27FC236}">
                <a16:creationId xmlns:a16="http://schemas.microsoft.com/office/drawing/2014/main" id="{7099CF69-2587-4723-BDDC-C4F6D33AB3D2}"/>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350838" y="2760926"/>
            <a:ext cx="1979989" cy="252000"/>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4" descr="PricewaterhouseCoopers Logo.svg">
            <a:extLst>
              <a:ext uri="{FF2B5EF4-FFF2-40B4-BE49-F238E27FC236}">
                <a16:creationId xmlns:a16="http://schemas.microsoft.com/office/drawing/2014/main" id="{0FDD7080-CF55-4944-B213-9A68EF10F7F7}"/>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24069" y="4781307"/>
            <a:ext cx="1000372" cy="760283"/>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8" descr="Strategyand-logo.gif">
            <a:extLst>
              <a:ext uri="{FF2B5EF4-FFF2-40B4-BE49-F238E27FC236}">
                <a16:creationId xmlns:a16="http://schemas.microsoft.com/office/drawing/2014/main" id="{9DAC47A1-5848-4981-80B4-EFBBC45F2565}"/>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347045" y="3832870"/>
            <a:ext cx="1208292" cy="373472"/>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0" descr="Deloitte's brand logo">
            <a:extLst>
              <a:ext uri="{FF2B5EF4-FFF2-40B4-BE49-F238E27FC236}">
                <a16:creationId xmlns:a16="http://schemas.microsoft.com/office/drawing/2014/main" id="{E2840E44-AE81-4EC8-A8F2-69A333075A70}"/>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194546" y="2682005"/>
            <a:ext cx="1513289" cy="332924"/>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a:extLst>
              <a:ext uri="{FF2B5EF4-FFF2-40B4-BE49-F238E27FC236}">
                <a16:creationId xmlns:a16="http://schemas.microsoft.com/office/drawing/2014/main" id="{7E31ED7F-C9D6-48C3-B1F3-EC53DABCBEF6}"/>
              </a:ext>
            </a:extLst>
          </p:cNvPr>
          <p:cNvSpPr txBox="1"/>
          <p:nvPr/>
        </p:nvSpPr>
        <p:spPr>
          <a:xfrm>
            <a:off x="514350" y="5886082"/>
            <a:ext cx="11072813" cy="523220"/>
          </a:xfrm>
          <a:prstGeom prst="rect">
            <a:avLst/>
          </a:prstGeom>
          <a:noFill/>
        </p:spPr>
        <p:txBody>
          <a:bodyPr wrap="square" rtlCol="0">
            <a:spAutoFit/>
          </a:bodyPr>
          <a:lstStyle/>
          <a:p>
            <a:pPr>
              <a:spcBef>
                <a:spcPts val="400"/>
              </a:spcBef>
              <a:spcAft>
                <a:spcPts val="400"/>
              </a:spcAft>
            </a:pPr>
            <a:r>
              <a:rPr lang="en-GB" sz="1400" dirty="0"/>
              <a:t>Whereas this solution usually brings a tremendous return on investment, not every business can afford to spend $300k+ to hire of couple of McKinsey, Deloitte or BCG Management Consultants.</a:t>
            </a:r>
          </a:p>
        </p:txBody>
      </p:sp>
    </p:spTree>
    <p:extLst>
      <p:ext uri="{BB962C8B-B14F-4D97-AF65-F5344CB8AC3E}">
        <p14:creationId xmlns:p14="http://schemas.microsoft.com/office/powerpoint/2010/main" val="10739371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Our Solution</a:t>
            </a:r>
            <a:br>
              <a:rPr lang="en-US" sz="2400" dirty="0"/>
            </a:br>
            <a:r>
              <a:rPr lang="en-GB" sz="1800" b="0" dirty="0"/>
              <a:t>Our management consulting firm decided to create an affordable Post Merger Integration Toolkit that will help you increase the value creation of the mergers &amp; acquisitions of your organization (or your client if you are a management consultant).</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31" name="TextBox 30">
            <a:extLst>
              <a:ext uri="{FF2B5EF4-FFF2-40B4-BE49-F238E27FC236}">
                <a16:creationId xmlns:a16="http://schemas.microsoft.com/office/drawing/2014/main" id="{80DB5C2A-CB4E-438A-8801-EB0869040D7B}"/>
              </a:ext>
            </a:extLst>
          </p:cNvPr>
          <p:cNvSpPr txBox="1"/>
          <p:nvPr/>
        </p:nvSpPr>
        <p:spPr>
          <a:xfrm>
            <a:off x="514350" y="1621293"/>
            <a:ext cx="11072813" cy="307777"/>
          </a:xfrm>
          <a:prstGeom prst="rect">
            <a:avLst/>
          </a:prstGeom>
          <a:noFill/>
        </p:spPr>
        <p:txBody>
          <a:bodyPr wrap="square" rtlCol="0">
            <a:spAutoFit/>
          </a:bodyPr>
          <a:lstStyle/>
          <a:p>
            <a:pPr>
              <a:spcBef>
                <a:spcPts val="400"/>
              </a:spcBef>
              <a:spcAft>
                <a:spcPts val="400"/>
              </a:spcAft>
            </a:pPr>
            <a:r>
              <a:rPr lang="en-GB" sz="1400" b="1" dirty="0"/>
              <a:t>The Post Merger Integration Toolkit includes</a:t>
            </a:r>
            <a:r>
              <a:rPr lang="en-GB" sz="1400" dirty="0"/>
              <a:t>:</a:t>
            </a:r>
          </a:p>
        </p:txBody>
      </p:sp>
      <p:grpSp>
        <p:nvGrpSpPr>
          <p:cNvPr id="2" name="Group 1">
            <a:extLst>
              <a:ext uri="{FF2B5EF4-FFF2-40B4-BE49-F238E27FC236}">
                <a16:creationId xmlns:a16="http://schemas.microsoft.com/office/drawing/2014/main" id="{FFCD903C-2A8B-42A0-9428-7FD75FD8204A}"/>
              </a:ext>
            </a:extLst>
          </p:cNvPr>
          <p:cNvGrpSpPr/>
          <p:nvPr/>
        </p:nvGrpSpPr>
        <p:grpSpPr>
          <a:xfrm>
            <a:off x="1980741" y="2387928"/>
            <a:ext cx="7584180" cy="3973659"/>
            <a:chOff x="996406" y="1502960"/>
            <a:chExt cx="9751873" cy="5109403"/>
          </a:xfrm>
        </p:grpSpPr>
        <p:sp>
          <p:nvSpPr>
            <p:cNvPr id="26" name="Freeform: Shape 25">
              <a:extLst>
                <a:ext uri="{FF2B5EF4-FFF2-40B4-BE49-F238E27FC236}">
                  <a16:creationId xmlns:a16="http://schemas.microsoft.com/office/drawing/2014/main" id="{CA2E0E1F-11E9-4031-AA6D-14025F775F77}"/>
                </a:ext>
              </a:extLst>
            </p:cNvPr>
            <p:cNvSpPr/>
            <p:nvPr/>
          </p:nvSpPr>
          <p:spPr>
            <a:xfrm>
              <a:off x="5589051" y="1857176"/>
              <a:ext cx="1541945" cy="1602071"/>
            </a:xfrm>
            <a:custGeom>
              <a:avLst/>
              <a:gdLst>
                <a:gd name="connsiteX0" fmla="*/ 449936 w 1494279"/>
                <a:gd name="connsiteY0" fmla="*/ 0 h 1552547"/>
                <a:gd name="connsiteX1" fmla="*/ 1381208 w 1494279"/>
                <a:gd name="connsiteY1" fmla="*/ 235807 h 1552547"/>
                <a:gd name="connsiteX2" fmla="*/ 1494279 w 1494279"/>
                <a:gd name="connsiteY2" fmla="*/ 304499 h 1552547"/>
                <a:gd name="connsiteX3" fmla="*/ 1203523 w 1494279"/>
                <a:gd name="connsiteY3" fmla="*/ 1552547 h 1552547"/>
                <a:gd name="connsiteX4" fmla="*/ 0 w 1494279"/>
                <a:gd name="connsiteY4" fmla="*/ 54141 h 1552547"/>
                <a:gd name="connsiteX5" fmla="*/ 56188 w 1494279"/>
                <a:gd name="connsiteY5" fmla="*/ 39693 h 1552547"/>
                <a:gd name="connsiteX6" fmla="*/ 449936 w 1494279"/>
                <a:gd name="connsiteY6" fmla="*/ 0 h 155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4279" h="1552547">
                  <a:moveTo>
                    <a:pt x="449936" y="0"/>
                  </a:moveTo>
                  <a:cubicBezTo>
                    <a:pt x="787132" y="0"/>
                    <a:pt x="1104376" y="85422"/>
                    <a:pt x="1381208" y="235807"/>
                  </a:cubicBezTo>
                  <a:lnTo>
                    <a:pt x="1494279" y="304499"/>
                  </a:lnTo>
                  <a:lnTo>
                    <a:pt x="1203523" y="1552547"/>
                  </a:lnTo>
                  <a:lnTo>
                    <a:pt x="0" y="54141"/>
                  </a:lnTo>
                  <a:lnTo>
                    <a:pt x="56188" y="39693"/>
                  </a:lnTo>
                  <a:cubicBezTo>
                    <a:pt x="183372" y="13668"/>
                    <a:pt x="315058" y="0"/>
                    <a:pt x="449936" y="0"/>
                  </a:cubicBezTo>
                  <a:close/>
                </a:path>
              </a:pathLst>
            </a:custGeom>
            <a:solidFill>
              <a:schemeClr val="tx1">
                <a:lumMod val="10000"/>
                <a:lumOff val="90000"/>
              </a:schemeClr>
            </a:solidFill>
            <a:ln w="120650" cap="rnd">
              <a:solidFill>
                <a:schemeClr val="bg2">
                  <a:lumMod val="10000"/>
                  <a:lumOff val="9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p>
          </p:txBody>
        </p:sp>
        <p:sp>
          <p:nvSpPr>
            <p:cNvPr id="27" name="Freeform: Shape 26">
              <a:extLst>
                <a:ext uri="{FF2B5EF4-FFF2-40B4-BE49-F238E27FC236}">
                  <a16:creationId xmlns:a16="http://schemas.microsoft.com/office/drawing/2014/main" id="{196C8140-C22A-4B59-9D0E-7679D6D9A3E8}"/>
                </a:ext>
              </a:extLst>
            </p:cNvPr>
            <p:cNvSpPr/>
            <p:nvPr/>
          </p:nvSpPr>
          <p:spPr>
            <a:xfrm>
              <a:off x="4086566" y="2008943"/>
              <a:ext cx="2050317" cy="1064167"/>
            </a:xfrm>
            <a:custGeom>
              <a:avLst/>
              <a:gdLst>
                <a:gd name="connsiteX0" fmla="*/ 1158614 w 1986933"/>
                <a:gd name="connsiteY0" fmla="*/ 0 h 1031271"/>
                <a:gd name="connsiteX1" fmla="*/ 1986933 w 1986933"/>
                <a:gd name="connsiteY1" fmla="*/ 1031271 h 1031271"/>
                <a:gd name="connsiteX2" fmla="*/ 0 w 1986933"/>
                <a:gd name="connsiteY2" fmla="*/ 1031271 h 1031271"/>
                <a:gd name="connsiteX3" fmla="*/ 51879 w 1986933"/>
                <a:gd name="connsiteY3" fmla="*/ 923577 h 1031271"/>
                <a:gd name="connsiteX4" fmla="*/ 1009333 w 1986933"/>
                <a:gd name="connsiteY4" fmla="*/ 54637 h 1031271"/>
                <a:gd name="connsiteX5" fmla="*/ 1158614 w 1986933"/>
                <a:gd name="connsiteY5" fmla="*/ 0 h 103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6933" h="1031271">
                  <a:moveTo>
                    <a:pt x="1158614" y="0"/>
                  </a:moveTo>
                  <a:lnTo>
                    <a:pt x="1986933" y="1031271"/>
                  </a:lnTo>
                  <a:lnTo>
                    <a:pt x="0" y="1031271"/>
                  </a:lnTo>
                  <a:lnTo>
                    <a:pt x="51879" y="923577"/>
                  </a:lnTo>
                  <a:cubicBezTo>
                    <a:pt x="262418" y="536011"/>
                    <a:pt x="600283" y="227651"/>
                    <a:pt x="1009333" y="54637"/>
                  </a:cubicBezTo>
                  <a:lnTo>
                    <a:pt x="1158614" y="0"/>
                  </a:lnTo>
                  <a:close/>
                </a:path>
              </a:pathLst>
            </a:custGeom>
            <a:solidFill>
              <a:schemeClr val="tx1">
                <a:lumMod val="10000"/>
                <a:lumOff val="90000"/>
              </a:schemeClr>
            </a:solidFill>
            <a:ln w="120650" cap="rnd">
              <a:solidFill>
                <a:schemeClr val="bg2">
                  <a:lumMod val="10000"/>
                  <a:lumOff val="9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p>
          </p:txBody>
        </p:sp>
        <p:sp>
          <p:nvSpPr>
            <p:cNvPr id="28" name="Freeform: Shape 27">
              <a:extLst>
                <a:ext uri="{FF2B5EF4-FFF2-40B4-BE49-F238E27FC236}">
                  <a16:creationId xmlns:a16="http://schemas.microsoft.com/office/drawing/2014/main" id="{32A2BFE8-85B3-4148-83BF-A51A301F6F94}"/>
                </a:ext>
              </a:extLst>
            </p:cNvPr>
            <p:cNvSpPr/>
            <p:nvPr/>
          </p:nvSpPr>
          <p:spPr>
            <a:xfrm>
              <a:off x="6957015" y="2342538"/>
              <a:ext cx="1231610" cy="1934203"/>
            </a:xfrm>
            <a:custGeom>
              <a:avLst/>
              <a:gdLst>
                <a:gd name="connsiteX0" fmla="*/ 436678 w 1193536"/>
                <a:gd name="connsiteY0" fmla="*/ 0 h 1874411"/>
                <a:gd name="connsiteX1" fmla="*/ 499308 w 1193536"/>
                <a:gd name="connsiteY1" fmla="*/ 46834 h 1874411"/>
                <a:gd name="connsiteX2" fmla="*/ 1170598 w 1193536"/>
                <a:gd name="connsiteY2" fmla="*/ 1160692 h 1874411"/>
                <a:gd name="connsiteX3" fmla="*/ 1193536 w 1193536"/>
                <a:gd name="connsiteY3" fmla="*/ 1310985 h 1874411"/>
                <a:gd name="connsiteX4" fmla="*/ 0 w 1193536"/>
                <a:gd name="connsiteY4" fmla="*/ 1874411 h 1874411"/>
                <a:gd name="connsiteX5" fmla="*/ 436678 w 1193536"/>
                <a:gd name="connsiteY5" fmla="*/ 0 h 1874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536" h="1874411">
                  <a:moveTo>
                    <a:pt x="436678" y="0"/>
                  </a:moveTo>
                  <a:lnTo>
                    <a:pt x="499308" y="46834"/>
                  </a:lnTo>
                  <a:cubicBezTo>
                    <a:pt x="837031" y="325547"/>
                    <a:pt x="1079508" y="715547"/>
                    <a:pt x="1170598" y="1160692"/>
                  </a:cubicBezTo>
                  <a:lnTo>
                    <a:pt x="1193536" y="1310985"/>
                  </a:lnTo>
                  <a:lnTo>
                    <a:pt x="0" y="1874411"/>
                  </a:lnTo>
                  <a:lnTo>
                    <a:pt x="436678" y="0"/>
                  </a:lnTo>
                  <a:close/>
                </a:path>
              </a:pathLst>
            </a:custGeom>
            <a:solidFill>
              <a:schemeClr val="tx1">
                <a:lumMod val="10000"/>
                <a:lumOff val="90000"/>
              </a:schemeClr>
            </a:solidFill>
            <a:ln w="120650" cap="rnd">
              <a:solidFill>
                <a:schemeClr val="bg2">
                  <a:lumMod val="10000"/>
                  <a:lumOff val="9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p>
          </p:txBody>
        </p:sp>
        <p:sp>
          <p:nvSpPr>
            <p:cNvPr id="29" name="Freeform: Shape 28">
              <a:extLst>
                <a:ext uri="{FF2B5EF4-FFF2-40B4-BE49-F238E27FC236}">
                  <a16:creationId xmlns:a16="http://schemas.microsoft.com/office/drawing/2014/main" id="{812B20EB-8ED9-486C-BDD9-E5ECC282D969}"/>
                </a:ext>
              </a:extLst>
            </p:cNvPr>
            <p:cNvSpPr/>
            <p:nvPr/>
          </p:nvSpPr>
          <p:spPr>
            <a:xfrm>
              <a:off x="3840213" y="3351502"/>
              <a:ext cx="1537990" cy="1624302"/>
            </a:xfrm>
            <a:custGeom>
              <a:avLst/>
              <a:gdLst>
                <a:gd name="connsiteX0" fmla="*/ 120350 w 1490446"/>
                <a:gd name="connsiteY0" fmla="*/ 0 h 1574090"/>
                <a:gd name="connsiteX1" fmla="*/ 1490446 w 1490446"/>
                <a:gd name="connsiteY1" fmla="*/ 0 h 1574090"/>
                <a:gd name="connsiteX2" fmla="*/ 222801 w 1490446"/>
                <a:gd name="connsiteY2" fmla="*/ 1574090 h 1574090"/>
                <a:gd name="connsiteX3" fmla="*/ 153535 w 1490446"/>
                <a:gd name="connsiteY3" fmla="*/ 1430303 h 1574090"/>
                <a:gd name="connsiteX4" fmla="*/ 0 w 1490446"/>
                <a:gd name="connsiteY4" fmla="*/ 669816 h 1574090"/>
                <a:gd name="connsiteX5" fmla="*/ 87837 w 1490446"/>
                <a:gd name="connsiteY5" fmla="*/ 88831 h 1574090"/>
                <a:gd name="connsiteX6" fmla="*/ 120350 w 1490446"/>
                <a:gd name="connsiteY6" fmla="*/ 0 h 157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0446" h="1574090">
                  <a:moveTo>
                    <a:pt x="120350" y="0"/>
                  </a:moveTo>
                  <a:lnTo>
                    <a:pt x="1490446" y="0"/>
                  </a:lnTo>
                  <a:lnTo>
                    <a:pt x="222801" y="1574090"/>
                  </a:lnTo>
                  <a:lnTo>
                    <a:pt x="153535" y="1430303"/>
                  </a:lnTo>
                  <a:cubicBezTo>
                    <a:pt x="54670" y="1196560"/>
                    <a:pt x="0" y="939572"/>
                    <a:pt x="0" y="669816"/>
                  </a:cubicBezTo>
                  <a:cubicBezTo>
                    <a:pt x="0" y="467499"/>
                    <a:pt x="30752" y="272364"/>
                    <a:pt x="87837" y="88831"/>
                  </a:cubicBezTo>
                  <a:lnTo>
                    <a:pt x="120350" y="0"/>
                  </a:lnTo>
                  <a:close/>
                </a:path>
              </a:pathLst>
            </a:custGeom>
            <a:solidFill>
              <a:schemeClr val="tx1">
                <a:lumMod val="10000"/>
                <a:lumOff val="90000"/>
              </a:schemeClr>
            </a:solidFill>
            <a:ln w="120650" cap="rnd">
              <a:solidFill>
                <a:schemeClr val="bg2">
                  <a:lumMod val="10000"/>
                  <a:lumOff val="9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p>
          </p:txBody>
        </p:sp>
        <p:sp>
          <p:nvSpPr>
            <p:cNvPr id="30" name="Freeform: Shape 29">
              <a:extLst>
                <a:ext uri="{FF2B5EF4-FFF2-40B4-BE49-F238E27FC236}">
                  <a16:creationId xmlns:a16="http://schemas.microsoft.com/office/drawing/2014/main" id="{97DDA4B4-EF57-42BB-898E-C548E3D6622E}"/>
                </a:ext>
              </a:extLst>
            </p:cNvPr>
            <p:cNvSpPr/>
            <p:nvPr/>
          </p:nvSpPr>
          <p:spPr>
            <a:xfrm>
              <a:off x="6382420" y="4026794"/>
              <a:ext cx="1790261" cy="1447968"/>
            </a:xfrm>
            <a:custGeom>
              <a:avLst/>
              <a:gdLst>
                <a:gd name="connsiteX0" fmla="*/ 1730906 w 1734917"/>
                <a:gd name="connsiteY0" fmla="*/ 0 h 1403206"/>
                <a:gd name="connsiteX1" fmla="*/ 1734917 w 1734917"/>
                <a:gd name="connsiteY1" fmla="*/ 79438 h 1403206"/>
                <a:gd name="connsiteX2" fmla="*/ 1288776 w 1734917"/>
                <a:gd name="connsiteY2" fmla="*/ 1322203 h 1403206"/>
                <a:gd name="connsiteX3" fmla="*/ 1215155 w 1734917"/>
                <a:gd name="connsiteY3" fmla="*/ 1403206 h 1403206"/>
                <a:gd name="connsiteX4" fmla="*/ 0 w 1734917"/>
                <a:gd name="connsiteY4" fmla="*/ 817100 h 1403206"/>
                <a:gd name="connsiteX5" fmla="*/ 1730906 w 1734917"/>
                <a:gd name="connsiteY5" fmla="*/ 0 h 140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4917" h="1403206">
                  <a:moveTo>
                    <a:pt x="1730906" y="0"/>
                  </a:moveTo>
                  <a:lnTo>
                    <a:pt x="1734917" y="79438"/>
                  </a:lnTo>
                  <a:cubicBezTo>
                    <a:pt x="1734917" y="551512"/>
                    <a:pt x="1567490" y="984480"/>
                    <a:pt x="1288776" y="1322203"/>
                  </a:cubicBezTo>
                  <a:lnTo>
                    <a:pt x="1215155" y="1403206"/>
                  </a:lnTo>
                  <a:lnTo>
                    <a:pt x="0" y="817100"/>
                  </a:lnTo>
                  <a:lnTo>
                    <a:pt x="1730906" y="0"/>
                  </a:lnTo>
                  <a:close/>
                </a:path>
              </a:pathLst>
            </a:custGeom>
            <a:solidFill>
              <a:schemeClr val="tx1">
                <a:lumMod val="10000"/>
                <a:lumOff val="90000"/>
              </a:schemeClr>
            </a:solidFill>
            <a:ln w="120650" cap="rnd">
              <a:solidFill>
                <a:schemeClr val="bg2">
                  <a:lumMod val="10000"/>
                  <a:lumOff val="9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p>
          </p:txBody>
        </p:sp>
        <p:sp>
          <p:nvSpPr>
            <p:cNvPr id="32" name="Freeform: Shape 31">
              <a:extLst>
                <a:ext uri="{FF2B5EF4-FFF2-40B4-BE49-F238E27FC236}">
                  <a16:creationId xmlns:a16="http://schemas.microsoft.com/office/drawing/2014/main" id="{033F8E04-53E7-4A71-B4D6-FF10F98070ED}"/>
                </a:ext>
              </a:extLst>
            </p:cNvPr>
            <p:cNvSpPr/>
            <p:nvPr/>
          </p:nvSpPr>
          <p:spPr>
            <a:xfrm>
              <a:off x="4223581" y="4098546"/>
              <a:ext cx="1361762" cy="2036852"/>
            </a:xfrm>
            <a:custGeom>
              <a:avLst/>
              <a:gdLst>
                <a:gd name="connsiteX0" fmla="*/ 882838 w 1319666"/>
                <a:gd name="connsiteY0" fmla="*/ 0 h 1973884"/>
                <a:gd name="connsiteX1" fmla="*/ 1319666 w 1319666"/>
                <a:gd name="connsiteY1" fmla="*/ 1973884 h 1973884"/>
                <a:gd name="connsiteX2" fmla="*/ 1254243 w 1319666"/>
                <a:gd name="connsiteY2" fmla="*/ 1963899 h 1973884"/>
                <a:gd name="connsiteX3" fmla="*/ 27913 w 1319666"/>
                <a:gd name="connsiteY3" fmla="*/ 1142204 h 1973884"/>
                <a:gd name="connsiteX4" fmla="*/ 0 w 1319666"/>
                <a:gd name="connsiteY4" fmla="*/ 1096259 h 1973884"/>
                <a:gd name="connsiteX5" fmla="*/ 882838 w 1319666"/>
                <a:gd name="connsiteY5" fmla="*/ 0 h 197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9666" h="1973884">
                  <a:moveTo>
                    <a:pt x="882838" y="0"/>
                  </a:moveTo>
                  <a:lnTo>
                    <a:pt x="1319666" y="1973884"/>
                  </a:lnTo>
                  <a:lnTo>
                    <a:pt x="1254243" y="1963899"/>
                  </a:lnTo>
                  <a:cubicBezTo>
                    <a:pt x="745506" y="1859796"/>
                    <a:pt x="308795" y="1557964"/>
                    <a:pt x="27913" y="1142204"/>
                  </a:cubicBezTo>
                  <a:lnTo>
                    <a:pt x="0" y="1096259"/>
                  </a:lnTo>
                  <a:lnTo>
                    <a:pt x="882838" y="0"/>
                  </a:lnTo>
                  <a:close/>
                </a:path>
              </a:pathLst>
            </a:custGeom>
            <a:solidFill>
              <a:schemeClr val="tx1">
                <a:lumMod val="10000"/>
                <a:lumOff val="90000"/>
              </a:schemeClr>
            </a:solidFill>
            <a:ln w="120650" cap="rnd">
              <a:solidFill>
                <a:schemeClr val="bg2">
                  <a:lumMod val="10000"/>
                  <a:lumOff val="9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p>
          </p:txBody>
        </p:sp>
        <p:sp>
          <p:nvSpPr>
            <p:cNvPr id="52" name="Freeform: Shape 51">
              <a:extLst>
                <a:ext uri="{FF2B5EF4-FFF2-40B4-BE49-F238E27FC236}">
                  <a16:creationId xmlns:a16="http://schemas.microsoft.com/office/drawing/2014/main" id="{B57B670F-66D2-4BBB-8ADD-DD425B918B4B}"/>
                </a:ext>
              </a:extLst>
            </p:cNvPr>
            <p:cNvSpPr/>
            <p:nvPr/>
          </p:nvSpPr>
          <p:spPr>
            <a:xfrm>
              <a:off x="5586030" y="4787905"/>
              <a:ext cx="1844555" cy="1421082"/>
            </a:xfrm>
            <a:custGeom>
              <a:avLst/>
              <a:gdLst>
                <a:gd name="connsiteX0" fmla="*/ 0 w 1787533"/>
                <a:gd name="connsiteY0" fmla="*/ 0 h 1377152"/>
                <a:gd name="connsiteX1" fmla="*/ 1787533 w 1787533"/>
                <a:gd name="connsiteY1" fmla="*/ 862182 h 1377152"/>
                <a:gd name="connsiteX2" fmla="*/ 1711802 w 1787533"/>
                <a:gd name="connsiteY2" fmla="*/ 931011 h 1377152"/>
                <a:gd name="connsiteX3" fmla="*/ 469037 w 1787533"/>
                <a:gd name="connsiteY3" fmla="*/ 1377152 h 1377152"/>
                <a:gd name="connsiteX4" fmla="*/ 302913 w 1787533"/>
                <a:gd name="connsiteY4" fmla="*/ 1368764 h 1377152"/>
                <a:gd name="connsiteX5" fmla="*/ 0 w 1787533"/>
                <a:gd name="connsiteY5" fmla="*/ 0 h 13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7533" h="1377152">
                  <a:moveTo>
                    <a:pt x="0" y="0"/>
                  </a:moveTo>
                  <a:lnTo>
                    <a:pt x="1787533" y="862182"/>
                  </a:lnTo>
                  <a:lnTo>
                    <a:pt x="1711802" y="931011"/>
                  </a:lnTo>
                  <a:cubicBezTo>
                    <a:pt x="1374079" y="1209725"/>
                    <a:pt x="941111" y="1377152"/>
                    <a:pt x="469037" y="1377152"/>
                  </a:cubicBezTo>
                  <a:lnTo>
                    <a:pt x="302913" y="1368764"/>
                  </a:lnTo>
                  <a:lnTo>
                    <a:pt x="0" y="0"/>
                  </a:lnTo>
                  <a:close/>
                </a:path>
              </a:pathLst>
            </a:custGeom>
            <a:solidFill>
              <a:schemeClr val="tx1">
                <a:lumMod val="10000"/>
                <a:lumOff val="90000"/>
              </a:schemeClr>
            </a:solidFill>
            <a:ln w="120650" cap="rnd">
              <a:solidFill>
                <a:schemeClr val="bg2">
                  <a:lumMod val="10000"/>
                  <a:lumOff val="9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p>
          </p:txBody>
        </p:sp>
        <p:sp>
          <p:nvSpPr>
            <p:cNvPr id="53" name="Freeform: Shape 52">
              <a:extLst>
                <a:ext uri="{FF2B5EF4-FFF2-40B4-BE49-F238E27FC236}">
                  <a16:creationId xmlns:a16="http://schemas.microsoft.com/office/drawing/2014/main" id="{8A071EFC-1A87-4FB3-A387-997200B32BCF}"/>
                </a:ext>
              </a:extLst>
            </p:cNvPr>
            <p:cNvSpPr>
              <a:spLocks/>
            </p:cNvSpPr>
            <p:nvPr/>
          </p:nvSpPr>
          <p:spPr bwMode="auto">
            <a:xfrm>
              <a:off x="5379698" y="3358618"/>
              <a:ext cx="1347029" cy="1315294"/>
            </a:xfrm>
            <a:custGeom>
              <a:avLst/>
              <a:gdLst>
                <a:gd name="connsiteX0" fmla="*/ 395606 w 1432450"/>
                <a:gd name="connsiteY0" fmla="*/ 0 h 1398702"/>
                <a:gd name="connsiteX1" fmla="*/ 400368 w 1432450"/>
                <a:gd name="connsiteY1" fmla="*/ 0 h 1398702"/>
                <a:gd name="connsiteX2" fmla="*/ 1032083 w 1432450"/>
                <a:gd name="connsiteY2" fmla="*/ 0 h 1398702"/>
                <a:gd name="connsiteX3" fmla="*/ 1036845 w 1432450"/>
                <a:gd name="connsiteY3" fmla="*/ 0 h 1398702"/>
                <a:gd name="connsiteX4" fmla="*/ 1035054 w 1432450"/>
                <a:gd name="connsiteY4" fmla="*/ 3725 h 1398702"/>
                <a:gd name="connsiteX5" fmla="*/ 1430844 w 1432450"/>
                <a:gd name="connsiteY5" fmla="*/ 499912 h 1398702"/>
                <a:gd name="connsiteX6" fmla="*/ 1432450 w 1432450"/>
                <a:gd name="connsiteY6" fmla="*/ 499544 h 1398702"/>
                <a:gd name="connsiteX7" fmla="*/ 1432027 w 1432450"/>
                <a:gd name="connsiteY7" fmla="*/ 501395 h 1398702"/>
                <a:gd name="connsiteX8" fmla="*/ 1432450 w 1432450"/>
                <a:gd name="connsiteY8" fmla="*/ 501925 h 1398702"/>
                <a:gd name="connsiteX9" fmla="*/ 1431876 w 1432450"/>
                <a:gd name="connsiteY9" fmla="*/ 502057 h 1398702"/>
                <a:gd name="connsiteX10" fmla="*/ 1291208 w 1432450"/>
                <a:gd name="connsiteY10" fmla="*/ 1117597 h 1398702"/>
                <a:gd name="connsiteX11" fmla="*/ 1294317 w 1432450"/>
                <a:gd name="connsiteY11" fmla="*/ 1120072 h 1398702"/>
                <a:gd name="connsiteX12" fmla="*/ 1290188 w 1432450"/>
                <a:gd name="connsiteY12" fmla="*/ 1122062 h 1398702"/>
                <a:gd name="connsiteX13" fmla="*/ 1289555 w 1432450"/>
                <a:gd name="connsiteY13" fmla="*/ 1124834 h 1398702"/>
                <a:gd name="connsiteX14" fmla="*/ 1287625 w 1432450"/>
                <a:gd name="connsiteY14" fmla="*/ 1123298 h 1398702"/>
                <a:gd name="connsiteX15" fmla="*/ 716225 w 1432450"/>
                <a:gd name="connsiteY15" fmla="*/ 1398702 h 1398702"/>
                <a:gd name="connsiteX16" fmla="*/ 716225 w 1432450"/>
                <a:gd name="connsiteY16" fmla="*/ 1390497 h 1398702"/>
                <a:gd name="connsiteX17" fmla="*/ 150485 w 1432450"/>
                <a:gd name="connsiteY17" fmla="*/ 1117821 h 1398702"/>
                <a:gd name="connsiteX18" fmla="*/ 147657 w 1432450"/>
                <a:gd name="connsiteY18" fmla="*/ 1120072 h 1398702"/>
                <a:gd name="connsiteX19" fmla="*/ 146729 w 1432450"/>
                <a:gd name="connsiteY19" fmla="*/ 1116011 h 1398702"/>
                <a:gd name="connsiteX20" fmla="*/ 145276 w 1432450"/>
                <a:gd name="connsiteY20" fmla="*/ 1115310 h 1398702"/>
                <a:gd name="connsiteX21" fmla="*/ 146370 w 1432450"/>
                <a:gd name="connsiteY21" fmla="*/ 1114439 h 1398702"/>
                <a:gd name="connsiteX22" fmla="*/ 6747 w 1432450"/>
                <a:gd name="connsiteY22" fmla="*/ 503470 h 1398702"/>
                <a:gd name="connsiteX23" fmla="*/ 0 w 1432450"/>
                <a:gd name="connsiteY23" fmla="*/ 501925 h 1398702"/>
                <a:gd name="connsiteX24" fmla="*/ 4970 w 1432450"/>
                <a:gd name="connsiteY24" fmla="*/ 495694 h 1398702"/>
                <a:gd name="connsiteX25" fmla="*/ 4762 w 1432450"/>
                <a:gd name="connsiteY25" fmla="*/ 494782 h 1398702"/>
                <a:gd name="connsiteX26" fmla="*/ 5553 w 1432450"/>
                <a:gd name="connsiteY26" fmla="*/ 494963 h 1398702"/>
                <a:gd name="connsiteX27" fmla="*/ 397397 w 1432450"/>
                <a:gd name="connsiteY27" fmla="*/ 3725 h 139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32450" h="1398702">
                  <a:moveTo>
                    <a:pt x="395606" y="0"/>
                  </a:moveTo>
                  <a:lnTo>
                    <a:pt x="400368" y="0"/>
                  </a:lnTo>
                  <a:lnTo>
                    <a:pt x="1032083" y="0"/>
                  </a:lnTo>
                  <a:lnTo>
                    <a:pt x="1036845" y="0"/>
                  </a:lnTo>
                  <a:lnTo>
                    <a:pt x="1035054" y="3725"/>
                  </a:lnTo>
                  <a:lnTo>
                    <a:pt x="1430844" y="499912"/>
                  </a:lnTo>
                  <a:lnTo>
                    <a:pt x="1432450" y="499544"/>
                  </a:lnTo>
                  <a:lnTo>
                    <a:pt x="1432027" y="501395"/>
                  </a:lnTo>
                  <a:lnTo>
                    <a:pt x="1432450" y="501925"/>
                  </a:lnTo>
                  <a:lnTo>
                    <a:pt x="1431876" y="502057"/>
                  </a:lnTo>
                  <a:lnTo>
                    <a:pt x="1291208" y="1117597"/>
                  </a:lnTo>
                  <a:lnTo>
                    <a:pt x="1294317" y="1120072"/>
                  </a:lnTo>
                  <a:lnTo>
                    <a:pt x="1290188" y="1122062"/>
                  </a:lnTo>
                  <a:lnTo>
                    <a:pt x="1289555" y="1124834"/>
                  </a:lnTo>
                  <a:lnTo>
                    <a:pt x="1287625" y="1123298"/>
                  </a:lnTo>
                  <a:lnTo>
                    <a:pt x="716225" y="1398702"/>
                  </a:lnTo>
                  <a:lnTo>
                    <a:pt x="716225" y="1390497"/>
                  </a:lnTo>
                  <a:lnTo>
                    <a:pt x="150485" y="1117821"/>
                  </a:lnTo>
                  <a:lnTo>
                    <a:pt x="147657" y="1120072"/>
                  </a:lnTo>
                  <a:lnTo>
                    <a:pt x="146729" y="1116011"/>
                  </a:lnTo>
                  <a:lnTo>
                    <a:pt x="145276" y="1115310"/>
                  </a:lnTo>
                  <a:lnTo>
                    <a:pt x="146370" y="1114439"/>
                  </a:lnTo>
                  <a:lnTo>
                    <a:pt x="6747" y="503470"/>
                  </a:lnTo>
                  <a:lnTo>
                    <a:pt x="0" y="501925"/>
                  </a:lnTo>
                  <a:lnTo>
                    <a:pt x="4970" y="495694"/>
                  </a:lnTo>
                  <a:lnTo>
                    <a:pt x="4762" y="494782"/>
                  </a:lnTo>
                  <a:lnTo>
                    <a:pt x="5553" y="494963"/>
                  </a:lnTo>
                  <a:lnTo>
                    <a:pt x="397397" y="3725"/>
                  </a:lnTo>
                  <a:close/>
                </a:path>
              </a:pathLst>
            </a:custGeom>
            <a:solidFill>
              <a:schemeClr val="tx1"/>
            </a:solidFill>
            <a:ln w="161925" cap="rnd">
              <a:solidFill>
                <a:schemeClr val="tx1"/>
              </a:solidFill>
              <a:prstDash val="solid"/>
              <a:round/>
            </a:ln>
          </p:spPr>
          <p:txBody>
            <a:bodyPr vert="horz" wrap="square" lIns="91440" tIns="45720" rIns="91440" bIns="45720" numCol="1" anchor="t" anchorCtr="0" compatLnSpc="1">
              <a:prstTxWarp prst="textNoShape">
                <a:avLst/>
              </a:prstTxWarp>
              <a:noAutofit/>
            </a:bodyPr>
            <a:lstStyle/>
            <a:p>
              <a:endParaRPr lang="en-US" sz="1600" dirty="0"/>
            </a:p>
          </p:txBody>
        </p:sp>
        <p:sp>
          <p:nvSpPr>
            <p:cNvPr id="54" name="Rectangle 53">
              <a:extLst>
                <a:ext uri="{FF2B5EF4-FFF2-40B4-BE49-F238E27FC236}">
                  <a16:creationId xmlns:a16="http://schemas.microsoft.com/office/drawing/2014/main" id="{E7D1A9F7-F376-48B5-ACD6-0ECF9A5D6033}"/>
                </a:ext>
              </a:extLst>
            </p:cNvPr>
            <p:cNvSpPr/>
            <p:nvPr/>
          </p:nvSpPr>
          <p:spPr>
            <a:xfrm>
              <a:off x="5314983" y="3714030"/>
              <a:ext cx="1476456" cy="514468"/>
            </a:xfrm>
            <a:prstGeom prst="rect">
              <a:avLst/>
            </a:prstGeom>
          </p:spPr>
          <p:txBody>
            <a:bodyPr wrap="none">
              <a:spAutoFit/>
            </a:bodyPr>
            <a:lstStyle/>
            <a:p>
              <a:pPr algn="ctr"/>
              <a:r>
                <a:rPr lang="en-US" sz="2000" b="1" dirty="0">
                  <a:solidFill>
                    <a:schemeClr val="bg1"/>
                  </a:solidFill>
                </a:rPr>
                <a:t>Toolkits</a:t>
              </a:r>
            </a:p>
          </p:txBody>
        </p:sp>
        <p:grpSp>
          <p:nvGrpSpPr>
            <p:cNvPr id="55" name="Group 54">
              <a:extLst>
                <a:ext uri="{FF2B5EF4-FFF2-40B4-BE49-F238E27FC236}">
                  <a16:creationId xmlns:a16="http://schemas.microsoft.com/office/drawing/2014/main" id="{5F173398-CF24-4A8B-BEFC-62A4F2CE4E3A}"/>
                </a:ext>
              </a:extLst>
            </p:cNvPr>
            <p:cNvGrpSpPr/>
            <p:nvPr/>
          </p:nvGrpSpPr>
          <p:grpSpPr>
            <a:xfrm>
              <a:off x="7424687" y="3174814"/>
              <a:ext cx="462288" cy="356588"/>
              <a:chOff x="737041" y="4275037"/>
              <a:chExt cx="787336" cy="607317"/>
            </a:xfrm>
            <a:solidFill>
              <a:schemeClr val="tx1"/>
            </a:solidFill>
          </p:grpSpPr>
          <p:sp>
            <p:nvSpPr>
              <p:cNvPr id="56" name="Freeform: Shape 55">
                <a:extLst>
                  <a:ext uri="{FF2B5EF4-FFF2-40B4-BE49-F238E27FC236}">
                    <a16:creationId xmlns:a16="http://schemas.microsoft.com/office/drawing/2014/main" id="{8F580AAF-D82F-4402-8B8B-DF5D69E2E5AC}"/>
                  </a:ext>
                </a:extLst>
              </p:cNvPr>
              <p:cNvSpPr/>
              <p:nvPr/>
            </p:nvSpPr>
            <p:spPr>
              <a:xfrm>
                <a:off x="832290" y="4560785"/>
                <a:ext cx="272986" cy="245251"/>
              </a:xfrm>
              <a:custGeom>
                <a:avLst/>
                <a:gdLst>
                  <a:gd name="connsiteX0" fmla="*/ 19050 w 272986"/>
                  <a:gd name="connsiteY0" fmla="*/ 304800 h 304800"/>
                  <a:gd name="connsiteX1" fmla="*/ 253937 w 272986"/>
                  <a:gd name="connsiteY1" fmla="*/ 304800 h 304800"/>
                  <a:gd name="connsiteX2" fmla="*/ 272987 w 272986"/>
                  <a:gd name="connsiteY2" fmla="*/ 285750 h 304800"/>
                  <a:gd name="connsiteX3" fmla="*/ 272987 w 272986"/>
                  <a:gd name="connsiteY3" fmla="*/ 19050 h 304800"/>
                  <a:gd name="connsiteX4" fmla="*/ 253937 w 272986"/>
                  <a:gd name="connsiteY4" fmla="*/ 0 h 304800"/>
                  <a:gd name="connsiteX5" fmla="*/ 19050 w 272986"/>
                  <a:gd name="connsiteY5" fmla="*/ 0 h 304800"/>
                  <a:gd name="connsiteX6" fmla="*/ 0 w 272986"/>
                  <a:gd name="connsiteY6" fmla="*/ 19050 h 304800"/>
                  <a:gd name="connsiteX7" fmla="*/ 0 w 272986"/>
                  <a:gd name="connsiteY7" fmla="*/ 285750 h 304800"/>
                  <a:gd name="connsiteX8" fmla="*/ 19050 w 272986"/>
                  <a:gd name="connsiteY8" fmla="*/ 304800 h 304800"/>
                  <a:gd name="connsiteX9" fmla="*/ 38100 w 272986"/>
                  <a:gd name="connsiteY9" fmla="*/ 38100 h 304800"/>
                  <a:gd name="connsiteX10" fmla="*/ 234887 w 272986"/>
                  <a:gd name="connsiteY10" fmla="*/ 38100 h 304800"/>
                  <a:gd name="connsiteX11" fmla="*/ 234887 w 272986"/>
                  <a:gd name="connsiteY11" fmla="*/ 266700 h 304800"/>
                  <a:gd name="connsiteX12" fmla="*/ 38100 w 272986"/>
                  <a:gd name="connsiteY12" fmla="*/ 2667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986" h="304800">
                    <a:moveTo>
                      <a:pt x="19050" y="304800"/>
                    </a:moveTo>
                    <a:lnTo>
                      <a:pt x="253937" y="304800"/>
                    </a:lnTo>
                    <a:cubicBezTo>
                      <a:pt x="264458" y="304800"/>
                      <a:pt x="272987" y="296271"/>
                      <a:pt x="272987" y="285750"/>
                    </a:cubicBezTo>
                    <a:lnTo>
                      <a:pt x="272987" y="19050"/>
                    </a:lnTo>
                    <a:cubicBezTo>
                      <a:pt x="272987" y="8529"/>
                      <a:pt x="264458" y="0"/>
                      <a:pt x="253937" y="0"/>
                    </a:cubicBezTo>
                    <a:lnTo>
                      <a:pt x="19050" y="0"/>
                    </a:lnTo>
                    <a:cubicBezTo>
                      <a:pt x="8529" y="0"/>
                      <a:pt x="0" y="8529"/>
                      <a:pt x="0" y="19050"/>
                    </a:cubicBezTo>
                    <a:lnTo>
                      <a:pt x="0" y="285750"/>
                    </a:lnTo>
                    <a:cubicBezTo>
                      <a:pt x="0" y="296271"/>
                      <a:pt x="8529" y="304800"/>
                      <a:pt x="19050" y="304800"/>
                    </a:cubicBezTo>
                    <a:close/>
                    <a:moveTo>
                      <a:pt x="38100" y="38100"/>
                    </a:moveTo>
                    <a:lnTo>
                      <a:pt x="234887" y="38100"/>
                    </a:lnTo>
                    <a:lnTo>
                      <a:pt x="234887" y="266700"/>
                    </a:lnTo>
                    <a:lnTo>
                      <a:pt x="38100" y="266700"/>
                    </a:lnTo>
                    <a:close/>
                  </a:path>
                </a:pathLst>
              </a:custGeom>
              <a:grpFill/>
              <a:ln w="9525" cap="flat">
                <a:noFill/>
                <a:prstDash val="solid"/>
                <a:miter/>
              </a:ln>
            </p:spPr>
            <p:txBody>
              <a:bodyPr rtlCol="0" anchor="ctr"/>
              <a:lstStyle/>
              <a:p>
                <a:endParaRPr lang="en-IN" sz="1600" dirty="0"/>
              </a:p>
            </p:txBody>
          </p:sp>
          <p:sp>
            <p:nvSpPr>
              <p:cNvPr id="57" name="Freeform: Shape 56">
                <a:extLst>
                  <a:ext uri="{FF2B5EF4-FFF2-40B4-BE49-F238E27FC236}">
                    <a16:creationId xmlns:a16="http://schemas.microsoft.com/office/drawing/2014/main" id="{ED94E46C-75E5-4253-B48F-13AAF70595C9}"/>
                  </a:ext>
                </a:extLst>
              </p:cNvPr>
              <p:cNvSpPr/>
              <p:nvPr/>
            </p:nvSpPr>
            <p:spPr>
              <a:xfrm>
                <a:off x="1156142" y="4560785"/>
                <a:ext cx="272986" cy="245251"/>
              </a:xfrm>
              <a:custGeom>
                <a:avLst/>
                <a:gdLst>
                  <a:gd name="connsiteX0" fmla="*/ 253937 w 272986"/>
                  <a:gd name="connsiteY0" fmla="*/ 0 h 304800"/>
                  <a:gd name="connsiteX1" fmla="*/ 19050 w 272986"/>
                  <a:gd name="connsiteY1" fmla="*/ 0 h 304800"/>
                  <a:gd name="connsiteX2" fmla="*/ 0 w 272986"/>
                  <a:gd name="connsiteY2" fmla="*/ 19050 h 304800"/>
                  <a:gd name="connsiteX3" fmla="*/ 0 w 272986"/>
                  <a:gd name="connsiteY3" fmla="*/ 285750 h 304800"/>
                  <a:gd name="connsiteX4" fmla="*/ 19050 w 272986"/>
                  <a:gd name="connsiteY4" fmla="*/ 304800 h 304800"/>
                  <a:gd name="connsiteX5" fmla="*/ 253937 w 272986"/>
                  <a:gd name="connsiteY5" fmla="*/ 304800 h 304800"/>
                  <a:gd name="connsiteX6" fmla="*/ 272987 w 272986"/>
                  <a:gd name="connsiteY6" fmla="*/ 285750 h 304800"/>
                  <a:gd name="connsiteX7" fmla="*/ 272987 w 272986"/>
                  <a:gd name="connsiteY7" fmla="*/ 19050 h 304800"/>
                  <a:gd name="connsiteX8" fmla="*/ 253937 w 272986"/>
                  <a:gd name="connsiteY8" fmla="*/ 0 h 304800"/>
                  <a:gd name="connsiteX9" fmla="*/ 234887 w 272986"/>
                  <a:gd name="connsiteY9" fmla="*/ 266700 h 304800"/>
                  <a:gd name="connsiteX10" fmla="*/ 38100 w 272986"/>
                  <a:gd name="connsiteY10" fmla="*/ 266700 h 304800"/>
                  <a:gd name="connsiteX11" fmla="*/ 38100 w 272986"/>
                  <a:gd name="connsiteY11" fmla="*/ 38100 h 304800"/>
                  <a:gd name="connsiteX12" fmla="*/ 234887 w 272986"/>
                  <a:gd name="connsiteY12" fmla="*/ 381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986" h="304800">
                    <a:moveTo>
                      <a:pt x="253937" y="0"/>
                    </a:moveTo>
                    <a:lnTo>
                      <a:pt x="19050" y="0"/>
                    </a:lnTo>
                    <a:cubicBezTo>
                      <a:pt x="8529" y="0"/>
                      <a:pt x="0" y="8529"/>
                      <a:pt x="0" y="19050"/>
                    </a:cubicBezTo>
                    <a:lnTo>
                      <a:pt x="0" y="285750"/>
                    </a:lnTo>
                    <a:cubicBezTo>
                      <a:pt x="0" y="296271"/>
                      <a:pt x="8529" y="304800"/>
                      <a:pt x="19050" y="304800"/>
                    </a:cubicBezTo>
                    <a:lnTo>
                      <a:pt x="253937" y="304800"/>
                    </a:lnTo>
                    <a:cubicBezTo>
                      <a:pt x="264458" y="304800"/>
                      <a:pt x="272987" y="296271"/>
                      <a:pt x="272987" y="285750"/>
                    </a:cubicBezTo>
                    <a:lnTo>
                      <a:pt x="272987" y="19050"/>
                    </a:lnTo>
                    <a:cubicBezTo>
                      <a:pt x="272987" y="8529"/>
                      <a:pt x="264458" y="0"/>
                      <a:pt x="253937" y="0"/>
                    </a:cubicBezTo>
                    <a:close/>
                    <a:moveTo>
                      <a:pt x="234887" y="266700"/>
                    </a:moveTo>
                    <a:lnTo>
                      <a:pt x="38100" y="266700"/>
                    </a:lnTo>
                    <a:lnTo>
                      <a:pt x="38100" y="38100"/>
                    </a:lnTo>
                    <a:lnTo>
                      <a:pt x="234887" y="38100"/>
                    </a:lnTo>
                    <a:close/>
                  </a:path>
                </a:pathLst>
              </a:custGeom>
              <a:grpFill/>
              <a:ln w="9525" cap="flat">
                <a:noFill/>
                <a:prstDash val="solid"/>
                <a:miter/>
              </a:ln>
            </p:spPr>
            <p:txBody>
              <a:bodyPr rtlCol="0" anchor="ctr"/>
              <a:lstStyle/>
              <a:p>
                <a:endParaRPr lang="en-IN" sz="1600" dirty="0"/>
              </a:p>
            </p:txBody>
          </p:sp>
          <p:sp>
            <p:nvSpPr>
              <p:cNvPr id="58" name="Freeform: Shape 57">
                <a:extLst>
                  <a:ext uri="{FF2B5EF4-FFF2-40B4-BE49-F238E27FC236}">
                    <a16:creationId xmlns:a16="http://schemas.microsoft.com/office/drawing/2014/main" id="{91EFB211-2059-49C9-B55E-028664FF3920}"/>
                  </a:ext>
                </a:extLst>
              </p:cNvPr>
              <p:cNvSpPr/>
              <p:nvPr/>
            </p:nvSpPr>
            <p:spPr>
              <a:xfrm>
                <a:off x="737041" y="4275037"/>
                <a:ext cx="787336" cy="607317"/>
              </a:xfrm>
              <a:custGeom>
                <a:avLst/>
                <a:gdLst>
                  <a:gd name="connsiteX0" fmla="*/ 787337 w 787336"/>
                  <a:gd name="connsiteY0" fmla="*/ 685800 h 704850"/>
                  <a:gd name="connsiteX1" fmla="*/ 787337 w 787336"/>
                  <a:gd name="connsiteY1" fmla="*/ 19050 h 704850"/>
                  <a:gd name="connsiteX2" fmla="*/ 768287 w 787336"/>
                  <a:gd name="connsiteY2" fmla="*/ 0 h 704850"/>
                  <a:gd name="connsiteX3" fmla="*/ 19050 w 787336"/>
                  <a:gd name="connsiteY3" fmla="*/ 0 h 704850"/>
                  <a:gd name="connsiteX4" fmla="*/ 0 w 787336"/>
                  <a:gd name="connsiteY4" fmla="*/ 19050 h 704850"/>
                  <a:gd name="connsiteX5" fmla="*/ 0 w 787336"/>
                  <a:gd name="connsiteY5" fmla="*/ 685800 h 704850"/>
                  <a:gd name="connsiteX6" fmla="*/ 19050 w 787336"/>
                  <a:gd name="connsiteY6" fmla="*/ 704850 h 704850"/>
                  <a:gd name="connsiteX7" fmla="*/ 768287 w 787336"/>
                  <a:gd name="connsiteY7" fmla="*/ 704850 h 704850"/>
                  <a:gd name="connsiteX8" fmla="*/ 787337 w 787336"/>
                  <a:gd name="connsiteY8" fmla="*/ 685800 h 704850"/>
                  <a:gd name="connsiteX9" fmla="*/ 749237 w 787336"/>
                  <a:gd name="connsiteY9" fmla="*/ 666750 h 704850"/>
                  <a:gd name="connsiteX10" fmla="*/ 38100 w 787336"/>
                  <a:gd name="connsiteY10" fmla="*/ 666750 h 704850"/>
                  <a:gd name="connsiteX11" fmla="*/ 38100 w 787336"/>
                  <a:gd name="connsiteY11" fmla="*/ 38100 h 704850"/>
                  <a:gd name="connsiteX12" fmla="*/ 749237 w 787336"/>
                  <a:gd name="connsiteY12" fmla="*/ 3810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7336" h="704850">
                    <a:moveTo>
                      <a:pt x="787337" y="685800"/>
                    </a:moveTo>
                    <a:lnTo>
                      <a:pt x="787337" y="19050"/>
                    </a:lnTo>
                    <a:cubicBezTo>
                      <a:pt x="787337" y="8529"/>
                      <a:pt x="778808" y="0"/>
                      <a:pt x="768287" y="0"/>
                    </a:cubicBezTo>
                    <a:lnTo>
                      <a:pt x="19050" y="0"/>
                    </a:lnTo>
                    <a:cubicBezTo>
                      <a:pt x="8529" y="0"/>
                      <a:pt x="0" y="8529"/>
                      <a:pt x="0" y="19050"/>
                    </a:cubicBezTo>
                    <a:lnTo>
                      <a:pt x="0" y="685800"/>
                    </a:lnTo>
                    <a:cubicBezTo>
                      <a:pt x="0" y="696321"/>
                      <a:pt x="8529" y="704850"/>
                      <a:pt x="19050" y="704850"/>
                    </a:cubicBezTo>
                    <a:lnTo>
                      <a:pt x="768287" y="704850"/>
                    </a:lnTo>
                    <a:cubicBezTo>
                      <a:pt x="778808" y="704850"/>
                      <a:pt x="787337" y="696321"/>
                      <a:pt x="787337" y="685800"/>
                    </a:cubicBezTo>
                    <a:close/>
                    <a:moveTo>
                      <a:pt x="749237" y="666750"/>
                    </a:moveTo>
                    <a:lnTo>
                      <a:pt x="38100" y="666750"/>
                    </a:lnTo>
                    <a:lnTo>
                      <a:pt x="38100" y="38100"/>
                    </a:lnTo>
                    <a:lnTo>
                      <a:pt x="749237" y="38100"/>
                    </a:lnTo>
                    <a:close/>
                  </a:path>
                </a:pathLst>
              </a:custGeom>
              <a:grpFill/>
              <a:ln w="9525" cap="flat">
                <a:noFill/>
                <a:prstDash val="solid"/>
                <a:miter/>
              </a:ln>
            </p:spPr>
            <p:txBody>
              <a:bodyPr rtlCol="0" anchor="ctr"/>
              <a:lstStyle/>
              <a:p>
                <a:endParaRPr lang="en-IN" sz="1600" dirty="0"/>
              </a:p>
            </p:txBody>
          </p:sp>
        </p:grpSp>
        <p:pic>
          <p:nvPicPr>
            <p:cNvPr id="59" name="Graphic 58" descr="Group brainstorm">
              <a:extLst>
                <a:ext uri="{FF2B5EF4-FFF2-40B4-BE49-F238E27FC236}">
                  <a16:creationId xmlns:a16="http://schemas.microsoft.com/office/drawing/2014/main" id="{92257B03-FF73-4623-89AC-5020CF4D5BC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90759" y="3375565"/>
              <a:ext cx="890551" cy="890550"/>
            </a:xfrm>
            <a:custGeom>
              <a:avLst/>
              <a:gdLst>
                <a:gd name="connsiteX0" fmla="*/ 0 w 1066800"/>
                <a:gd name="connsiteY0" fmla="*/ 0 h 1082162"/>
                <a:gd name="connsiteX1" fmla="*/ 1066800 w 1066800"/>
                <a:gd name="connsiteY1" fmla="*/ 0 h 1082162"/>
                <a:gd name="connsiteX2" fmla="*/ 1066800 w 1066800"/>
                <a:gd name="connsiteY2" fmla="*/ 1082162 h 1082162"/>
                <a:gd name="connsiteX3" fmla="*/ 0 w 1066800"/>
                <a:gd name="connsiteY3" fmla="*/ 1082162 h 1082162"/>
              </a:gdLst>
              <a:ahLst/>
              <a:cxnLst>
                <a:cxn ang="0">
                  <a:pos x="connsiteX0" y="connsiteY0"/>
                </a:cxn>
                <a:cxn ang="0">
                  <a:pos x="connsiteX1" y="connsiteY1"/>
                </a:cxn>
                <a:cxn ang="0">
                  <a:pos x="connsiteX2" y="connsiteY2"/>
                </a:cxn>
                <a:cxn ang="0">
                  <a:pos x="connsiteX3" y="connsiteY3"/>
                </a:cxn>
              </a:cxnLst>
              <a:rect l="l" t="t" r="r" b="b"/>
              <a:pathLst>
                <a:path w="1066800" h="1082162">
                  <a:moveTo>
                    <a:pt x="0" y="0"/>
                  </a:moveTo>
                  <a:lnTo>
                    <a:pt x="1066800" y="0"/>
                  </a:lnTo>
                  <a:lnTo>
                    <a:pt x="1066800" y="1082162"/>
                  </a:lnTo>
                  <a:lnTo>
                    <a:pt x="0" y="1082162"/>
                  </a:lnTo>
                  <a:close/>
                </a:path>
              </a:pathLst>
            </a:custGeom>
          </p:spPr>
        </p:pic>
        <p:sp>
          <p:nvSpPr>
            <p:cNvPr id="60" name="TextBox 59">
              <a:extLst>
                <a:ext uri="{FF2B5EF4-FFF2-40B4-BE49-F238E27FC236}">
                  <a16:creationId xmlns:a16="http://schemas.microsoft.com/office/drawing/2014/main" id="{6078E75A-95F9-4062-B971-DE37DF2475AE}"/>
                </a:ext>
              </a:extLst>
            </p:cNvPr>
            <p:cNvSpPr txBox="1"/>
            <p:nvPr/>
          </p:nvSpPr>
          <p:spPr>
            <a:xfrm>
              <a:off x="6586270" y="1502960"/>
              <a:ext cx="613817" cy="316595"/>
            </a:xfrm>
            <a:prstGeom prst="rect">
              <a:avLst/>
            </a:prstGeom>
            <a:noFill/>
          </p:spPr>
          <p:txBody>
            <a:bodyPr wrap="none" lIns="0" tIns="0" rIns="0" bIns="0" rtlCol="0">
              <a:spAutoFit/>
            </a:bodyPr>
            <a:lstStyle/>
            <a:p>
              <a:pPr algn="ctr"/>
              <a:r>
                <a:rPr lang="en-US" sz="1600" dirty="0">
                  <a:solidFill>
                    <a:schemeClr val="tx2"/>
                  </a:solidFill>
                </a:rPr>
                <a:t>Tools</a:t>
              </a:r>
            </a:p>
          </p:txBody>
        </p:sp>
        <p:sp>
          <p:nvSpPr>
            <p:cNvPr id="61" name="TextBox 60">
              <a:extLst>
                <a:ext uri="{FF2B5EF4-FFF2-40B4-BE49-F238E27FC236}">
                  <a16:creationId xmlns:a16="http://schemas.microsoft.com/office/drawing/2014/main" id="{EAB5CE94-774E-4911-BFC3-A660F1FCA6D3}"/>
                </a:ext>
              </a:extLst>
            </p:cNvPr>
            <p:cNvSpPr txBox="1"/>
            <p:nvPr/>
          </p:nvSpPr>
          <p:spPr>
            <a:xfrm>
              <a:off x="8063931" y="2689989"/>
              <a:ext cx="1201249" cy="316595"/>
            </a:xfrm>
            <a:prstGeom prst="rect">
              <a:avLst/>
            </a:prstGeom>
            <a:noFill/>
          </p:spPr>
          <p:txBody>
            <a:bodyPr wrap="none" lIns="0" tIns="0" rIns="0" bIns="0" rtlCol="0">
              <a:spAutoFit/>
            </a:bodyPr>
            <a:lstStyle/>
            <a:p>
              <a:pPr algn="ctr"/>
              <a:r>
                <a:rPr lang="en-US" sz="1600" dirty="0">
                  <a:solidFill>
                    <a:schemeClr val="tx2"/>
                  </a:solidFill>
                </a:rPr>
                <a:t>Templates</a:t>
              </a:r>
            </a:p>
          </p:txBody>
        </p:sp>
        <p:sp>
          <p:nvSpPr>
            <p:cNvPr id="62" name="TextBox 61">
              <a:extLst>
                <a:ext uri="{FF2B5EF4-FFF2-40B4-BE49-F238E27FC236}">
                  <a16:creationId xmlns:a16="http://schemas.microsoft.com/office/drawing/2014/main" id="{ADE61CDA-E38F-4AB2-B7AD-D17F544B61C7}"/>
                </a:ext>
              </a:extLst>
            </p:cNvPr>
            <p:cNvSpPr txBox="1"/>
            <p:nvPr/>
          </p:nvSpPr>
          <p:spPr>
            <a:xfrm>
              <a:off x="8182287" y="4782185"/>
              <a:ext cx="2565992" cy="316595"/>
            </a:xfrm>
            <a:prstGeom prst="rect">
              <a:avLst/>
            </a:prstGeom>
            <a:noFill/>
          </p:spPr>
          <p:txBody>
            <a:bodyPr wrap="none" lIns="0" tIns="0" rIns="0" bIns="0" rtlCol="0">
              <a:spAutoFit/>
            </a:bodyPr>
            <a:lstStyle/>
            <a:p>
              <a:pPr algn="ctr"/>
              <a:r>
                <a:rPr lang="en-US" sz="1600" dirty="0">
                  <a:solidFill>
                    <a:schemeClr val="tx2"/>
                  </a:solidFill>
                </a:rPr>
                <a:t>Step-by-step Tutorials</a:t>
              </a:r>
            </a:p>
          </p:txBody>
        </p:sp>
        <p:sp>
          <p:nvSpPr>
            <p:cNvPr id="63" name="TextBox 62">
              <a:extLst>
                <a:ext uri="{FF2B5EF4-FFF2-40B4-BE49-F238E27FC236}">
                  <a16:creationId xmlns:a16="http://schemas.microsoft.com/office/drawing/2014/main" id="{358A0373-39B5-474E-8421-DD6F0FB150FB}"/>
                </a:ext>
              </a:extLst>
            </p:cNvPr>
            <p:cNvSpPr txBox="1"/>
            <p:nvPr/>
          </p:nvSpPr>
          <p:spPr>
            <a:xfrm>
              <a:off x="6310005" y="6295768"/>
              <a:ext cx="2195147" cy="316595"/>
            </a:xfrm>
            <a:prstGeom prst="rect">
              <a:avLst/>
            </a:prstGeom>
            <a:noFill/>
          </p:spPr>
          <p:txBody>
            <a:bodyPr wrap="none" lIns="0" tIns="0" rIns="0" bIns="0" rtlCol="0">
              <a:spAutoFit/>
            </a:bodyPr>
            <a:lstStyle/>
            <a:p>
              <a:pPr algn="ctr"/>
              <a:r>
                <a:rPr lang="en-US" sz="1600" dirty="0">
                  <a:solidFill>
                    <a:schemeClr val="tx2"/>
                  </a:solidFill>
                </a:rPr>
                <a:t>Real-life Examples</a:t>
              </a:r>
            </a:p>
          </p:txBody>
        </p:sp>
        <p:sp>
          <p:nvSpPr>
            <p:cNvPr id="64" name="TextBox 63">
              <a:extLst>
                <a:ext uri="{FF2B5EF4-FFF2-40B4-BE49-F238E27FC236}">
                  <a16:creationId xmlns:a16="http://schemas.microsoft.com/office/drawing/2014/main" id="{9B3E9D2C-4278-4621-95A7-D27A6919FA86}"/>
                </a:ext>
              </a:extLst>
            </p:cNvPr>
            <p:cNvSpPr txBox="1"/>
            <p:nvPr/>
          </p:nvSpPr>
          <p:spPr>
            <a:xfrm>
              <a:off x="2998655" y="5864267"/>
              <a:ext cx="1686037" cy="316595"/>
            </a:xfrm>
            <a:prstGeom prst="rect">
              <a:avLst/>
            </a:prstGeom>
            <a:noFill/>
          </p:spPr>
          <p:txBody>
            <a:bodyPr wrap="none" lIns="0" tIns="0" rIns="0" bIns="0" rtlCol="0">
              <a:spAutoFit/>
            </a:bodyPr>
            <a:lstStyle/>
            <a:p>
              <a:pPr algn="ctr"/>
              <a:r>
                <a:rPr lang="en-US" sz="1600" dirty="0">
                  <a:solidFill>
                    <a:schemeClr val="tx2"/>
                  </a:solidFill>
                </a:rPr>
                <a:t>Best Practices</a:t>
              </a:r>
            </a:p>
          </p:txBody>
        </p:sp>
        <p:sp>
          <p:nvSpPr>
            <p:cNvPr id="65" name="TextBox 64">
              <a:extLst>
                <a:ext uri="{FF2B5EF4-FFF2-40B4-BE49-F238E27FC236}">
                  <a16:creationId xmlns:a16="http://schemas.microsoft.com/office/drawing/2014/main" id="{B55073F2-1954-462C-A452-31F8233B9879}"/>
                </a:ext>
              </a:extLst>
            </p:cNvPr>
            <p:cNvSpPr txBox="1"/>
            <p:nvPr/>
          </p:nvSpPr>
          <p:spPr>
            <a:xfrm>
              <a:off x="996406" y="3815271"/>
              <a:ext cx="2665876" cy="949788"/>
            </a:xfrm>
            <a:prstGeom prst="rect">
              <a:avLst/>
            </a:prstGeom>
            <a:noFill/>
          </p:spPr>
          <p:txBody>
            <a:bodyPr wrap="square" lIns="0" tIns="0" rIns="0" bIns="0" rtlCol="0">
              <a:spAutoFit/>
            </a:bodyPr>
            <a:lstStyle/>
            <a:p>
              <a:pPr algn="r"/>
              <a:r>
                <a:rPr lang="en-US" sz="1600" dirty="0">
                  <a:solidFill>
                    <a:schemeClr val="tx2"/>
                  </a:solidFill>
                </a:rPr>
                <a:t>Support from Tier-1 Management Consultants</a:t>
              </a:r>
            </a:p>
          </p:txBody>
        </p:sp>
        <p:sp>
          <p:nvSpPr>
            <p:cNvPr id="66" name="TextBox 65">
              <a:extLst>
                <a:ext uri="{FF2B5EF4-FFF2-40B4-BE49-F238E27FC236}">
                  <a16:creationId xmlns:a16="http://schemas.microsoft.com/office/drawing/2014/main" id="{796A31A2-C8F4-48B1-8462-32FD9A2EC610}"/>
                </a:ext>
              </a:extLst>
            </p:cNvPr>
            <p:cNvSpPr txBox="1"/>
            <p:nvPr/>
          </p:nvSpPr>
          <p:spPr>
            <a:xfrm>
              <a:off x="3184684" y="1979982"/>
              <a:ext cx="1451064" cy="316595"/>
            </a:xfrm>
            <a:prstGeom prst="rect">
              <a:avLst/>
            </a:prstGeom>
            <a:noFill/>
          </p:spPr>
          <p:txBody>
            <a:bodyPr wrap="none" lIns="0" tIns="0" rIns="0" bIns="0" rtlCol="0">
              <a:spAutoFit/>
            </a:bodyPr>
            <a:lstStyle/>
            <a:p>
              <a:pPr algn="ctr"/>
              <a:r>
                <a:rPr lang="en-US" sz="1600" dirty="0">
                  <a:solidFill>
                    <a:schemeClr val="tx2"/>
                  </a:solidFill>
                </a:rPr>
                <a:t>Frameworks</a:t>
              </a:r>
            </a:p>
          </p:txBody>
        </p:sp>
        <p:pic>
          <p:nvPicPr>
            <p:cNvPr id="67" name="Graphic 66" descr="Teacher">
              <a:extLst>
                <a:ext uri="{FF2B5EF4-FFF2-40B4-BE49-F238E27FC236}">
                  <a16:creationId xmlns:a16="http://schemas.microsoft.com/office/drawing/2014/main" id="{59DE3361-E469-4F39-B393-EE897CA3545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36166" y="4526759"/>
              <a:ext cx="590213" cy="590213"/>
            </a:xfrm>
            <a:prstGeom prst="rect">
              <a:avLst/>
            </a:prstGeom>
          </p:spPr>
        </p:pic>
        <p:pic>
          <p:nvPicPr>
            <p:cNvPr id="68" name="Graphic 67" descr="Tools">
              <a:extLst>
                <a:ext uri="{FF2B5EF4-FFF2-40B4-BE49-F238E27FC236}">
                  <a16:creationId xmlns:a16="http://schemas.microsoft.com/office/drawing/2014/main" id="{E23B3C1A-4568-4858-A67F-5DB95805456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263177" y="2132105"/>
              <a:ext cx="524624" cy="524624"/>
            </a:xfrm>
            <a:prstGeom prst="rect">
              <a:avLst/>
            </a:prstGeom>
          </p:spPr>
        </p:pic>
        <p:pic>
          <p:nvPicPr>
            <p:cNvPr id="69" name="Graphic 68" descr="Arrow circle">
              <a:extLst>
                <a:ext uri="{FF2B5EF4-FFF2-40B4-BE49-F238E27FC236}">
                  <a16:creationId xmlns:a16="http://schemas.microsoft.com/office/drawing/2014/main" id="{427E90CE-7866-424A-B941-EF9E925D735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635354" y="2168588"/>
              <a:ext cx="890551" cy="890550"/>
            </a:xfrm>
            <a:prstGeom prst="rect">
              <a:avLst/>
            </a:prstGeom>
          </p:spPr>
        </p:pic>
        <p:pic>
          <p:nvPicPr>
            <p:cNvPr id="70" name="Graphic 69" descr="Podium">
              <a:extLst>
                <a:ext uri="{FF2B5EF4-FFF2-40B4-BE49-F238E27FC236}">
                  <a16:creationId xmlns:a16="http://schemas.microsoft.com/office/drawing/2014/main" id="{C9217D3E-347F-4A76-99E9-7D7CD95EF2C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653978" y="4838620"/>
              <a:ext cx="581415" cy="581415"/>
            </a:xfrm>
            <a:prstGeom prst="rect">
              <a:avLst/>
            </a:prstGeom>
          </p:spPr>
        </p:pic>
        <p:pic>
          <p:nvPicPr>
            <p:cNvPr id="71" name="Graphic 70" descr="Presentation with bar chart RTL">
              <a:extLst>
                <a:ext uri="{FF2B5EF4-FFF2-40B4-BE49-F238E27FC236}">
                  <a16:creationId xmlns:a16="http://schemas.microsoft.com/office/drawing/2014/main" id="{F7AB70C5-DAFE-4354-8A89-D55658C61F1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011791" y="5296546"/>
              <a:ext cx="673608" cy="673608"/>
            </a:xfrm>
            <a:prstGeom prst="rect">
              <a:avLst/>
            </a:prstGeom>
          </p:spPr>
        </p:pic>
        <p:sp>
          <p:nvSpPr>
            <p:cNvPr id="72" name="Rectangle 71">
              <a:extLst>
                <a:ext uri="{FF2B5EF4-FFF2-40B4-BE49-F238E27FC236}">
                  <a16:creationId xmlns:a16="http://schemas.microsoft.com/office/drawing/2014/main" id="{F3393F05-0676-4C98-8DAF-2DDEC3B3F675}"/>
                </a:ext>
              </a:extLst>
            </p:cNvPr>
            <p:cNvSpPr/>
            <p:nvPr/>
          </p:nvSpPr>
          <p:spPr>
            <a:xfrm>
              <a:off x="7493831" y="3241860"/>
              <a:ext cx="324000" cy="54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a:p>
          </p:txBody>
        </p:sp>
      </p:grpSp>
    </p:spTree>
    <p:extLst>
      <p:ext uri="{BB962C8B-B14F-4D97-AF65-F5344CB8AC3E}">
        <p14:creationId xmlns:p14="http://schemas.microsoft.com/office/powerpoint/2010/main" val="25602558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Objectives</a:t>
            </a:r>
            <a:br>
              <a:rPr lang="en-US" sz="2400" dirty="0"/>
            </a:br>
            <a:r>
              <a:rPr lang="en-GB" sz="1800" b="0" dirty="0"/>
              <a:t>The Post Merger Integration Toolkit includes frameworks, tools, templates, tutorials, real-life examples and best practices to help you:</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6" name="Rectangle 5">
            <a:extLst>
              <a:ext uri="{FF2B5EF4-FFF2-40B4-BE49-F238E27FC236}">
                <a16:creationId xmlns:a16="http://schemas.microsoft.com/office/drawing/2014/main" id="{30028A21-6B64-4F0F-A2C9-A9779A18EEFC}"/>
              </a:ext>
            </a:extLst>
          </p:cNvPr>
          <p:cNvSpPr/>
          <p:nvPr/>
        </p:nvSpPr>
        <p:spPr>
          <a:xfrm>
            <a:off x="514114" y="1534637"/>
            <a:ext cx="11094412" cy="3816429"/>
          </a:xfrm>
          <a:prstGeom prst="rect">
            <a:avLst/>
          </a:prstGeom>
        </p:spPr>
        <p:txBody>
          <a:bodyPr wrap="square">
            <a:spAutoFit/>
          </a:bodyPr>
          <a:lstStyle/>
          <a:p>
            <a:pPr marL="174625" lvl="1" indent="-174625">
              <a:spcBef>
                <a:spcPts val="600"/>
              </a:spcBef>
              <a:spcAft>
                <a:spcPts val="600"/>
              </a:spcAft>
              <a:buFont typeface="Arial" panose="020B0604020202020204" pitchFamily="34" charset="0"/>
              <a:buChar char="•"/>
              <a:defRPr/>
            </a:pPr>
            <a:r>
              <a:rPr lang="en-GB" sz="1400" b="1" dirty="0"/>
              <a:t>Conduct a post merger integration </a:t>
            </a:r>
            <a:r>
              <a:rPr lang="en-GB" sz="1400" dirty="0"/>
              <a:t>to ensure the company reach its cost and revenue synergy targets</a:t>
            </a:r>
          </a:p>
          <a:p>
            <a:pPr marL="174625" lvl="1" indent="-174625">
              <a:spcBef>
                <a:spcPts val="600"/>
              </a:spcBef>
              <a:spcAft>
                <a:spcPts val="600"/>
              </a:spcAft>
              <a:buFont typeface="Arial" panose="020B0604020202020204" pitchFamily="34" charset="0"/>
              <a:buChar char="•"/>
              <a:defRPr/>
            </a:pPr>
            <a:r>
              <a:rPr lang="en-GB" sz="1400" b="1" dirty="0"/>
              <a:t>Increase the value creation of your mergers &amp; acquisitions with a simple and comprehensive 3-phase approach: </a:t>
            </a:r>
            <a:r>
              <a:rPr lang="en-GB" sz="1400" dirty="0"/>
              <a:t>(I) Strategy &amp; high-level plan, (II) Detailed plans, (III) Implementation &amp; monitoring</a:t>
            </a:r>
          </a:p>
          <a:p>
            <a:pPr marL="174625" lvl="1" indent="-174625">
              <a:spcBef>
                <a:spcPts val="600"/>
              </a:spcBef>
              <a:spcAft>
                <a:spcPts val="600"/>
              </a:spcAft>
              <a:buFont typeface="Arial" panose="020B0604020202020204" pitchFamily="34" charset="0"/>
              <a:buChar char="•"/>
              <a:defRPr/>
            </a:pPr>
            <a:r>
              <a:rPr lang="en-GB" sz="1400" b="1" dirty="0"/>
              <a:t>Define &amp; communicate your post merger acquisition strategy &amp; high-level plan: </a:t>
            </a:r>
            <a:r>
              <a:rPr lang="en-GB" sz="1400" dirty="0"/>
              <a:t>(1) Merger strategic objectives, (2) Integration management office, (3) Guiding principles, (4) Post merger integration high-level plan, (5) Top layer organizational structure, (6) Top management appointment, (7) Training to help managers set up their team, (8) Integrated synergy baseline, (9) Synergy targets, (10) Potential integration &amp; synergy initiatives, (11) Business cases and financial models, (12) Integration &amp; synergy initiatives prioritization</a:t>
            </a:r>
          </a:p>
          <a:p>
            <a:pPr marL="174625" lvl="1" indent="-174625">
              <a:spcBef>
                <a:spcPts val="600"/>
              </a:spcBef>
              <a:spcAft>
                <a:spcPts val="600"/>
              </a:spcAft>
              <a:buFont typeface="Arial" panose="020B0604020202020204" pitchFamily="34" charset="0"/>
              <a:buChar char="•"/>
              <a:defRPr/>
            </a:pPr>
            <a:r>
              <a:rPr lang="en-GB" sz="1400" b="1" dirty="0"/>
              <a:t>Develop &amp; communicate the detailed plans: </a:t>
            </a:r>
            <a:r>
              <a:rPr lang="en-GB" sz="1400" dirty="0"/>
              <a:t>(1) Day 1 readiness checklist, (2) Integration &amp; synergy initiatives plan, (3) Change management strategy and plan, (4) Communication strategy and plan, (5) Culture integration strategy and plan, (6) Risk management strategy and plan, (7) Staffing &amp; retention plan</a:t>
            </a:r>
          </a:p>
          <a:p>
            <a:pPr marL="174625" lvl="1" indent="-174625">
              <a:spcBef>
                <a:spcPts val="600"/>
              </a:spcBef>
              <a:spcAft>
                <a:spcPts val="600"/>
              </a:spcAft>
              <a:buFont typeface="Arial" panose="020B0604020202020204" pitchFamily="34" charset="0"/>
              <a:buChar char="•"/>
              <a:defRPr/>
            </a:pPr>
            <a:r>
              <a:rPr lang="en-GB" sz="1400" b="1" dirty="0"/>
              <a:t>Implement and monitor the post merger integration high-level plan and detailed plans</a:t>
            </a:r>
          </a:p>
          <a:p>
            <a:pPr marL="174625" lvl="1" indent="-174625">
              <a:spcBef>
                <a:spcPts val="600"/>
              </a:spcBef>
              <a:spcAft>
                <a:spcPts val="600"/>
              </a:spcAft>
              <a:buFont typeface="Arial" panose="020B0604020202020204" pitchFamily="34" charset="0"/>
              <a:buChar char="•"/>
              <a:defRPr/>
            </a:pPr>
            <a:r>
              <a:rPr lang="en-GB" sz="1400" b="1" dirty="0"/>
              <a:t>Institutionalize your PMI approach</a:t>
            </a:r>
          </a:p>
          <a:p>
            <a:pPr marL="174625" lvl="1" indent="-174625">
              <a:spcBef>
                <a:spcPts val="600"/>
              </a:spcBef>
              <a:spcAft>
                <a:spcPts val="600"/>
              </a:spcAft>
              <a:buFont typeface="Arial" panose="020B0604020202020204" pitchFamily="34" charset="0"/>
              <a:buChar char="•"/>
              <a:defRPr/>
            </a:pPr>
            <a:r>
              <a:rPr lang="en-GB" sz="1400" b="1" dirty="0"/>
              <a:t>Become the post merger integration subject matter expert of your organization</a:t>
            </a:r>
            <a:endParaRPr lang="en-US" sz="1400" dirty="0"/>
          </a:p>
        </p:txBody>
      </p:sp>
    </p:spTree>
    <p:extLst>
      <p:ext uri="{BB962C8B-B14F-4D97-AF65-F5344CB8AC3E}">
        <p14:creationId xmlns:p14="http://schemas.microsoft.com/office/powerpoint/2010/main" val="3445764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SoXP1LSJmKysQgoJBj3Qh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2.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3.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221</TotalTime>
  <Words>2973</Words>
  <Application>Microsoft Office PowerPoint</Application>
  <PresentationFormat>Widescreen</PresentationFormat>
  <Paragraphs>481</Paragraphs>
  <Slides>30</Slides>
  <Notes>28</Notes>
  <HiddenSlides>0</HiddenSlides>
  <MMClips>0</MMClips>
  <ScaleCrop>false</ScaleCrop>
  <HeadingPairs>
    <vt:vector size="8" baseType="variant">
      <vt:variant>
        <vt:lpstr>Fonts Used</vt:lpstr>
      </vt:variant>
      <vt:variant>
        <vt:i4>5</vt:i4>
      </vt:variant>
      <vt:variant>
        <vt:lpstr>Theme</vt:lpstr>
      </vt:variant>
      <vt:variant>
        <vt:i4>9</vt:i4>
      </vt:variant>
      <vt:variant>
        <vt:lpstr>Embedded OLE Servers</vt:lpstr>
      </vt:variant>
      <vt:variant>
        <vt:i4>1</vt:i4>
      </vt:variant>
      <vt:variant>
        <vt:lpstr>Slide Titles</vt:lpstr>
      </vt:variant>
      <vt:variant>
        <vt:i4>30</vt:i4>
      </vt:variant>
    </vt:vector>
  </HeadingPairs>
  <TitlesOfParts>
    <vt:vector size="45" baseType="lpstr">
      <vt:lpstr>Arial</vt:lpstr>
      <vt:lpstr>Calibri</vt:lpstr>
      <vt:lpstr>Helvetica</vt:lpstr>
      <vt:lpstr>Wingdings 2</vt:lpstr>
      <vt:lpstr>Wingdings 3</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think-cell Slide</vt:lpstr>
      <vt:lpstr>Post Merger Integration Toolkit Overview and 3-Phase Approach</vt:lpstr>
      <vt:lpstr>Context The advantages &amp; disadvantages of an organic growth strategy.</vt:lpstr>
      <vt:lpstr>Context The advantages &amp; disadvantages of a Mergers and Acquisitions (M&amp;A) Strategy.</vt:lpstr>
      <vt:lpstr>The Mergers &amp; Acquisitions (M&amp;A) Life Cycle includes 6 phases:</vt:lpstr>
      <vt:lpstr>Main problem of the M&amp;A Strategy More than half of Mergers &amp; Acquisitions fail to reach their value creation objectives.</vt:lpstr>
      <vt:lpstr>Root cause of the problem A poorly managed post merger integration phase is responsible for more than half of Mergers &amp; Acquisitions (M&amp;A) failures.</vt:lpstr>
      <vt:lpstr>Traditional Solution To solve this problem, companies usually hire management consultants from tier-one management consulting firms. Whereas this solution works well, not everyone can afford it.</vt:lpstr>
      <vt:lpstr>Our Solution Our management consulting firm decided to create an affordable Post Merger Integration Toolkit that will help you increase the value creation of the mergers &amp; acquisitions of your organization (or your client if you are a management consultant).</vt:lpstr>
      <vt:lpstr>Objectives The Post Merger Integration Toolkit includes frameworks, tools, templates, tutorials, real-life examples and best practices to help you:</vt:lpstr>
      <vt:lpstr>3-Phase Approach The Post Merger Integration Toolkit includes a 3-Phase Approach that we built and refined over the past 20 years, by constant trial and error. The good news is that you don’t have to waste your time, energy and money going through that lengthy trial-and-error process. You can simply leverage our work and customize it based on the specificities of your organization.</vt:lpstr>
      <vt:lpstr>In the next slides, you’ll see a small preview of the Phase 1</vt:lpstr>
      <vt:lpstr>Our merger strategic objectives are:</vt:lpstr>
      <vt:lpstr>The most common merger strategic objectives are:</vt:lpstr>
      <vt:lpstr>We decided to create an Integration Management Office that will be responsible for the success of the integration</vt:lpstr>
      <vt:lpstr>We identified 8 [insert your own number] post merger integration guiding principles</vt:lpstr>
      <vt:lpstr>Top 8 post merger integration guiding principles commonly used</vt:lpstr>
      <vt:lpstr>See below 4 screenshots from the Phase 1. </vt:lpstr>
      <vt:lpstr>In the next slides, you’ll see a small preview of the Phase 2.</vt:lpstr>
      <vt:lpstr>Day 1 Readiness Checklist</vt:lpstr>
      <vt:lpstr>The Day-1 Readiness Checklist often includes many activities that will better fit in an Excel document</vt:lpstr>
      <vt:lpstr>See below 4 additional screenshots from the Phase 2. </vt:lpstr>
      <vt:lpstr>In the next slides, you’ll see a small preview of the Phase 3.</vt:lpstr>
      <vt:lpstr>To ensure a proper execution of the integration &amp; synergy initiatives, it is very important to appoint high-caliber initiative owner or project manager</vt:lpstr>
      <vt:lpstr>See below 4 additional screenshots from the Phase 3. </vt:lpstr>
      <vt:lpstr>Structure of the Toolkit The Post Merger Integration Toolkit includes 370 Powerpoint slides and 38 Excel sheets categorized in 4 folders that you can download on your device immediately after your purchase.</vt:lpstr>
      <vt:lpstr>Interested in more than 1 Toolkit? You can access to all our Toolkits for half the price with the Gold Business &amp; Consulting Package</vt:lpstr>
      <vt:lpstr>Key Benefits of our Business &amp; Consulting Toolkits</vt:lpstr>
      <vt:lpstr>What our clients say about our Toolkits Review imported from Facebooks, Amazon and Klaviyo</vt:lpstr>
      <vt:lpstr>Join the 200,000+ Executives, Consultants &amp; Entrepreneurs leveraging our Business &amp; Consulting Toolkits to improve the performance of their organization and boost their own career. </vt:lpstr>
      <vt:lpstr>This was only a small preview.</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6</cp:revision>
  <dcterms:created xsi:type="dcterms:W3CDTF">2020-07-08T04:44:55Z</dcterms:created>
  <dcterms:modified xsi:type="dcterms:W3CDTF">2021-07-20T00:31:1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